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1"/>
  </p:notesMasterIdLst>
  <p:handoutMasterIdLst>
    <p:handoutMasterId r:id="rId22"/>
  </p:handoutMasterIdLst>
  <p:sldIdLst>
    <p:sldId id="256" r:id="rId2"/>
    <p:sldId id="271" r:id="rId3"/>
    <p:sldId id="258" r:id="rId4"/>
    <p:sldId id="275" r:id="rId5"/>
    <p:sldId id="276" r:id="rId6"/>
    <p:sldId id="277" r:id="rId7"/>
    <p:sldId id="272" r:id="rId8"/>
    <p:sldId id="279" r:id="rId9"/>
    <p:sldId id="280" r:id="rId10"/>
    <p:sldId id="281" r:id="rId11"/>
    <p:sldId id="273" r:id="rId12"/>
    <p:sldId id="282" r:id="rId13"/>
    <p:sldId id="283" r:id="rId14"/>
    <p:sldId id="284" r:id="rId15"/>
    <p:sldId id="274" r:id="rId16"/>
    <p:sldId id="285" r:id="rId17"/>
    <p:sldId id="286" r:id="rId18"/>
    <p:sldId id="287" r:id="rId19"/>
    <p:sldId id="261" r:id="rId20"/>
  </p:sldIdLst>
  <p:sldSz cx="12192000" cy="6858000"/>
  <p:notesSz cx="6858000" cy="9144000"/>
  <p:custDataLst>
    <p:tags r:id="rId23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0C1A"/>
    <a:srgbClr val="D24F08"/>
    <a:srgbClr val="C96807"/>
    <a:srgbClr val="F1DECB"/>
    <a:srgbClr val="1C0F33"/>
    <a:srgbClr val="311A5A"/>
    <a:srgbClr val="3D2070"/>
    <a:srgbClr val="514A88"/>
    <a:srgbClr val="A0F2FE"/>
    <a:srgbClr val="2F025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367205E-484B-4AC3-B9DA-B83D37E935D4}" v="414" dt="2022-09-27T02:31:16.70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7964" autoAdjust="0"/>
    <p:restoredTop sz="96182" autoAdjust="0"/>
  </p:normalViewPr>
  <p:slideViewPr>
    <p:cSldViewPr snapToGrid="0">
      <p:cViewPr varScale="1">
        <p:scale>
          <a:sx n="66" d="100"/>
          <a:sy n="66" d="100"/>
        </p:scale>
        <p:origin x="53" y="22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32" Type="http://schemas.openxmlformats.org/officeDocument/2006/relationships/customXml" Target="../customXml/item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28" Type="http://schemas.microsoft.com/office/2016/11/relationships/changesInfo" Target="changesInfos/changesInfo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customXml" Target="../customXml/item2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Relationship Id="rId30" Type="http://schemas.openxmlformats.org/officeDocument/2006/relationships/customXml" Target="../customXml/item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成平 曾" userId="fd1918ea-2df8-4eee-b319-b4160af742b7" providerId="ADAL" clId="{8DFD4203-D9ED-440C-90F0-E44693686A18}"/>
    <pc:docChg chg="custSel addSld modSld">
      <pc:chgData name="成平 曾" userId="fd1918ea-2df8-4eee-b319-b4160af742b7" providerId="ADAL" clId="{8DFD4203-D9ED-440C-90F0-E44693686A18}" dt="2018-07-30T02:23:45.022" v="3"/>
      <pc:docMkLst>
        <pc:docMk/>
      </pc:docMkLst>
      <pc:sldChg chg="addSp delSp add modTransition">
        <pc:chgData name="成平 曾" userId="fd1918ea-2df8-4eee-b319-b4160af742b7" providerId="ADAL" clId="{8DFD4203-D9ED-440C-90F0-E44693686A18}" dt="2018-07-30T02:23:45.022" v="3"/>
        <pc:sldMkLst>
          <pc:docMk/>
          <pc:sldMk cId="545778957" sldId="259"/>
        </pc:sldMkLst>
        <pc:spChg chg="add">
          <ac:chgData name="成平 曾" userId="fd1918ea-2df8-4eee-b319-b4160af742b7" providerId="ADAL" clId="{8DFD4203-D9ED-440C-90F0-E44693686A18}" dt="2018-07-30T02:23:45.022" v="3"/>
          <ac:spMkLst>
            <pc:docMk/>
            <pc:sldMk cId="545778957" sldId="259"/>
            <ac:spMk id="45" creationId="{691C252C-F4D2-4CE4-9EB3-ED2888C92C09}"/>
          </ac:spMkLst>
        </pc:spChg>
        <pc:spChg chg="del">
          <ac:chgData name="成平 曾" userId="fd1918ea-2df8-4eee-b319-b4160af742b7" providerId="ADAL" clId="{8DFD4203-D9ED-440C-90F0-E44693686A18}" dt="2018-07-30T02:23:44.728" v="2" actId="478"/>
          <ac:spMkLst>
            <pc:docMk/>
            <pc:sldMk cId="545778957" sldId="259"/>
            <ac:spMk id="51" creationId="{DB6B50C1-7119-4649-A59E-12A0D311364C}"/>
          </ac:spMkLst>
        </pc:spChg>
      </pc:sldChg>
    </pc:docChg>
  </pc:docChgLst>
  <pc:docChgLst>
    <pc:chgData name="成平 曾" userId="fd1918ea-2df8-4eee-b319-b4160af742b7" providerId="ADAL" clId="{25AB174D-796C-4582-8DA1-6AF1126328A7}"/>
    <pc:docChg chg="custSel delSld modSld sldOrd">
      <pc:chgData name="成平 曾" userId="fd1918ea-2df8-4eee-b319-b4160af742b7" providerId="ADAL" clId="{25AB174D-796C-4582-8DA1-6AF1126328A7}" dt="2018-07-30T02:16:04.191" v="105"/>
      <pc:docMkLst>
        <pc:docMk/>
      </pc:docMkLst>
      <pc:sldChg chg="addSp delSp modSp modTransition">
        <pc:chgData name="成平 曾" userId="fd1918ea-2df8-4eee-b319-b4160af742b7" providerId="ADAL" clId="{25AB174D-796C-4582-8DA1-6AF1126328A7}" dt="2018-07-30T02:14:18.036" v="53"/>
        <pc:sldMkLst>
          <pc:docMk/>
          <pc:sldMk cId="745032783" sldId="263"/>
        </pc:sldMkLst>
        <pc:spChg chg="add del mod">
          <ac:chgData name="成平 曾" userId="fd1918ea-2df8-4eee-b319-b4160af742b7" providerId="ADAL" clId="{25AB174D-796C-4582-8DA1-6AF1126328A7}" dt="2018-07-30T02:14:17.809" v="52" actId="478"/>
          <ac:spMkLst>
            <pc:docMk/>
            <pc:sldMk cId="745032783" sldId="263"/>
            <ac:spMk id="30" creationId="{0084FEA1-D889-44E5-9742-EB131E0431E7}"/>
          </ac:spMkLst>
        </pc:spChg>
        <pc:spChg chg="add">
          <ac:chgData name="成平 曾" userId="fd1918ea-2df8-4eee-b319-b4160af742b7" providerId="ADAL" clId="{25AB174D-796C-4582-8DA1-6AF1126328A7}" dt="2018-07-30T02:14:18.036" v="53"/>
          <ac:spMkLst>
            <pc:docMk/>
            <pc:sldMk cId="745032783" sldId="263"/>
            <ac:spMk id="31" creationId="{DAE001C2-4C13-4B81-8DEF-587F0475D5C3}"/>
          </ac:spMkLst>
        </pc:spChg>
      </pc:sldChg>
      <pc:sldChg chg="addSp modTransition">
        <pc:chgData name="成平 曾" userId="fd1918ea-2df8-4eee-b319-b4160af742b7" providerId="ADAL" clId="{25AB174D-796C-4582-8DA1-6AF1126328A7}" dt="2018-07-30T02:14:20.113" v="54"/>
        <pc:sldMkLst>
          <pc:docMk/>
          <pc:sldMk cId="1646487189" sldId="264"/>
        </pc:sldMkLst>
        <pc:spChg chg="add">
          <ac:chgData name="成平 曾" userId="fd1918ea-2df8-4eee-b319-b4160af742b7" providerId="ADAL" clId="{25AB174D-796C-4582-8DA1-6AF1126328A7}" dt="2018-07-30T02:14:20.113" v="54"/>
          <ac:spMkLst>
            <pc:docMk/>
            <pc:sldMk cId="1646487189" sldId="264"/>
            <ac:spMk id="47" creationId="{E5DEE5E9-29F9-4569-B160-ED6B322E481B}"/>
          </ac:spMkLst>
        </pc:spChg>
      </pc:sldChg>
      <pc:sldChg chg="addSp modSp ord modTransition">
        <pc:chgData name="成平 曾" userId="fd1918ea-2df8-4eee-b319-b4160af742b7" providerId="ADAL" clId="{25AB174D-796C-4582-8DA1-6AF1126328A7}" dt="2018-07-30T02:14:09.341" v="51" actId="14100"/>
        <pc:sldMkLst>
          <pc:docMk/>
          <pc:sldMk cId="2958572277" sldId="265"/>
        </pc:sldMkLst>
        <pc:spChg chg="add mod">
          <ac:chgData name="成平 曾" userId="fd1918ea-2df8-4eee-b319-b4160af742b7" providerId="ADAL" clId="{25AB174D-796C-4582-8DA1-6AF1126328A7}" dt="2018-07-30T02:14:09.341" v="51" actId="14100"/>
          <ac:spMkLst>
            <pc:docMk/>
            <pc:sldMk cId="2958572277" sldId="265"/>
            <ac:spMk id="66" creationId="{F9F18485-26E6-4463-9EA4-7BEC48527BBB}"/>
          </ac:spMkLst>
        </pc:spChg>
      </pc:sldChg>
      <pc:sldChg chg="addSp modSp modTransition">
        <pc:chgData name="成平 曾" userId="fd1918ea-2df8-4eee-b319-b4160af742b7" providerId="ADAL" clId="{25AB174D-796C-4582-8DA1-6AF1126328A7}" dt="2018-07-30T02:15:58.807" v="104"/>
        <pc:sldMkLst>
          <pc:docMk/>
          <pc:sldMk cId="194311464" sldId="266"/>
        </pc:sldMkLst>
        <pc:spChg chg="add mod">
          <ac:chgData name="成平 曾" userId="fd1918ea-2df8-4eee-b319-b4160af742b7" providerId="ADAL" clId="{25AB174D-796C-4582-8DA1-6AF1126328A7}" dt="2018-07-30T02:15:58.807" v="104"/>
          <ac:spMkLst>
            <pc:docMk/>
            <pc:sldMk cId="194311464" sldId="266"/>
            <ac:spMk id="89" creationId="{F056E86D-4F76-48FC-8B09-A2BE84DC2E44}"/>
          </ac:spMkLst>
        </pc:spChg>
      </pc:sldChg>
      <pc:sldChg chg="del">
        <pc:chgData name="成平 曾" userId="fd1918ea-2df8-4eee-b319-b4160af742b7" providerId="ADAL" clId="{25AB174D-796C-4582-8DA1-6AF1126328A7}" dt="2018-07-30T02:12:01.316" v="4" actId="2696"/>
        <pc:sldMkLst>
          <pc:docMk/>
          <pc:sldMk cId="4053583199" sldId="267"/>
        </pc:sldMkLst>
      </pc:sldChg>
      <pc:sldChg chg="del">
        <pc:chgData name="成平 曾" userId="fd1918ea-2df8-4eee-b319-b4160af742b7" providerId="ADAL" clId="{25AB174D-796C-4582-8DA1-6AF1126328A7}" dt="2018-07-30T02:12:01.275" v="0" actId="2696"/>
        <pc:sldMkLst>
          <pc:docMk/>
          <pc:sldMk cId="558770741" sldId="270"/>
        </pc:sldMkLst>
      </pc:sldChg>
      <pc:sldChg chg="del">
        <pc:chgData name="成平 曾" userId="fd1918ea-2df8-4eee-b319-b4160af742b7" providerId="ADAL" clId="{25AB174D-796C-4582-8DA1-6AF1126328A7}" dt="2018-07-30T02:12:01.303" v="3" actId="2696"/>
        <pc:sldMkLst>
          <pc:docMk/>
          <pc:sldMk cId="1820242946" sldId="274"/>
        </pc:sldMkLst>
      </pc:sldChg>
      <pc:sldChg chg="del">
        <pc:chgData name="成平 曾" userId="fd1918ea-2df8-4eee-b319-b4160af742b7" providerId="ADAL" clId="{25AB174D-796C-4582-8DA1-6AF1126328A7}" dt="2018-07-30T02:12:01.333" v="6" actId="2696"/>
        <pc:sldMkLst>
          <pc:docMk/>
          <pc:sldMk cId="477884624" sldId="275"/>
        </pc:sldMkLst>
      </pc:sldChg>
      <pc:sldChg chg="del">
        <pc:chgData name="成平 曾" userId="fd1918ea-2df8-4eee-b319-b4160af742b7" providerId="ADAL" clId="{25AB174D-796C-4582-8DA1-6AF1126328A7}" dt="2018-07-30T02:12:01.340" v="7" actId="2696"/>
        <pc:sldMkLst>
          <pc:docMk/>
          <pc:sldMk cId="2782375922" sldId="276"/>
        </pc:sldMkLst>
      </pc:sldChg>
      <pc:sldChg chg="del">
        <pc:chgData name="成平 曾" userId="fd1918ea-2df8-4eee-b319-b4160af742b7" providerId="ADAL" clId="{25AB174D-796C-4582-8DA1-6AF1126328A7}" dt="2018-07-30T02:12:01.324" v="5" actId="2696"/>
        <pc:sldMkLst>
          <pc:docMk/>
          <pc:sldMk cId="2088582390" sldId="277"/>
        </pc:sldMkLst>
      </pc:sldChg>
      <pc:sldChg chg="del">
        <pc:chgData name="成平 曾" userId="fd1918ea-2df8-4eee-b319-b4160af742b7" providerId="ADAL" clId="{25AB174D-796C-4582-8DA1-6AF1126328A7}" dt="2018-07-30T02:12:01.292" v="2" actId="2696"/>
        <pc:sldMkLst>
          <pc:docMk/>
          <pc:sldMk cId="761741927" sldId="279"/>
        </pc:sldMkLst>
      </pc:sldChg>
      <pc:sldChg chg="del">
        <pc:chgData name="成平 曾" userId="fd1918ea-2df8-4eee-b319-b4160af742b7" providerId="ADAL" clId="{25AB174D-796C-4582-8DA1-6AF1126328A7}" dt="2018-07-30T02:12:01.284" v="1" actId="2696"/>
        <pc:sldMkLst>
          <pc:docMk/>
          <pc:sldMk cId="3420189757" sldId="281"/>
        </pc:sldMkLst>
      </pc:sldChg>
      <pc:sldChg chg="addSp modTransition">
        <pc:chgData name="成平 曾" userId="fd1918ea-2df8-4eee-b319-b4160af742b7" providerId="ADAL" clId="{25AB174D-796C-4582-8DA1-6AF1126328A7}" dt="2018-07-30T02:16:04.191" v="105"/>
        <pc:sldMkLst>
          <pc:docMk/>
          <pc:sldMk cId="3563110417" sldId="282"/>
        </pc:sldMkLst>
        <pc:spChg chg="add">
          <ac:chgData name="成平 曾" userId="fd1918ea-2df8-4eee-b319-b4160af742b7" providerId="ADAL" clId="{25AB174D-796C-4582-8DA1-6AF1126328A7}" dt="2018-07-30T02:16:04.191" v="105"/>
          <ac:spMkLst>
            <pc:docMk/>
            <pc:sldMk cId="3563110417" sldId="282"/>
            <ac:spMk id="68" creationId="{6587B3EC-A802-406A-8E1F-EF102EC71C6C}"/>
          </ac:spMkLst>
        </pc:spChg>
      </pc:sldChg>
    </pc:docChg>
  </pc:docChgLst>
  <pc:docChgLst>
    <pc:chgData name="Zi yi Zhang (Chinasoft Shanghai)" userId="889434de-a257-482e-b37a-310609d597e0" providerId="ADAL" clId="{5367205E-484B-4AC3-B9DA-B83D37E935D4}"/>
    <pc:docChg chg="custSel modSld">
      <pc:chgData name="Zi yi Zhang (Chinasoft Shanghai)" userId="889434de-a257-482e-b37a-310609d597e0" providerId="ADAL" clId="{5367205E-484B-4AC3-B9DA-B83D37E935D4}" dt="2022-09-27T02:31:16.795" v="2729" actId="947"/>
      <pc:docMkLst>
        <pc:docMk/>
      </pc:docMkLst>
      <pc:sldChg chg="modSp mod">
        <pc:chgData name="Zi yi Zhang (Chinasoft Shanghai)" userId="889434de-a257-482e-b37a-310609d597e0" providerId="ADAL" clId="{5367205E-484B-4AC3-B9DA-B83D37E935D4}" dt="2022-09-27T02:31:12.213" v="1413" actId="947"/>
        <pc:sldMkLst>
          <pc:docMk/>
          <pc:sldMk cId="2271741893" sldId="256"/>
        </pc:sldMkLst>
        <pc:spChg chg="mod">
          <ac:chgData name="Zi yi Zhang (Chinasoft Shanghai)" userId="889434de-a257-482e-b37a-310609d597e0" providerId="ADAL" clId="{5367205E-484B-4AC3-B9DA-B83D37E935D4}" dt="2022-09-27T02:31:12.175" v="1405" actId="947"/>
          <ac:spMkLst>
            <pc:docMk/>
            <pc:sldMk cId="2271741893" sldId="256"/>
            <ac:spMk id="2" creationId="{EC933494-1B63-4A32-964F-D05236799BAA}"/>
          </ac:spMkLst>
        </pc:spChg>
        <pc:spChg chg="mod">
          <ac:chgData name="Zi yi Zhang (Chinasoft Shanghai)" userId="889434de-a257-482e-b37a-310609d597e0" providerId="ADAL" clId="{5367205E-484B-4AC3-B9DA-B83D37E935D4}" dt="2022-09-27T02:31:12.170" v="1402" actId="947"/>
          <ac:spMkLst>
            <pc:docMk/>
            <pc:sldMk cId="2271741893" sldId="256"/>
            <ac:spMk id="4" creationId="{00000000-0000-0000-0000-000000000000}"/>
          </ac:spMkLst>
        </pc:spChg>
        <pc:spChg chg="mod">
          <ac:chgData name="Zi yi Zhang (Chinasoft Shanghai)" userId="889434de-a257-482e-b37a-310609d597e0" providerId="ADAL" clId="{5367205E-484B-4AC3-B9DA-B83D37E935D4}" dt="2022-09-27T02:31:12.166" v="1400" actId="947"/>
          <ac:spMkLst>
            <pc:docMk/>
            <pc:sldMk cId="2271741893" sldId="256"/>
            <ac:spMk id="6" creationId="{00000000-0000-0000-0000-000000000000}"/>
          </ac:spMkLst>
        </pc:spChg>
        <pc:spChg chg="mod">
          <ac:chgData name="Zi yi Zhang (Chinasoft Shanghai)" userId="889434de-a257-482e-b37a-310609d597e0" providerId="ADAL" clId="{5367205E-484B-4AC3-B9DA-B83D37E935D4}" dt="2022-09-27T02:31:12.176" v="1406" actId="947"/>
          <ac:spMkLst>
            <pc:docMk/>
            <pc:sldMk cId="2271741893" sldId="256"/>
            <ac:spMk id="7" creationId="{00000000-0000-0000-0000-000000000000}"/>
          </ac:spMkLst>
        </pc:spChg>
        <pc:spChg chg="mod">
          <ac:chgData name="Zi yi Zhang (Chinasoft Shanghai)" userId="889434de-a257-482e-b37a-310609d597e0" providerId="ADAL" clId="{5367205E-484B-4AC3-B9DA-B83D37E935D4}" dt="2022-09-27T02:31:12.138" v="1387" actId="947"/>
          <ac:spMkLst>
            <pc:docMk/>
            <pc:sldMk cId="2271741893" sldId="256"/>
            <ac:spMk id="11" creationId="{ABA6AF41-1CC6-4973-A490-5358F212F774}"/>
          </ac:spMkLst>
        </pc:spChg>
        <pc:spChg chg="mod">
          <ac:chgData name="Zi yi Zhang (Chinasoft Shanghai)" userId="889434de-a257-482e-b37a-310609d597e0" providerId="ADAL" clId="{5367205E-484B-4AC3-B9DA-B83D37E935D4}" dt="2022-09-27T02:31:12.187" v="1409" actId="947"/>
          <ac:spMkLst>
            <pc:docMk/>
            <pc:sldMk cId="2271741893" sldId="256"/>
            <ac:spMk id="12" creationId="{6AF63FAD-4F21-4AA3-ABE1-0401402B4EF9}"/>
          </ac:spMkLst>
        </pc:spChg>
        <pc:spChg chg="mod">
          <ac:chgData name="Zi yi Zhang (Chinasoft Shanghai)" userId="889434de-a257-482e-b37a-310609d597e0" providerId="ADAL" clId="{5367205E-484B-4AC3-B9DA-B83D37E935D4}" dt="2022-09-27T02:31:12.213" v="1413" actId="947"/>
          <ac:spMkLst>
            <pc:docMk/>
            <pc:sldMk cId="2271741893" sldId="256"/>
            <ac:spMk id="13" creationId="{BF75D00D-A869-41E0-9EEB-CE864DB3D688}"/>
          </ac:spMkLst>
        </pc:spChg>
        <pc:spChg chg="mod">
          <ac:chgData name="Zi yi Zhang (Chinasoft Shanghai)" userId="889434de-a257-482e-b37a-310609d597e0" providerId="ADAL" clId="{5367205E-484B-4AC3-B9DA-B83D37E935D4}" dt="2022-09-27T02:31:12.171" v="1403" actId="947"/>
          <ac:spMkLst>
            <pc:docMk/>
            <pc:sldMk cId="2271741893" sldId="256"/>
            <ac:spMk id="16" creationId="{D1FD7AE2-7279-40C7-A343-99881E23A97E}"/>
          </ac:spMkLst>
        </pc:spChg>
      </pc:sldChg>
      <pc:sldChg chg="modSp mod">
        <pc:chgData name="Zi yi Zhang (Chinasoft Shanghai)" userId="889434de-a257-482e-b37a-310609d597e0" providerId="ADAL" clId="{5367205E-484B-4AC3-B9DA-B83D37E935D4}" dt="2022-09-27T02:31:12.490" v="1477" actId="947"/>
        <pc:sldMkLst>
          <pc:docMk/>
          <pc:sldMk cId="2371597387" sldId="258"/>
        </pc:sldMkLst>
        <pc:spChg chg="mod">
          <ac:chgData name="Zi yi Zhang (Chinasoft Shanghai)" userId="889434de-a257-482e-b37a-310609d597e0" providerId="ADAL" clId="{5367205E-484B-4AC3-B9DA-B83D37E935D4}" dt="2022-09-27T02:31:12.443" v="1469" actId="947"/>
          <ac:spMkLst>
            <pc:docMk/>
            <pc:sldMk cId="2371597387" sldId="258"/>
            <ac:spMk id="5" creationId="{00000000-0000-0000-0000-000000000000}"/>
          </ac:spMkLst>
        </pc:spChg>
        <pc:spChg chg="mod">
          <ac:chgData name="Zi yi Zhang (Chinasoft Shanghai)" userId="889434de-a257-482e-b37a-310609d597e0" providerId="ADAL" clId="{5367205E-484B-4AC3-B9DA-B83D37E935D4}" dt="2022-09-27T02:31:12.490" v="1477" actId="947"/>
          <ac:spMkLst>
            <pc:docMk/>
            <pc:sldMk cId="2371597387" sldId="258"/>
            <ac:spMk id="6" creationId="{00000000-0000-0000-0000-000000000000}"/>
          </ac:spMkLst>
        </pc:spChg>
        <pc:spChg chg="mod">
          <ac:chgData name="Zi yi Zhang (Chinasoft Shanghai)" userId="889434de-a257-482e-b37a-310609d597e0" providerId="ADAL" clId="{5367205E-484B-4AC3-B9DA-B83D37E935D4}" dt="2022-09-27T02:31:12.489" v="1476" actId="947"/>
          <ac:spMkLst>
            <pc:docMk/>
            <pc:sldMk cId="2371597387" sldId="258"/>
            <ac:spMk id="9" creationId="{04F69230-F3A6-4586-9371-A858F4763E9F}"/>
          </ac:spMkLst>
        </pc:spChg>
      </pc:sldChg>
      <pc:sldChg chg="modSp mod">
        <pc:chgData name="Zi yi Zhang (Chinasoft Shanghai)" userId="889434de-a257-482e-b37a-310609d597e0" providerId="ADAL" clId="{5367205E-484B-4AC3-B9DA-B83D37E935D4}" dt="2022-09-27T02:31:16.795" v="2729" actId="947"/>
        <pc:sldMkLst>
          <pc:docMk/>
          <pc:sldMk cId="1259043032" sldId="261"/>
        </pc:sldMkLst>
        <pc:spChg chg="mod">
          <ac:chgData name="Zi yi Zhang (Chinasoft Shanghai)" userId="889434de-a257-482e-b37a-310609d597e0" providerId="ADAL" clId="{5367205E-484B-4AC3-B9DA-B83D37E935D4}" dt="2022-09-27T02:31:16.792" v="2728" actId="947"/>
          <ac:spMkLst>
            <pc:docMk/>
            <pc:sldMk cId="1259043032" sldId="261"/>
            <ac:spMk id="2" creationId="{FF51F16D-1BAD-46EE-A6F4-B8B94C9DF628}"/>
          </ac:spMkLst>
        </pc:spChg>
        <pc:spChg chg="mod">
          <ac:chgData name="Zi yi Zhang (Chinasoft Shanghai)" userId="889434de-a257-482e-b37a-310609d597e0" providerId="ADAL" clId="{5367205E-484B-4AC3-B9DA-B83D37E935D4}" dt="2022-09-27T02:31:16.738" v="2717" actId="947"/>
          <ac:spMkLst>
            <pc:docMk/>
            <pc:sldMk cId="1259043032" sldId="261"/>
            <ac:spMk id="5" creationId="{00000000-0000-0000-0000-000000000000}"/>
          </ac:spMkLst>
        </pc:spChg>
        <pc:spChg chg="mod">
          <ac:chgData name="Zi yi Zhang (Chinasoft Shanghai)" userId="889434de-a257-482e-b37a-310609d597e0" providerId="ADAL" clId="{5367205E-484B-4AC3-B9DA-B83D37E935D4}" dt="2022-09-27T02:31:16.795" v="2729" actId="947"/>
          <ac:spMkLst>
            <pc:docMk/>
            <pc:sldMk cId="1259043032" sldId="261"/>
            <ac:spMk id="6" creationId="{00000000-0000-0000-0000-000000000000}"/>
          </ac:spMkLst>
        </pc:spChg>
        <pc:spChg chg="mod">
          <ac:chgData name="Zi yi Zhang (Chinasoft Shanghai)" userId="889434de-a257-482e-b37a-310609d597e0" providerId="ADAL" clId="{5367205E-484B-4AC3-B9DA-B83D37E935D4}" dt="2022-09-27T02:31:16.791" v="2727" actId="947"/>
          <ac:spMkLst>
            <pc:docMk/>
            <pc:sldMk cId="1259043032" sldId="261"/>
            <ac:spMk id="7" creationId="{00000000-0000-0000-0000-000000000000}"/>
          </ac:spMkLst>
        </pc:spChg>
      </pc:sldChg>
      <pc:sldChg chg="delSp modSp mod">
        <pc:chgData name="Zi yi Zhang (Chinasoft Shanghai)" userId="889434de-a257-482e-b37a-310609d597e0" providerId="ADAL" clId="{5367205E-484B-4AC3-B9DA-B83D37E935D4}" dt="2022-09-27T02:31:12.416" v="1465"/>
        <pc:sldMkLst>
          <pc:docMk/>
          <pc:sldMk cId="4273482360" sldId="271"/>
        </pc:sldMkLst>
        <pc:spChg chg="mod topLvl">
          <ac:chgData name="Zi yi Zhang (Chinasoft Shanghai)" userId="889434de-a257-482e-b37a-310609d597e0" providerId="ADAL" clId="{5367205E-484B-4AC3-B9DA-B83D37E935D4}" dt="2022-09-27T02:31:12.237" v="1417" actId="947"/>
          <ac:spMkLst>
            <pc:docMk/>
            <pc:sldMk cId="4273482360" sldId="271"/>
            <ac:spMk id="6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2.378" v="1447" actId="947"/>
          <ac:spMkLst>
            <pc:docMk/>
            <pc:sldMk cId="4273482360" sldId="271"/>
            <ac:spMk id="11" creationId="{00000000-0000-0000-0000-000000000000}"/>
          </ac:spMkLst>
        </pc:spChg>
        <pc:spChg chg="mod">
          <ac:chgData name="Zi yi Zhang (Chinasoft Shanghai)" userId="889434de-a257-482e-b37a-310609d597e0" providerId="ADAL" clId="{5367205E-484B-4AC3-B9DA-B83D37E935D4}" dt="2022-09-27T02:31:12.369" v="1445" actId="947"/>
          <ac:spMkLst>
            <pc:docMk/>
            <pc:sldMk cId="4273482360" sldId="271"/>
            <ac:spMk id="13" creationId="{921D2456-A6A6-43F5-AD86-0A010D24A2F0}"/>
          </ac:spMkLst>
        </pc:spChg>
        <pc:spChg chg="mod">
          <ac:chgData name="Zi yi Zhang (Chinasoft Shanghai)" userId="889434de-a257-482e-b37a-310609d597e0" providerId="ADAL" clId="{5367205E-484B-4AC3-B9DA-B83D37E935D4}" dt="2022-09-27T02:31:12.416" v="1465"/>
          <ac:spMkLst>
            <pc:docMk/>
            <pc:sldMk cId="4273482360" sldId="271"/>
            <ac:spMk id="14" creationId="{F8E07573-A8E5-42F7-B445-E2E8E3B47ABD}"/>
          </ac:spMkLst>
        </pc:spChg>
        <pc:spChg chg="mod topLvl">
          <ac:chgData name="Zi yi Zhang (Chinasoft Shanghai)" userId="889434de-a257-482e-b37a-310609d597e0" providerId="ADAL" clId="{5367205E-484B-4AC3-B9DA-B83D37E935D4}" dt="2022-09-27T02:31:12.382" v="1449" actId="947"/>
          <ac:spMkLst>
            <pc:docMk/>
            <pc:sldMk cId="4273482360" sldId="271"/>
            <ac:spMk id="15" creationId="{00000000-0000-0000-0000-000000000000}"/>
          </ac:spMkLst>
        </pc:spChg>
        <pc:spChg chg="mod">
          <ac:chgData name="Zi yi Zhang (Chinasoft Shanghai)" userId="889434de-a257-482e-b37a-310609d597e0" providerId="ADAL" clId="{5367205E-484B-4AC3-B9DA-B83D37E935D4}" dt="2022-09-27T02:31:12.346" v="1438" actId="947"/>
          <ac:spMkLst>
            <pc:docMk/>
            <pc:sldMk cId="4273482360" sldId="271"/>
            <ac:spMk id="17" creationId="{921D2456-A6A6-43F5-AD86-0A010D24A2F0}"/>
          </ac:spMkLst>
        </pc:spChg>
        <pc:spChg chg="mod">
          <ac:chgData name="Zi yi Zhang (Chinasoft Shanghai)" userId="889434de-a257-482e-b37a-310609d597e0" providerId="ADAL" clId="{5367205E-484B-4AC3-B9DA-B83D37E935D4}" dt="2022-09-27T02:31:12.409" v="1463"/>
          <ac:spMkLst>
            <pc:docMk/>
            <pc:sldMk cId="4273482360" sldId="271"/>
            <ac:spMk id="18" creationId="{F8E07573-A8E5-42F7-B445-E2E8E3B47ABD}"/>
          </ac:spMkLst>
        </pc:spChg>
        <pc:spChg chg="mod topLvl">
          <ac:chgData name="Zi yi Zhang (Chinasoft Shanghai)" userId="889434de-a257-482e-b37a-310609d597e0" providerId="ADAL" clId="{5367205E-484B-4AC3-B9DA-B83D37E935D4}" dt="2022-09-27T02:31:12.380" v="1448" actId="947"/>
          <ac:spMkLst>
            <pc:docMk/>
            <pc:sldMk cId="4273482360" sldId="271"/>
            <ac:spMk id="20" creationId="{00000000-0000-0000-0000-000000000000}"/>
          </ac:spMkLst>
        </pc:spChg>
        <pc:spChg chg="mod">
          <ac:chgData name="Zi yi Zhang (Chinasoft Shanghai)" userId="889434de-a257-482e-b37a-310609d597e0" providerId="ADAL" clId="{5367205E-484B-4AC3-B9DA-B83D37E935D4}" dt="2022-09-27T02:31:12.340" v="1434" actId="947"/>
          <ac:spMkLst>
            <pc:docMk/>
            <pc:sldMk cId="4273482360" sldId="271"/>
            <ac:spMk id="21" creationId="{921D2456-A6A6-43F5-AD86-0A010D24A2F0}"/>
          </ac:spMkLst>
        </pc:spChg>
        <pc:spChg chg="mod">
          <ac:chgData name="Zi yi Zhang (Chinasoft Shanghai)" userId="889434de-a257-482e-b37a-310609d597e0" providerId="ADAL" clId="{5367205E-484B-4AC3-B9DA-B83D37E935D4}" dt="2022-09-27T02:31:12.406" v="1461"/>
          <ac:spMkLst>
            <pc:docMk/>
            <pc:sldMk cId="4273482360" sldId="271"/>
            <ac:spMk id="22" creationId="{F8E07573-A8E5-42F7-B445-E2E8E3B47ABD}"/>
          </ac:spMkLst>
        </pc:spChg>
        <pc:spChg chg="mod topLvl">
          <ac:chgData name="Zi yi Zhang (Chinasoft Shanghai)" userId="889434de-a257-482e-b37a-310609d597e0" providerId="ADAL" clId="{5367205E-484B-4AC3-B9DA-B83D37E935D4}" dt="2022-09-27T02:31:12.368" v="1444" actId="947"/>
          <ac:spMkLst>
            <pc:docMk/>
            <pc:sldMk cId="4273482360" sldId="271"/>
            <ac:spMk id="24" creationId="{00000000-0000-0000-0000-000000000000}"/>
          </ac:spMkLst>
        </pc:spChg>
        <pc:spChg chg="mod">
          <ac:chgData name="Zi yi Zhang (Chinasoft Shanghai)" userId="889434de-a257-482e-b37a-310609d597e0" providerId="ADAL" clId="{5367205E-484B-4AC3-B9DA-B83D37E935D4}" dt="2022-09-27T02:31:12.343" v="1436" actId="947"/>
          <ac:spMkLst>
            <pc:docMk/>
            <pc:sldMk cId="4273482360" sldId="271"/>
            <ac:spMk id="25" creationId="{921D2456-A6A6-43F5-AD86-0A010D24A2F0}"/>
          </ac:spMkLst>
        </pc:spChg>
        <pc:spChg chg="mod">
          <ac:chgData name="Zi yi Zhang (Chinasoft Shanghai)" userId="889434de-a257-482e-b37a-310609d597e0" providerId="ADAL" clId="{5367205E-484B-4AC3-B9DA-B83D37E935D4}" dt="2022-09-27T02:31:12.405" v="1460"/>
          <ac:spMkLst>
            <pc:docMk/>
            <pc:sldMk cId="4273482360" sldId="271"/>
            <ac:spMk id="26" creationId="{F8E07573-A8E5-42F7-B445-E2E8E3B47ABD}"/>
          </ac:spMkLst>
        </pc:spChg>
        <pc:grpChg chg="del">
          <ac:chgData name="Zi yi Zhang (Chinasoft Shanghai)" userId="889434de-a257-482e-b37a-310609d597e0" providerId="ADAL" clId="{5367205E-484B-4AC3-B9DA-B83D37E935D4}" dt="2022-09-27T02:24:26.302" v="0" actId="165"/>
          <ac:grpSpMkLst>
            <pc:docMk/>
            <pc:sldMk cId="4273482360" sldId="271"/>
            <ac:grpSpMk id="5" creationId="{00000000-0000-0000-0000-000000000000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4:26.574" v="9" actId="165"/>
          <ac:grpSpMkLst>
            <pc:docMk/>
            <pc:sldMk cId="4273482360" sldId="271"/>
            <ac:grpSpMk id="7" creationId="{00000000-0000-0000-0000-000000000000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4:26.574" v="9" actId="165"/>
          <ac:grpSpMkLst>
            <pc:docMk/>
            <pc:sldMk cId="4273482360" sldId="271"/>
            <ac:grpSpMk id="8" creationId="{00000000-0000-0000-0000-000000000000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4:26.574" v="9" actId="165"/>
          <ac:grpSpMkLst>
            <pc:docMk/>
            <pc:sldMk cId="4273482360" sldId="271"/>
            <ac:grpSpMk id="9" creationId="{00000000-0000-0000-0000-000000000000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4:26.574" v="9" actId="165"/>
          <ac:grpSpMkLst>
            <pc:docMk/>
            <pc:sldMk cId="4273482360" sldId="271"/>
            <ac:grpSpMk id="10" creationId="{00000000-0000-0000-0000-000000000000}"/>
          </ac:grpSpMkLst>
        </pc:grpChg>
        <pc:grpChg chg="mod topLvl">
          <ac:chgData name="Zi yi Zhang (Chinasoft Shanghai)" userId="889434de-a257-482e-b37a-310609d597e0" providerId="ADAL" clId="{5367205E-484B-4AC3-B9DA-B83D37E935D4}" dt="2022-09-27T02:24:26.574" v="9" actId="165"/>
          <ac:grpSpMkLst>
            <pc:docMk/>
            <pc:sldMk cId="4273482360" sldId="271"/>
            <ac:grpSpMk id="12" creationId="{00000000-0000-0000-0000-000000000000}"/>
          </ac:grpSpMkLst>
        </pc:grpChg>
        <pc:grpChg chg="mod topLvl">
          <ac:chgData name="Zi yi Zhang (Chinasoft Shanghai)" userId="889434de-a257-482e-b37a-310609d597e0" providerId="ADAL" clId="{5367205E-484B-4AC3-B9DA-B83D37E935D4}" dt="2022-09-27T02:24:26.574" v="9" actId="165"/>
          <ac:grpSpMkLst>
            <pc:docMk/>
            <pc:sldMk cId="4273482360" sldId="271"/>
            <ac:grpSpMk id="16" creationId="{00000000-0000-0000-0000-000000000000}"/>
          </ac:grpSpMkLst>
        </pc:grpChg>
        <pc:grpChg chg="mod topLvl">
          <ac:chgData name="Zi yi Zhang (Chinasoft Shanghai)" userId="889434de-a257-482e-b37a-310609d597e0" providerId="ADAL" clId="{5367205E-484B-4AC3-B9DA-B83D37E935D4}" dt="2022-09-27T02:24:26.574" v="9" actId="165"/>
          <ac:grpSpMkLst>
            <pc:docMk/>
            <pc:sldMk cId="4273482360" sldId="271"/>
            <ac:grpSpMk id="19" creationId="{00000000-0000-0000-0000-000000000000}"/>
          </ac:grpSpMkLst>
        </pc:grpChg>
        <pc:grpChg chg="mod topLvl">
          <ac:chgData name="Zi yi Zhang (Chinasoft Shanghai)" userId="889434de-a257-482e-b37a-310609d597e0" providerId="ADAL" clId="{5367205E-484B-4AC3-B9DA-B83D37E935D4}" dt="2022-09-27T02:24:26.574" v="9" actId="165"/>
          <ac:grpSpMkLst>
            <pc:docMk/>
            <pc:sldMk cId="4273482360" sldId="271"/>
            <ac:grpSpMk id="23" creationId="{00000000-0000-0000-0000-000000000000}"/>
          </ac:grpSpMkLst>
        </pc:grpChg>
      </pc:sldChg>
      <pc:sldChg chg="modSp mod">
        <pc:chgData name="Zi yi Zhang (Chinasoft Shanghai)" userId="889434de-a257-482e-b37a-310609d597e0" providerId="ADAL" clId="{5367205E-484B-4AC3-B9DA-B83D37E935D4}" dt="2022-09-27T02:31:13.526" v="1753" actId="947"/>
        <pc:sldMkLst>
          <pc:docMk/>
          <pc:sldMk cId="3856056844" sldId="272"/>
        </pc:sldMkLst>
        <pc:spChg chg="mod">
          <ac:chgData name="Zi yi Zhang (Chinasoft Shanghai)" userId="889434de-a257-482e-b37a-310609d597e0" providerId="ADAL" clId="{5367205E-484B-4AC3-B9DA-B83D37E935D4}" dt="2022-09-27T02:31:13.487" v="1745" actId="947"/>
          <ac:spMkLst>
            <pc:docMk/>
            <pc:sldMk cId="3856056844" sldId="272"/>
            <ac:spMk id="5" creationId="{00000000-0000-0000-0000-000000000000}"/>
          </ac:spMkLst>
        </pc:spChg>
        <pc:spChg chg="mod">
          <ac:chgData name="Zi yi Zhang (Chinasoft Shanghai)" userId="889434de-a257-482e-b37a-310609d597e0" providerId="ADAL" clId="{5367205E-484B-4AC3-B9DA-B83D37E935D4}" dt="2022-09-27T02:31:13.524" v="1752" actId="947"/>
          <ac:spMkLst>
            <pc:docMk/>
            <pc:sldMk cId="3856056844" sldId="272"/>
            <ac:spMk id="6" creationId="{00000000-0000-0000-0000-000000000000}"/>
          </ac:spMkLst>
        </pc:spChg>
        <pc:spChg chg="mod">
          <ac:chgData name="Zi yi Zhang (Chinasoft Shanghai)" userId="889434de-a257-482e-b37a-310609d597e0" providerId="ADAL" clId="{5367205E-484B-4AC3-B9DA-B83D37E935D4}" dt="2022-09-27T02:31:13.526" v="1753" actId="947"/>
          <ac:spMkLst>
            <pc:docMk/>
            <pc:sldMk cId="3856056844" sldId="272"/>
            <ac:spMk id="9" creationId="{04F69230-F3A6-4586-9371-A858F4763E9F}"/>
          </ac:spMkLst>
        </pc:spChg>
      </pc:sldChg>
      <pc:sldChg chg="modSp mod">
        <pc:chgData name="Zi yi Zhang (Chinasoft Shanghai)" userId="889434de-a257-482e-b37a-310609d597e0" providerId="ADAL" clId="{5367205E-484B-4AC3-B9DA-B83D37E935D4}" dt="2022-09-27T02:31:14.612" v="2137" actId="947"/>
        <pc:sldMkLst>
          <pc:docMk/>
          <pc:sldMk cId="2325874833" sldId="273"/>
        </pc:sldMkLst>
        <pc:spChg chg="mod">
          <ac:chgData name="Zi yi Zhang (Chinasoft Shanghai)" userId="889434de-a257-482e-b37a-310609d597e0" providerId="ADAL" clId="{5367205E-484B-4AC3-B9DA-B83D37E935D4}" dt="2022-09-27T02:31:14.566" v="2129" actId="947"/>
          <ac:spMkLst>
            <pc:docMk/>
            <pc:sldMk cId="2325874833" sldId="273"/>
            <ac:spMk id="5" creationId="{00000000-0000-0000-0000-000000000000}"/>
          </ac:spMkLst>
        </pc:spChg>
        <pc:spChg chg="mod">
          <ac:chgData name="Zi yi Zhang (Chinasoft Shanghai)" userId="889434de-a257-482e-b37a-310609d597e0" providerId="ADAL" clId="{5367205E-484B-4AC3-B9DA-B83D37E935D4}" dt="2022-09-27T02:31:14.612" v="2137" actId="947"/>
          <ac:spMkLst>
            <pc:docMk/>
            <pc:sldMk cId="2325874833" sldId="273"/>
            <ac:spMk id="6" creationId="{00000000-0000-0000-0000-000000000000}"/>
          </ac:spMkLst>
        </pc:spChg>
        <pc:spChg chg="mod">
          <ac:chgData name="Zi yi Zhang (Chinasoft Shanghai)" userId="889434de-a257-482e-b37a-310609d597e0" providerId="ADAL" clId="{5367205E-484B-4AC3-B9DA-B83D37E935D4}" dt="2022-09-27T02:31:14.609" v="2136" actId="947"/>
          <ac:spMkLst>
            <pc:docMk/>
            <pc:sldMk cId="2325874833" sldId="273"/>
            <ac:spMk id="9" creationId="{04F69230-F3A6-4586-9371-A858F4763E9F}"/>
          </ac:spMkLst>
        </pc:spChg>
      </pc:sldChg>
      <pc:sldChg chg="modSp mod">
        <pc:chgData name="Zi yi Zhang (Chinasoft Shanghai)" userId="889434de-a257-482e-b37a-310609d597e0" providerId="ADAL" clId="{5367205E-484B-4AC3-B9DA-B83D37E935D4}" dt="2022-09-27T02:31:15.794" v="2465" actId="947"/>
        <pc:sldMkLst>
          <pc:docMk/>
          <pc:sldMk cId="2864638056" sldId="274"/>
        </pc:sldMkLst>
        <pc:spChg chg="mod">
          <ac:chgData name="Zi yi Zhang (Chinasoft Shanghai)" userId="889434de-a257-482e-b37a-310609d597e0" providerId="ADAL" clId="{5367205E-484B-4AC3-B9DA-B83D37E935D4}" dt="2022-09-27T02:31:15.751" v="2457" actId="947"/>
          <ac:spMkLst>
            <pc:docMk/>
            <pc:sldMk cId="2864638056" sldId="274"/>
            <ac:spMk id="5" creationId="{00000000-0000-0000-0000-000000000000}"/>
          </ac:spMkLst>
        </pc:spChg>
        <pc:spChg chg="mod">
          <ac:chgData name="Zi yi Zhang (Chinasoft Shanghai)" userId="889434de-a257-482e-b37a-310609d597e0" providerId="ADAL" clId="{5367205E-484B-4AC3-B9DA-B83D37E935D4}" dt="2022-09-27T02:31:15.794" v="2465" actId="947"/>
          <ac:spMkLst>
            <pc:docMk/>
            <pc:sldMk cId="2864638056" sldId="274"/>
            <ac:spMk id="6" creationId="{00000000-0000-0000-0000-000000000000}"/>
          </ac:spMkLst>
        </pc:spChg>
        <pc:spChg chg="mod">
          <ac:chgData name="Zi yi Zhang (Chinasoft Shanghai)" userId="889434de-a257-482e-b37a-310609d597e0" providerId="ADAL" clId="{5367205E-484B-4AC3-B9DA-B83D37E935D4}" dt="2022-09-27T02:31:15.791" v="2464" actId="947"/>
          <ac:spMkLst>
            <pc:docMk/>
            <pc:sldMk cId="2864638056" sldId="274"/>
            <ac:spMk id="9" creationId="{04F69230-F3A6-4586-9371-A858F4763E9F}"/>
          </ac:spMkLst>
        </pc:spChg>
      </pc:sldChg>
      <pc:sldChg chg="delSp modSp mod">
        <pc:chgData name="Zi yi Zhang (Chinasoft Shanghai)" userId="889434de-a257-482e-b37a-310609d597e0" providerId="ADAL" clId="{5367205E-484B-4AC3-B9DA-B83D37E935D4}" dt="2022-09-27T02:31:12.833" v="1585" actId="947"/>
        <pc:sldMkLst>
          <pc:docMk/>
          <pc:sldMk cId="2638819124" sldId="275"/>
        </pc:sldMkLst>
        <pc:spChg chg="mod">
          <ac:chgData name="Zi yi Zhang (Chinasoft Shanghai)" userId="889434de-a257-482e-b37a-310609d597e0" providerId="ADAL" clId="{5367205E-484B-4AC3-B9DA-B83D37E935D4}" dt="2022-09-27T02:31:12.508" v="1481" actId="947"/>
          <ac:spMkLst>
            <pc:docMk/>
            <pc:sldMk cId="2638819124" sldId="275"/>
            <ac:spMk id="2" creationId="{00000000-0000-0000-0000-000000000000}"/>
          </ac:spMkLst>
        </pc:spChg>
        <pc:spChg chg="mod">
          <ac:chgData name="Zi yi Zhang (Chinasoft Shanghai)" userId="889434de-a257-482e-b37a-310609d597e0" providerId="ADAL" clId="{5367205E-484B-4AC3-B9DA-B83D37E935D4}" dt="2022-09-27T02:31:12.819" v="1575" actId="947"/>
          <ac:spMkLst>
            <pc:docMk/>
            <pc:sldMk cId="2638819124" sldId="275"/>
            <ac:spMk id="3" creationId="{00000000-0000-0000-0000-000000000000}"/>
          </ac:spMkLst>
        </pc:spChg>
        <pc:spChg chg="mod">
          <ac:chgData name="Zi yi Zhang (Chinasoft Shanghai)" userId="889434de-a257-482e-b37a-310609d597e0" providerId="ADAL" clId="{5367205E-484B-4AC3-B9DA-B83D37E935D4}" dt="2022-09-27T02:31:12.514" v="1485" actId="947"/>
          <ac:spMkLst>
            <pc:docMk/>
            <pc:sldMk cId="2638819124" sldId="275"/>
            <ac:spMk id="4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2.829" v="1582" actId="947"/>
          <ac:spMkLst>
            <pc:docMk/>
            <pc:sldMk cId="2638819124" sldId="275"/>
            <ac:spMk id="8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2.531" v="1493" actId="947"/>
          <ac:spMkLst>
            <pc:docMk/>
            <pc:sldMk cId="2638819124" sldId="275"/>
            <ac:spMk id="9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2.822" v="1577" actId="947"/>
          <ac:spMkLst>
            <pc:docMk/>
            <pc:sldMk cId="2638819124" sldId="275"/>
            <ac:spMk id="10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2.831" v="1584" actId="947"/>
          <ac:spMkLst>
            <pc:docMk/>
            <pc:sldMk cId="2638819124" sldId="275"/>
            <ac:spMk id="11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2.815" v="1573" actId="947"/>
          <ac:spMkLst>
            <pc:docMk/>
            <pc:sldMk cId="2638819124" sldId="275"/>
            <ac:spMk id="20" creationId="{921AE7E5-F9A8-46DC-A3B8-94BF6A2C9D93}"/>
          </ac:spMkLst>
        </pc:spChg>
        <pc:spChg chg="mod topLvl">
          <ac:chgData name="Zi yi Zhang (Chinasoft Shanghai)" userId="889434de-a257-482e-b37a-310609d597e0" providerId="ADAL" clId="{5367205E-484B-4AC3-B9DA-B83D37E935D4}" dt="2022-09-27T02:31:12.572" v="1517" actId="947"/>
          <ac:spMkLst>
            <pc:docMk/>
            <pc:sldMk cId="2638819124" sldId="275"/>
            <ac:spMk id="21" creationId="{74F68E1B-3302-46D8-84C6-3382054D3536}"/>
          </ac:spMkLst>
        </pc:spChg>
        <pc:spChg chg="mod topLvl">
          <ac:chgData name="Zi yi Zhang (Chinasoft Shanghai)" userId="889434de-a257-482e-b37a-310609d597e0" providerId="ADAL" clId="{5367205E-484B-4AC3-B9DA-B83D37E935D4}" dt="2022-09-27T02:31:12.564" v="1513" actId="947"/>
          <ac:spMkLst>
            <pc:docMk/>
            <pc:sldMk cId="2638819124" sldId="275"/>
            <ac:spMk id="22" creationId="{921AE7E5-F9A8-46DC-A3B8-94BF6A2C9D93}"/>
          </ac:spMkLst>
        </pc:spChg>
        <pc:spChg chg="mod topLvl">
          <ac:chgData name="Zi yi Zhang (Chinasoft Shanghai)" userId="889434de-a257-482e-b37a-310609d597e0" providerId="ADAL" clId="{5367205E-484B-4AC3-B9DA-B83D37E935D4}" dt="2022-09-27T02:31:12.796" v="1564" actId="947"/>
          <ac:spMkLst>
            <pc:docMk/>
            <pc:sldMk cId="2638819124" sldId="275"/>
            <ac:spMk id="23" creationId="{74F68E1B-3302-46D8-84C6-3382054D3536}"/>
          </ac:spMkLst>
        </pc:spChg>
        <pc:spChg chg="mod topLvl">
          <ac:chgData name="Zi yi Zhang (Chinasoft Shanghai)" userId="889434de-a257-482e-b37a-310609d597e0" providerId="ADAL" clId="{5367205E-484B-4AC3-B9DA-B83D37E935D4}" dt="2022-09-27T02:31:12.828" v="1581" actId="947"/>
          <ac:spMkLst>
            <pc:docMk/>
            <pc:sldMk cId="2638819124" sldId="275"/>
            <ac:spMk id="24" creationId="{921AE7E5-F9A8-46DC-A3B8-94BF6A2C9D93}"/>
          </ac:spMkLst>
        </pc:spChg>
        <pc:spChg chg="mod topLvl">
          <ac:chgData name="Zi yi Zhang (Chinasoft Shanghai)" userId="889434de-a257-482e-b37a-310609d597e0" providerId="ADAL" clId="{5367205E-484B-4AC3-B9DA-B83D37E935D4}" dt="2022-09-27T02:31:12.808" v="1571" actId="947"/>
          <ac:spMkLst>
            <pc:docMk/>
            <pc:sldMk cId="2638819124" sldId="275"/>
            <ac:spMk id="25" creationId="{74F68E1B-3302-46D8-84C6-3382054D3536}"/>
          </ac:spMkLst>
        </pc:spChg>
        <pc:spChg chg="mod topLvl">
          <ac:chgData name="Zi yi Zhang (Chinasoft Shanghai)" userId="889434de-a257-482e-b37a-310609d597e0" providerId="ADAL" clId="{5367205E-484B-4AC3-B9DA-B83D37E935D4}" dt="2022-09-27T02:31:12.825" v="1580" actId="947"/>
          <ac:spMkLst>
            <pc:docMk/>
            <pc:sldMk cId="2638819124" sldId="275"/>
            <ac:spMk id="26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2.554" v="1509" actId="947"/>
          <ac:spMkLst>
            <pc:docMk/>
            <pc:sldMk cId="2638819124" sldId="275"/>
            <ac:spMk id="27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2.549" v="1505" actId="947"/>
          <ac:spMkLst>
            <pc:docMk/>
            <pc:sldMk cId="2638819124" sldId="275"/>
            <ac:spMk id="28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2.801" v="1567" actId="947"/>
          <ac:spMkLst>
            <pc:docMk/>
            <pc:sldMk cId="2638819124" sldId="275"/>
            <ac:spMk id="29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2.830" v="1583" actId="947"/>
          <ac:spMkLst>
            <pc:docMk/>
            <pc:sldMk cId="2638819124" sldId="275"/>
            <ac:spMk id="30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2.821" v="1576" actId="947"/>
          <ac:spMkLst>
            <pc:docMk/>
            <pc:sldMk cId="2638819124" sldId="275"/>
            <ac:spMk id="31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2.824" v="1579" actId="947"/>
          <ac:spMkLst>
            <pc:docMk/>
            <pc:sldMk cId="2638819124" sldId="275"/>
            <ac:spMk id="32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2.543" v="1501" actId="947"/>
          <ac:spMkLst>
            <pc:docMk/>
            <pc:sldMk cId="2638819124" sldId="275"/>
            <ac:spMk id="33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2.537" v="1497" actId="947"/>
          <ac:spMkLst>
            <pc:docMk/>
            <pc:sldMk cId="2638819124" sldId="275"/>
            <ac:spMk id="34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2.823" v="1578" actId="947"/>
          <ac:spMkLst>
            <pc:docMk/>
            <pc:sldMk cId="2638819124" sldId="275"/>
            <ac:spMk id="35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2.525" v="1489" actId="947"/>
          <ac:spMkLst>
            <pc:docMk/>
            <pc:sldMk cId="2638819124" sldId="275"/>
            <ac:spMk id="36" creationId="{921AE7E5-F9A8-46DC-A3B8-94BF6A2C9D93}"/>
          </ac:spMkLst>
        </pc:spChg>
        <pc:spChg chg="mod topLvl">
          <ac:chgData name="Zi yi Zhang (Chinasoft Shanghai)" userId="889434de-a257-482e-b37a-310609d597e0" providerId="ADAL" clId="{5367205E-484B-4AC3-B9DA-B83D37E935D4}" dt="2022-09-27T02:31:12.782" v="1560" actId="947"/>
          <ac:spMkLst>
            <pc:docMk/>
            <pc:sldMk cId="2638819124" sldId="275"/>
            <ac:spMk id="37" creationId="{74F68E1B-3302-46D8-84C6-3382054D3536}"/>
          </ac:spMkLst>
        </pc:spChg>
        <pc:spChg chg="mod topLvl">
          <ac:chgData name="Zi yi Zhang (Chinasoft Shanghai)" userId="889434de-a257-482e-b37a-310609d597e0" providerId="ADAL" clId="{5367205E-484B-4AC3-B9DA-B83D37E935D4}" dt="2022-09-27T02:31:12.805" v="1569" actId="947"/>
          <ac:spMkLst>
            <pc:docMk/>
            <pc:sldMk cId="2638819124" sldId="275"/>
            <ac:spMk id="38" creationId="{921AE7E5-F9A8-46DC-A3B8-94BF6A2C9D93}"/>
          </ac:spMkLst>
        </pc:spChg>
        <pc:spChg chg="mod topLvl">
          <ac:chgData name="Zi yi Zhang (Chinasoft Shanghai)" userId="889434de-a257-482e-b37a-310609d597e0" providerId="ADAL" clId="{5367205E-484B-4AC3-B9DA-B83D37E935D4}" dt="2022-09-27T02:31:12.833" v="1585" actId="947"/>
          <ac:spMkLst>
            <pc:docMk/>
            <pc:sldMk cId="2638819124" sldId="275"/>
            <ac:spMk id="39" creationId="{74F68E1B-3302-46D8-84C6-3382054D3536}"/>
          </ac:spMkLst>
        </pc:spChg>
        <pc:grpChg chg="del">
          <ac:chgData name="Zi yi Zhang (Chinasoft Shanghai)" userId="889434de-a257-482e-b37a-310609d597e0" providerId="ADAL" clId="{5367205E-484B-4AC3-B9DA-B83D37E935D4}" dt="2022-09-27T02:28:13.192" v="10" actId="165"/>
          <ac:grpSpMkLst>
            <pc:docMk/>
            <pc:sldMk cId="2638819124" sldId="275"/>
            <ac:grpSpMk id="5" creationId="{00000000-0000-0000-0000-000000000000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8:13.474" v="11" actId="165"/>
          <ac:grpSpMkLst>
            <pc:docMk/>
            <pc:sldMk cId="2638819124" sldId="275"/>
            <ac:grpSpMk id="6" creationId="{00000000-0000-0000-0000-000000000000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8:13.474" v="11" actId="165"/>
          <ac:grpSpMkLst>
            <pc:docMk/>
            <pc:sldMk cId="2638819124" sldId="275"/>
            <ac:grpSpMk id="7" creationId="{00000000-0000-0000-0000-000000000000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8:13.474" v="11" actId="165"/>
          <ac:grpSpMkLst>
            <pc:docMk/>
            <pc:sldMk cId="2638819124" sldId="275"/>
            <ac:grpSpMk id="12" creationId="{00000000-0000-0000-0000-000000000000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8:13.474" v="11" actId="165"/>
          <ac:grpSpMkLst>
            <pc:docMk/>
            <pc:sldMk cId="2638819124" sldId="275"/>
            <ac:grpSpMk id="13" creationId="{00000000-0000-0000-0000-000000000000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8:13.474" v="11" actId="165"/>
          <ac:grpSpMkLst>
            <pc:docMk/>
            <pc:sldMk cId="2638819124" sldId="275"/>
            <ac:grpSpMk id="14" creationId="{00000000-0000-0000-0000-000000000000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8:13.474" v="11" actId="165"/>
          <ac:grpSpMkLst>
            <pc:docMk/>
            <pc:sldMk cId="2638819124" sldId="275"/>
            <ac:grpSpMk id="15" creationId="{00000000-0000-0000-0000-000000000000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8:13.474" v="11" actId="165"/>
          <ac:grpSpMkLst>
            <pc:docMk/>
            <pc:sldMk cId="2638819124" sldId="275"/>
            <ac:grpSpMk id="16" creationId="{00000000-0000-0000-0000-000000000000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8:13.474" v="11" actId="165"/>
          <ac:grpSpMkLst>
            <pc:docMk/>
            <pc:sldMk cId="2638819124" sldId="275"/>
            <ac:grpSpMk id="17" creationId="{00000000-0000-0000-0000-000000000000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8:13.474" v="11" actId="165"/>
          <ac:grpSpMkLst>
            <pc:docMk/>
            <pc:sldMk cId="2638819124" sldId="275"/>
            <ac:grpSpMk id="18" creationId="{00000000-0000-0000-0000-000000000000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8:13.474" v="11" actId="165"/>
          <ac:grpSpMkLst>
            <pc:docMk/>
            <pc:sldMk cId="2638819124" sldId="275"/>
            <ac:grpSpMk id="19" creationId="{00000000-0000-0000-0000-000000000000}"/>
          </ac:grpSpMkLst>
        </pc:grpChg>
      </pc:sldChg>
      <pc:sldChg chg="delSp modSp mod">
        <pc:chgData name="Zi yi Zhang (Chinasoft Shanghai)" userId="889434de-a257-482e-b37a-310609d597e0" providerId="ADAL" clId="{5367205E-484B-4AC3-B9DA-B83D37E935D4}" dt="2022-09-27T02:31:13.111" v="1653" actId="947"/>
        <pc:sldMkLst>
          <pc:docMk/>
          <pc:sldMk cId="59950957" sldId="276"/>
        </pc:sldMkLst>
        <pc:spChg chg="mod">
          <ac:chgData name="Zi yi Zhang (Chinasoft Shanghai)" userId="889434de-a257-482e-b37a-310609d597e0" providerId="ADAL" clId="{5367205E-484B-4AC3-B9DA-B83D37E935D4}" dt="2022-09-27T02:31:12.863" v="1589" actId="947"/>
          <ac:spMkLst>
            <pc:docMk/>
            <pc:sldMk cId="59950957" sldId="276"/>
            <ac:spMk id="2" creationId="{00000000-0000-0000-0000-000000000000}"/>
          </ac:spMkLst>
        </pc:spChg>
        <pc:spChg chg="mod">
          <ac:chgData name="Zi yi Zhang (Chinasoft Shanghai)" userId="889434de-a257-482e-b37a-310609d597e0" providerId="ADAL" clId="{5367205E-484B-4AC3-B9DA-B83D37E935D4}" dt="2022-09-27T02:31:13.048" v="1630" actId="947"/>
          <ac:spMkLst>
            <pc:docMk/>
            <pc:sldMk cId="59950957" sldId="276"/>
            <ac:spMk id="3" creationId="{00000000-0000-0000-0000-000000000000}"/>
          </ac:spMkLst>
        </pc:spChg>
        <pc:spChg chg="mod">
          <ac:chgData name="Zi yi Zhang (Chinasoft Shanghai)" userId="889434de-a257-482e-b37a-310609d597e0" providerId="ADAL" clId="{5367205E-484B-4AC3-B9DA-B83D37E935D4}" dt="2022-09-27T02:31:13.060" v="1635" actId="947"/>
          <ac:spMkLst>
            <pc:docMk/>
            <pc:sldMk cId="59950957" sldId="276"/>
            <ac:spMk id="4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063" v="1637" actId="947"/>
          <ac:spMkLst>
            <pc:docMk/>
            <pc:sldMk cId="59950957" sldId="276"/>
            <ac:spMk id="11" creationId="{51BC468C-8C0C-404C-BEA8-AE743D53AFC3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043" v="1628" actId="947"/>
          <ac:spMkLst>
            <pc:docMk/>
            <pc:sldMk cId="59950957" sldId="276"/>
            <ac:spMk id="12" creationId="{82F125A6-8E9C-4CC4-8AF8-BFD57C836B13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061" v="1636" actId="947"/>
          <ac:spMkLst>
            <pc:docMk/>
            <pc:sldMk cId="59950957" sldId="276"/>
            <ac:spMk id="13" creationId="{84F384FB-4A89-42D8-A84A-0D8556BDAAF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046" v="1629" actId="947"/>
          <ac:spMkLst>
            <pc:docMk/>
            <pc:sldMk cId="59950957" sldId="276"/>
            <ac:spMk id="14" creationId="{E71CE00F-05AB-42CF-865B-67E61919A5FF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053" v="1633" actId="947"/>
          <ac:spMkLst>
            <pc:docMk/>
            <pc:sldMk cId="59950957" sldId="276"/>
            <ac:spMk id="15" creationId="{007BD78A-2B42-4A17-B553-69C16F8F5593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056" v="1634" actId="947"/>
          <ac:spMkLst>
            <pc:docMk/>
            <pc:sldMk cId="59950957" sldId="276"/>
            <ac:spMk id="16" creationId="{6A5959F1-D2CC-4B61-B441-77832D59202C}"/>
          </ac:spMkLst>
        </pc:spChg>
        <pc:spChg chg="mod">
          <ac:chgData name="Zi yi Zhang (Chinasoft Shanghai)" userId="889434de-a257-482e-b37a-310609d597e0" providerId="ADAL" clId="{5367205E-484B-4AC3-B9DA-B83D37E935D4}" dt="2022-09-27T02:31:13.034" v="1626" actId="947"/>
          <ac:spMkLst>
            <pc:docMk/>
            <pc:sldMk cId="59950957" sldId="276"/>
            <ac:spMk id="17" creationId="{04A00C8D-F77B-4D9C-BBF6-1D30547962A8}"/>
          </ac:spMkLst>
        </pc:spChg>
        <pc:spChg chg="mod">
          <ac:chgData name="Zi yi Zhang (Chinasoft Shanghai)" userId="889434de-a257-482e-b37a-310609d597e0" providerId="ADAL" clId="{5367205E-484B-4AC3-B9DA-B83D37E935D4}" dt="2022-09-27T02:31:13.111" v="1653" actId="947"/>
          <ac:spMkLst>
            <pc:docMk/>
            <pc:sldMk cId="59950957" sldId="276"/>
            <ac:spMk id="18" creationId="{D9DEE1AD-8E7B-4F43-88EB-AFA6480820DD}"/>
          </ac:spMkLst>
        </pc:spChg>
        <pc:spChg chg="mod">
          <ac:chgData name="Zi yi Zhang (Chinasoft Shanghai)" userId="889434de-a257-482e-b37a-310609d597e0" providerId="ADAL" clId="{5367205E-484B-4AC3-B9DA-B83D37E935D4}" dt="2022-09-27T02:31:13.027" v="1624" actId="947"/>
          <ac:spMkLst>
            <pc:docMk/>
            <pc:sldMk cId="59950957" sldId="276"/>
            <ac:spMk id="19" creationId="{084E98EF-DF66-412E-AED6-9AD62537107D}"/>
          </ac:spMkLst>
        </pc:spChg>
        <pc:spChg chg="mod">
          <ac:chgData name="Zi yi Zhang (Chinasoft Shanghai)" userId="889434de-a257-482e-b37a-310609d597e0" providerId="ADAL" clId="{5367205E-484B-4AC3-B9DA-B83D37E935D4}" dt="2022-09-27T02:31:13.108" v="1652" actId="947"/>
          <ac:spMkLst>
            <pc:docMk/>
            <pc:sldMk cId="59950957" sldId="276"/>
            <ac:spMk id="20" creationId="{487FE1C0-302F-452C-8B8E-97E597679D96}"/>
          </ac:spMkLst>
        </pc:spChg>
        <pc:spChg chg="mod">
          <ac:chgData name="Zi yi Zhang (Chinasoft Shanghai)" userId="889434de-a257-482e-b37a-310609d597e0" providerId="ADAL" clId="{5367205E-484B-4AC3-B9DA-B83D37E935D4}" dt="2022-09-27T02:31:13.025" v="1623" actId="947"/>
          <ac:spMkLst>
            <pc:docMk/>
            <pc:sldMk cId="59950957" sldId="276"/>
            <ac:spMk id="21" creationId="{7DB71E64-EC7A-4CC4-B6E3-2B1A3BF48F60}"/>
          </ac:spMkLst>
        </pc:spChg>
        <pc:spChg chg="mod">
          <ac:chgData name="Zi yi Zhang (Chinasoft Shanghai)" userId="889434de-a257-482e-b37a-310609d597e0" providerId="ADAL" clId="{5367205E-484B-4AC3-B9DA-B83D37E935D4}" dt="2022-09-27T02:31:13.106" v="1651" actId="947"/>
          <ac:spMkLst>
            <pc:docMk/>
            <pc:sldMk cId="59950957" sldId="276"/>
            <ac:spMk id="22" creationId="{CFF67B90-E769-430F-B4B1-E5DA251E124F}"/>
          </ac:spMkLst>
        </pc:spChg>
        <pc:spChg chg="mod">
          <ac:chgData name="Zi yi Zhang (Chinasoft Shanghai)" userId="889434de-a257-482e-b37a-310609d597e0" providerId="ADAL" clId="{5367205E-484B-4AC3-B9DA-B83D37E935D4}" dt="2022-09-27T02:31:12.993" v="1610" actId="947"/>
          <ac:spMkLst>
            <pc:docMk/>
            <pc:sldMk cId="59950957" sldId="276"/>
            <ac:spMk id="23" creationId="{AF27C46F-37DF-4601-87C4-41321E30C44E}"/>
          </ac:spMkLst>
        </pc:spChg>
        <pc:spChg chg="mod">
          <ac:chgData name="Zi yi Zhang (Chinasoft Shanghai)" userId="889434de-a257-482e-b37a-310609d597e0" providerId="ADAL" clId="{5367205E-484B-4AC3-B9DA-B83D37E935D4}" dt="2022-09-27T02:31:13.093" v="1646" actId="947"/>
          <ac:spMkLst>
            <pc:docMk/>
            <pc:sldMk cId="59950957" sldId="276"/>
            <ac:spMk id="24" creationId="{B0E3FE2F-766E-4B6D-BB9B-3A53B6AA2778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25" creationId="{74995681-C641-41D6-8DEA-75EABE05CFDF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26" creationId="{221BB2B9-3E8F-44A1-9A12-BC4BEBC99674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27" creationId="{8F085799-C130-449F-808A-8BEFCF3011A9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28" creationId="{EF235927-2963-4CC2-B2A4-2FBC9C65F8B7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29" creationId="{317B3AF1-29FD-42D5-9691-A0D43664995F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30" creationId="{EE6BBD56-BFCB-4E9D-BE11-25CC2AA63721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31" creationId="{C45830D4-615F-413D-96E4-5A1132CED402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32" creationId="{73AE2D6F-B0F1-4AF6-A508-EFB3237CE480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33" creationId="{0AF217E5-A8B3-4143-8FB0-6831331A67BF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34" creationId="{76772F61-C827-4C15-A95F-5063B083E552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35" creationId="{42598529-B32A-498D-8857-D0495D4D3A90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36" creationId="{5E0A5CD4-E13A-4B75-8569-340B56013E53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37" creationId="{A31F1887-4A9A-444A-9069-51499F05F575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38" creationId="{20F1CF09-EB21-4CBC-A910-F8B57A8C6354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39" creationId="{F2AAB5C5-2445-4BBC-B415-FF410475D16B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40" creationId="{7BA51811-326B-45D9-AF41-09F162C28EA9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41" creationId="{0040F8A4-6D8E-4A03-841A-3B94128783E3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42" creationId="{D5524BBD-05A7-469F-BCCE-D51B0CFDCF03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43" creationId="{22B468F4-A999-4C80-9879-03854661817D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44" creationId="{D319D439-F09C-487A-9A79-4719CEEF5A15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45" creationId="{9B50501F-9974-4C79-8568-E2BEF783B862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46" creationId="{07CC2068-C078-4E5A-8770-168B48FFE315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47" creationId="{BDE53E7A-5077-4BB6-8F5E-221D03442B1E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48" creationId="{AD43ACCC-C0C3-435C-AFA1-3494D68EBD5D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49" creationId="{27C7B4F5-F441-4C49-BE11-F97638001735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50" creationId="{C939E6EA-82B6-43BA-88E2-381EE7EE32FA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51" creationId="{6642EBB7-2C1D-4332-BDCD-E8EE224CF55F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52" creationId="{F12EAE13-BE5F-4E07-A60D-89A3D45FDC23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53" creationId="{D13CDA65-F0B5-4FDE-8613-AC00CAA2254C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54" creationId="{ED3E8C4A-AACC-4640-B076-675DB5FB73D2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55" creationId="{CEB18F34-4189-4BC2-964B-27D9060500CE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56" creationId="{9A969033-D448-4756-A7A3-A55FA6D471B1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57" creationId="{2D2D1F28-DD74-42A9-BB21-B0453C80C942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58" creationId="{D35B5BF7-BD7C-4EE3-A7C3-9AC60C7DE7A8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59" creationId="{D6D4B7BB-786A-41AD-B739-7066852BE6B7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60" creationId="{FB9089DD-392D-47FB-BD0F-F46B97074D3D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61" creationId="{A53AAFAF-F274-41CC-9A11-68DB88C5C618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62" creationId="{0AD5D284-A6B9-4AAE-9459-98D5A7FC32E7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63" creationId="{7760DE80-02CA-4F1E-930A-EF3C13F29B03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64" creationId="{445EDB00-1A58-4AA6-9C6A-A16AAD5F911F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65" creationId="{A68F17F5-A894-4688-80D3-B96CA05EFB75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66" creationId="{20929A2A-8C79-4833-ABAD-CBBF8C88697A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67" creationId="{07532E54-2F5D-4239-9685-3DF94F0211CC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68" creationId="{11D83C29-A69D-4B26-A68B-74DE177D3FA8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69" creationId="{324950D6-DB92-45CB-88F2-6FA18C757C5A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70" creationId="{132DEB04-56FA-4FAA-8CDF-7DF2CEFC9E74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71" creationId="{CDCE5DDA-C190-4EDE-87AE-62EB932CF6F4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72" creationId="{688C5E56-AB0C-40A3-9E14-9BB4DDA3F29E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73" creationId="{1E86F650-B9F5-4DAE-9DDA-26B926ED9FB5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74" creationId="{5F389747-BE13-4E53-BA10-33B498E86522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75" creationId="{A6903C8F-9C18-4295-9D80-76746783CA8B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76" creationId="{FF4BB546-0BD8-4810-A113-C17546FE77D5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77" creationId="{8EEA4202-9969-4F1C-BE63-0315983EF29D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78" creationId="{4F1FBE01-E374-444B-A4B9-736EBABCF412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79" creationId="{073FF39D-8BAC-47D4-B8CA-96DD1F979DB6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80" creationId="{145385BB-A151-482E-B0AB-F4DF0D6D979D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81" creationId="{4BA83E76-CA16-41CD-8BF5-EBFFA4E554EE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82" creationId="{FAEF06A8-77BF-423C-858A-085F8C12BD7E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83" creationId="{433C037D-FD8E-401E-8FED-61089211F6FF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84" creationId="{A5DFE59C-A5F5-43E4-9205-CC4F690F21EA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85" creationId="{7AA053BE-D546-441C-9C43-3FEC2D4BE4DE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86" creationId="{8DD578EE-5C43-4477-AB8B-A750EEB4ABC9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87" creationId="{5EF5B9B6-538C-44F4-9D83-A62637C1119E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88" creationId="{FE2529FC-D1F2-4433-8E73-18AE3098A40B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89" creationId="{918E2B4C-D967-4C2F-B1C9-52AACB436307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90" creationId="{4C11BA93-DC43-4FB8-BF74-87355B8586E6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91" creationId="{B0E3D013-F5F2-45C1-8B54-511A0030ABF5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92" creationId="{FD587863-30EB-40AB-BA5A-F78412D85ED1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93" creationId="{D2249DE1-84FE-4662-B016-1BA3B34CD047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94" creationId="{9C415738-C384-41ED-A33F-5B9CFF0C4A09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95" creationId="{8AA1A623-039F-42F5-B4F8-B14E89BAC91E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96" creationId="{8D4BD5D5-B7A2-4683-B843-BF1B3855B5D7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97" creationId="{5CE91340-32DB-422C-8136-735D8AE8654B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98" creationId="{76D36590-CC1A-495D-AA30-12E6BCD84E67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99" creationId="{35807904-573E-4DC3-AA6C-1FB2A5DD3BBB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100" creationId="{9F351015-A474-42E2-B49A-8DAC7C457C96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101" creationId="{93ABB8EA-5CC3-40CB-9BA0-9BA97AB9BF69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102" creationId="{5EFAE365-25BB-4198-8F75-25174358A0C2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103" creationId="{CC9902FA-57CF-42A7-AA1C-9124356D332B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104" creationId="{D17DEB8A-E645-453B-A426-7C9394448E0E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105" creationId="{AF87B526-7BB2-44A5-B9F9-7898F5C7E941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106" creationId="{812165EB-8798-4EA8-8F28-4821E30D5795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107" creationId="{CA2DD142-ECD7-40FB-81A2-C0DC82F01D25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108" creationId="{57590D61-84D1-4B39-8640-03361118979F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109" creationId="{7D600C8A-ED04-4C0D-8357-F4B3440BCF8F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110" creationId="{6BD8B97A-A30B-4F0E-9EE4-618C74569CC2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111" creationId="{152E68E6-87F1-4E8E-9B3E-E21532DB9CE5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112" creationId="{FDF83F72-E064-4747-AFBB-71AC2CDA9960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113" creationId="{EE30214E-6F64-4183-8E2B-44CF16A7F543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114" creationId="{401D2772-7458-4591-9DB7-153D475AC42C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115" creationId="{0EE2B47D-7831-4085-A431-4EB12A42554F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116" creationId="{2EED4425-D2E9-49ED-AE6F-6141E1F3A582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117" creationId="{6DADFE4A-A71E-4BCB-B56A-D86C57740CA2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118" creationId="{3B70E880-AF19-40CC-AFDF-28BAEEA6C03C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119" creationId="{4AEC37EA-603B-43F8-8A97-5C533AA9774D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120" creationId="{4A6397E6-1C8E-42B5-BA66-69805A3ADE0E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121" creationId="{B6E3B6E3-867B-43C3-8F42-C419686709D6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122" creationId="{E0E4CED3-61BA-41A1-90CA-49597EE81CEE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123" creationId="{29247E90-E0A6-417B-9571-4843B377AF1F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124" creationId="{292C7D55-5B6F-42BE-A585-393B001BB2E7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125" creationId="{864D0FF9-0E1A-43E5-8E10-94194893D55C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126" creationId="{F7957B66-84F0-4473-8818-ACEE1A274CB0}"/>
          </ac:spMkLst>
        </pc:spChg>
        <pc:spChg chg="mod">
          <ac:chgData name="Zi yi Zhang (Chinasoft Shanghai)" userId="889434de-a257-482e-b37a-310609d597e0" providerId="ADAL" clId="{5367205E-484B-4AC3-B9DA-B83D37E935D4}" dt="2022-09-27T02:28:16.337" v="12" actId="165"/>
          <ac:spMkLst>
            <pc:docMk/>
            <pc:sldMk cId="59950957" sldId="276"/>
            <ac:spMk id="127" creationId="{E73826C0-EC1E-4DC3-892A-0F62B7948983}"/>
          </ac:spMkLst>
        </pc:spChg>
        <pc:grpChg chg="del">
          <ac:chgData name="Zi yi Zhang (Chinasoft Shanghai)" userId="889434de-a257-482e-b37a-310609d597e0" providerId="ADAL" clId="{5367205E-484B-4AC3-B9DA-B83D37E935D4}" dt="2022-09-27T02:28:16.337" v="12" actId="165"/>
          <ac:grpSpMkLst>
            <pc:docMk/>
            <pc:sldMk cId="59950957" sldId="276"/>
            <ac:grpSpMk id="5" creationId="{00000000-0000-0000-0000-000000000000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8:18.472" v="13" actId="478"/>
          <ac:grpSpMkLst>
            <pc:docMk/>
            <pc:sldMk cId="59950957" sldId="276"/>
            <ac:grpSpMk id="6" creationId="{0065EDE3-D773-4B98-9630-D06CC4D671F2}"/>
          </ac:grpSpMkLst>
        </pc:grpChg>
        <pc:grpChg chg="mod topLvl">
          <ac:chgData name="Zi yi Zhang (Chinasoft Shanghai)" userId="889434de-a257-482e-b37a-310609d597e0" providerId="ADAL" clId="{5367205E-484B-4AC3-B9DA-B83D37E935D4}" dt="2022-09-27T02:28:16.337" v="12" actId="165"/>
          <ac:grpSpMkLst>
            <pc:docMk/>
            <pc:sldMk cId="59950957" sldId="276"/>
            <ac:grpSpMk id="7" creationId="{60F62D9C-B087-48F9-A9AF-54302424B39F}"/>
          </ac:grpSpMkLst>
        </pc:grpChg>
        <pc:grpChg chg="mod topLvl">
          <ac:chgData name="Zi yi Zhang (Chinasoft Shanghai)" userId="889434de-a257-482e-b37a-310609d597e0" providerId="ADAL" clId="{5367205E-484B-4AC3-B9DA-B83D37E935D4}" dt="2022-09-27T02:28:16.337" v="12" actId="165"/>
          <ac:grpSpMkLst>
            <pc:docMk/>
            <pc:sldMk cId="59950957" sldId="276"/>
            <ac:grpSpMk id="8" creationId="{38B32E90-9134-4748-98E7-6AC4DAEAFB22}"/>
          </ac:grpSpMkLst>
        </pc:grpChg>
        <pc:grpChg chg="mod topLvl">
          <ac:chgData name="Zi yi Zhang (Chinasoft Shanghai)" userId="889434de-a257-482e-b37a-310609d597e0" providerId="ADAL" clId="{5367205E-484B-4AC3-B9DA-B83D37E935D4}" dt="2022-09-27T02:28:16.337" v="12" actId="165"/>
          <ac:grpSpMkLst>
            <pc:docMk/>
            <pc:sldMk cId="59950957" sldId="276"/>
            <ac:grpSpMk id="9" creationId="{AF4276B5-11B3-4E0E-8705-4A59433DE80B}"/>
          </ac:grpSpMkLst>
        </pc:grpChg>
        <pc:grpChg chg="mod topLvl">
          <ac:chgData name="Zi yi Zhang (Chinasoft Shanghai)" userId="889434de-a257-482e-b37a-310609d597e0" providerId="ADAL" clId="{5367205E-484B-4AC3-B9DA-B83D37E935D4}" dt="2022-09-27T02:28:16.337" v="12" actId="165"/>
          <ac:grpSpMkLst>
            <pc:docMk/>
            <pc:sldMk cId="59950957" sldId="276"/>
            <ac:grpSpMk id="10" creationId="{513E0D57-FF3A-4E0C-B139-F23968F592FC}"/>
          </ac:grpSpMkLst>
        </pc:grpChg>
      </pc:sldChg>
      <pc:sldChg chg="delSp modSp mod">
        <pc:chgData name="Zi yi Zhang (Chinasoft Shanghai)" userId="889434de-a257-482e-b37a-310609d597e0" providerId="ADAL" clId="{5367205E-484B-4AC3-B9DA-B83D37E935D4}" dt="2022-09-27T02:31:13.476" v="1741" actId="947"/>
        <pc:sldMkLst>
          <pc:docMk/>
          <pc:sldMk cId="3081331650" sldId="277"/>
        </pc:sldMkLst>
        <pc:spChg chg="mod">
          <ac:chgData name="Zi yi Zhang (Chinasoft Shanghai)" userId="889434de-a257-482e-b37a-310609d597e0" providerId="ADAL" clId="{5367205E-484B-4AC3-B9DA-B83D37E935D4}" dt="2022-09-27T02:31:13.151" v="1657" actId="947"/>
          <ac:spMkLst>
            <pc:docMk/>
            <pc:sldMk cId="3081331650" sldId="277"/>
            <ac:spMk id="2" creationId="{00000000-0000-0000-0000-000000000000}"/>
          </ac:spMkLst>
        </pc:spChg>
        <pc:spChg chg="mod">
          <ac:chgData name="Zi yi Zhang (Chinasoft Shanghai)" userId="889434de-a257-482e-b37a-310609d597e0" providerId="ADAL" clId="{5367205E-484B-4AC3-B9DA-B83D37E935D4}" dt="2022-09-27T02:31:13.467" v="1736" actId="947"/>
          <ac:spMkLst>
            <pc:docMk/>
            <pc:sldMk cId="3081331650" sldId="277"/>
            <ac:spMk id="3" creationId="{00000000-0000-0000-0000-000000000000}"/>
          </ac:spMkLst>
        </pc:spChg>
        <pc:spChg chg="mod">
          <ac:chgData name="Zi yi Zhang (Chinasoft Shanghai)" userId="889434de-a257-482e-b37a-310609d597e0" providerId="ADAL" clId="{5367205E-484B-4AC3-B9DA-B83D37E935D4}" dt="2022-09-27T02:31:13.462" v="1732" actId="947"/>
          <ac:spMkLst>
            <pc:docMk/>
            <pc:sldMk cId="3081331650" sldId="277"/>
            <ac:spMk id="4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455" v="1729" actId="947"/>
          <ac:spMkLst>
            <pc:docMk/>
            <pc:sldMk cId="3081331650" sldId="277"/>
            <ac:spMk id="6" creationId="{043AB2E2-323A-4E84-B9C1-F2ED1E853B7E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473" v="1739" actId="947"/>
          <ac:spMkLst>
            <pc:docMk/>
            <pc:sldMk cId="3081331650" sldId="277"/>
            <ac:spMk id="7" creationId="{043AB2E2-323A-4E84-B9C1-F2ED1E853B7E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398" v="1703" actId="947"/>
          <ac:spMkLst>
            <pc:docMk/>
            <pc:sldMk cId="3081331650" sldId="277"/>
            <ac:spMk id="8" creationId="{043AB2E2-323A-4E84-B9C1-F2ED1E853B7E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460" v="1731" actId="947"/>
          <ac:spMkLst>
            <pc:docMk/>
            <pc:sldMk cId="3081331650" sldId="277"/>
            <ac:spMk id="9" creationId="{043AB2E2-323A-4E84-B9C1-F2ED1E853B7E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413" v="1710" actId="947"/>
          <ac:spMkLst>
            <pc:docMk/>
            <pc:sldMk cId="3081331650" sldId="277"/>
            <ac:spMk id="10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451" v="1728" actId="947"/>
          <ac:spMkLst>
            <pc:docMk/>
            <pc:sldMk cId="3081331650" sldId="277"/>
            <ac:spMk id="11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476" v="1741" actId="947"/>
          <ac:spMkLst>
            <pc:docMk/>
            <pc:sldMk cId="3081331650" sldId="277"/>
            <ac:spMk id="12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437" v="1721" actId="947"/>
          <ac:spMkLst>
            <pc:docMk/>
            <pc:sldMk cId="3081331650" sldId="277"/>
            <ac:spMk id="13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466" v="1735" actId="947"/>
          <ac:spMkLst>
            <pc:docMk/>
            <pc:sldMk cId="3081331650" sldId="277"/>
            <ac:spMk id="14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475" v="1740" actId="947"/>
          <ac:spMkLst>
            <pc:docMk/>
            <pc:sldMk cId="3081331650" sldId="277"/>
            <ac:spMk id="15" creationId="{DC6E2E27-5DA5-40CB-93C5-96DE140CE15C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471" v="1738" actId="947"/>
          <ac:spMkLst>
            <pc:docMk/>
            <pc:sldMk cId="3081331650" sldId="277"/>
            <ac:spMk id="16" creationId="{DC6E2E27-5DA5-40CB-93C5-96DE140CE15C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464" v="1734" actId="947"/>
          <ac:spMkLst>
            <pc:docMk/>
            <pc:sldMk cId="3081331650" sldId="277"/>
            <ac:spMk id="17" creationId="{DC6E2E27-5DA5-40CB-93C5-96DE140CE15C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159" v="1661" actId="947"/>
          <ac:spMkLst>
            <pc:docMk/>
            <pc:sldMk cId="3081331650" sldId="277"/>
            <ac:spMk id="18" creationId="{DC6E2E27-5DA5-40CB-93C5-96DE140CE15C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469" v="1737" actId="947"/>
          <ac:spMkLst>
            <pc:docMk/>
            <pc:sldMk cId="3081331650" sldId="277"/>
            <ac:spMk id="19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165" v="1665" actId="947"/>
          <ac:spMkLst>
            <pc:docMk/>
            <pc:sldMk cId="3081331650" sldId="277"/>
            <ac:spMk id="20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443" v="1724" actId="947"/>
          <ac:spMkLst>
            <pc:docMk/>
            <pc:sldMk cId="3081331650" sldId="277"/>
            <ac:spMk id="21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171" v="1669" actId="947"/>
          <ac:spMkLst>
            <pc:docMk/>
            <pc:sldMk cId="3081331650" sldId="277"/>
            <ac:spMk id="22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445" v="1725" actId="947"/>
          <ac:spMkLst>
            <pc:docMk/>
            <pc:sldMk cId="3081331650" sldId="277"/>
            <ac:spMk id="23" creationId="{043AB2E2-323A-4E84-B9C1-F2ED1E853B7E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181" v="1673" actId="947"/>
          <ac:spMkLst>
            <pc:docMk/>
            <pc:sldMk cId="3081331650" sldId="277"/>
            <ac:spMk id="24" creationId="{043AB2E2-323A-4E84-B9C1-F2ED1E853B7E}"/>
          </ac:spMkLst>
        </pc:spChg>
        <pc:grpChg chg="del">
          <ac:chgData name="Zi yi Zhang (Chinasoft Shanghai)" userId="889434de-a257-482e-b37a-310609d597e0" providerId="ADAL" clId="{5367205E-484B-4AC3-B9DA-B83D37E935D4}" dt="2022-09-27T02:28:21.559" v="14" actId="165"/>
          <ac:grpSpMkLst>
            <pc:docMk/>
            <pc:sldMk cId="3081331650" sldId="277"/>
            <ac:grpSpMk id="5" creationId="{00000000-0000-0000-0000-000000000000}"/>
          </ac:grpSpMkLst>
        </pc:grpChg>
      </pc:sldChg>
      <pc:sldChg chg="delSp modSp mod">
        <pc:chgData name="Zi yi Zhang (Chinasoft Shanghai)" userId="889434de-a257-482e-b37a-310609d597e0" providerId="ADAL" clId="{5367205E-484B-4AC3-B9DA-B83D37E935D4}" dt="2022-09-27T02:31:13.928" v="1897" actId="947"/>
        <pc:sldMkLst>
          <pc:docMk/>
          <pc:sldMk cId="2213167917" sldId="279"/>
        </pc:sldMkLst>
        <pc:spChg chg="mod">
          <ac:chgData name="Zi yi Zhang (Chinasoft Shanghai)" userId="889434de-a257-482e-b37a-310609d597e0" providerId="ADAL" clId="{5367205E-484B-4AC3-B9DA-B83D37E935D4}" dt="2022-09-27T02:31:13.561" v="1757" actId="947"/>
          <ac:spMkLst>
            <pc:docMk/>
            <pc:sldMk cId="2213167917" sldId="279"/>
            <ac:spMk id="2" creationId="{00000000-0000-0000-0000-000000000000}"/>
          </ac:spMkLst>
        </pc:spChg>
        <pc:spChg chg="mod">
          <ac:chgData name="Zi yi Zhang (Chinasoft Shanghai)" userId="889434de-a257-482e-b37a-310609d597e0" providerId="ADAL" clId="{5367205E-484B-4AC3-B9DA-B83D37E935D4}" dt="2022-09-27T02:31:13.924" v="1894" actId="947"/>
          <ac:spMkLst>
            <pc:docMk/>
            <pc:sldMk cId="2213167917" sldId="279"/>
            <ac:spMk id="3" creationId="{00000000-0000-0000-0000-000000000000}"/>
          </ac:spMkLst>
        </pc:spChg>
        <pc:spChg chg="mod">
          <ac:chgData name="Zi yi Zhang (Chinasoft Shanghai)" userId="889434de-a257-482e-b37a-310609d597e0" providerId="ADAL" clId="{5367205E-484B-4AC3-B9DA-B83D37E935D4}" dt="2022-09-27T02:31:13.567" v="1761" actId="947"/>
          <ac:spMkLst>
            <pc:docMk/>
            <pc:sldMk cId="2213167917" sldId="279"/>
            <ac:spMk id="4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925" v="1895" actId="947"/>
          <ac:spMkLst>
            <pc:docMk/>
            <pc:sldMk cId="2213167917" sldId="279"/>
            <ac:spMk id="8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666" v="1825" actId="947"/>
          <ac:spMkLst>
            <pc:docMk/>
            <pc:sldMk cId="2213167917" sldId="279"/>
            <ac:spMk id="19" creationId="{921D2456-A6A6-43F5-AD86-0A010D24A2F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882" v="1870"/>
          <ac:spMkLst>
            <pc:docMk/>
            <pc:sldMk cId="2213167917" sldId="279"/>
            <ac:spMk id="20" creationId="{F8E07573-A8E5-42F7-B445-E2E8E3B47ABD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884" v="1871" actId="947"/>
          <ac:spMkLst>
            <pc:docMk/>
            <pc:sldMk cId="2213167917" sldId="279"/>
            <ac:spMk id="21" creationId="{921D2456-A6A6-43F5-AD86-0A010D24A2F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654" v="1821"/>
          <ac:spMkLst>
            <pc:docMk/>
            <pc:sldMk cId="2213167917" sldId="279"/>
            <ac:spMk id="22" creationId="{F8E07573-A8E5-42F7-B445-E2E8E3B47ABD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649" v="1817" actId="947"/>
          <ac:spMkLst>
            <pc:docMk/>
            <pc:sldMk cId="2213167917" sldId="279"/>
            <ac:spMk id="23" creationId="{921D2456-A6A6-43F5-AD86-0A010D24A2F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919" v="1891"/>
          <ac:spMkLst>
            <pc:docMk/>
            <pc:sldMk cId="2213167917" sldId="279"/>
            <ac:spMk id="24" creationId="{F8E07573-A8E5-42F7-B445-E2E8E3B47ABD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928" v="1897" actId="947"/>
          <ac:spMkLst>
            <pc:docMk/>
            <pc:sldMk cId="2213167917" sldId="279"/>
            <ac:spMk id="25" creationId="{921D2456-A6A6-43F5-AD86-0A010D24A2F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642" v="1813"/>
          <ac:spMkLst>
            <pc:docMk/>
            <pc:sldMk cId="2213167917" sldId="279"/>
            <ac:spMk id="26" creationId="{F8E07573-A8E5-42F7-B445-E2E8E3B47ABD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636" v="1809" actId="947"/>
          <ac:spMkLst>
            <pc:docMk/>
            <pc:sldMk cId="2213167917" sldId="279"/>
            <ac:spMk id="27" creationId="{921D2456-A6A6-43F5-AD86-0A010D24A2F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921" v="1892"/>
          <ac:spMkLst>
            <pc:docMk/>
            <pc:sldMk cId="2213167917" sldId="279"/>
            <ac:spMk id="28" creationId="{F8E07573-A8E5-42F7-B445-E2E8E3B47ABD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923" v="1893" actId="947"/>
          <ac:spMkLst>
            <pc:docMk/>
            <pc:sldMk cId="2213167917" sldId="279"/>
            <ac:spMk id="29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629" v="1805" actId="947"/>
          <ac:spMkLst>
            <pc:docMk/>
            <pc:sldMk cId="2213167917" sldId="279"/>
            <ac:spMk id="30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624" v="1801" actId="947"/>
          <ac:spMkLst>
            <pc:docMk/>
            <pc:sldMk cId="2213167917" sldId="279"/>
            <ac:spMk id="31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835" v="1846" actId="947"/>
          <ac:spMkLst>
            <pc:docMk/>
            <pc:sldMk cId="2213167917" sldId="279"/>
            <ac:spMk id="32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905" v="1883" actId="947"/>
          <ac:spMkLst>
            <pc:docMk/>
            <pc:sldMk cId="2213167917" sldId="279"/>
            <ac:spMk id="33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618" v="1797" actId="947"/>
          <ac:spMkLst>
            <pc:docMk/>
            <pc:sldMk cId="2213167917" sldId="279"/>
            <ac:spMk id="34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612" v="1793" actId="947"/>
          <ac:spMkLst>
            <pc:docMk/>
            <pc:sldMk cId="2213167917" sldId="279"/>
            <ac:spMk id="35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917" v="1890" actId="947"/>
          <ac:spMkLst>
            <pc:docMk/>
            <pc:sldMk cId="2213167917" sldId="279"/>
            <ac:spMk id="36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879" v="1868" actId="947"/>
          <ac:spMkLst>
            <pc:docMk/>
            <pc:sldMk cId="2213167917" sldId="279"/>
            <ac:spMk id="37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607" v="1789" actId="947"/>
          <ac:spMkLst>
            <pc:docMk/>
            <pc:sldMk cId="2213167917" sldId="279"/>
            <ac:spMk id="38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573" v="1765" actId="947"/>
          <ac:spMkLst>
            <pc:docMk/>
            <pc:sldMk cId="2213167917" sldId="279"/>
            <ac:spMk id="39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927" v="1896" actId="947"/>
          <ac:spMkLst>
            <pc:docMk/>
            <pc:sldMk cId="2213167917" sldId="279"/>
            <ac:spMk id="40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912" v="1887" actId="947"/>
          <ac:spMkLst>
            <pc:docMk/>
            <pc:sldMk cId="2213167917" sldId="279"/>
            <ac:spMk id="41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579" v="1769" actId="947"/>
          <ac:spMkLst>
            <pc:docMk/>
            <pc:sldMk cId="2213167917" sldId="279"/>
            <ac:spMk id="42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584" v="1773" actId="947"/>
          <ac:spMkLst>
            <pc:docMk/>
            <pc:sldMk cId="2213167917" sldId="279"/>
            <ac:spMk id="43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888" v="1874" actId="947"/>
          <ac:spMkLst>
            <pc:docMk/>
            <pc:sldMk cId="2213167917" sldId="279"/>
            <ac:spMk id="44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886" v="1872" actId="947"/>
          <ac:spMkLst>
            <pc:docMk/>
            <pc:sldMk cId="2213167917" sldId="279"/>
            <ac:spMk id="45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590" v="1777" actId="947"/>
          <ac:spMkLst>
            <pc:docMk/>
            <pc:sldMk cId="2213167917" sldId="279"/>
            <ac:spMk id="46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596" v="1781" actId="947"/>
          <ac:spMkLst>
            <pc:docMk/>
            <pc:sldMk cId="2213167917" sldId="279"/>
            <ac:spMk id="47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898" v="1880" actId="947"/>
          <ac:spMkLst>
            <pc:docMk/>
            <pc:sldMk cId="2213167917" sldId="279"/>
            <ac:spMk id="48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891" v="1876" actId="947"/>
          <ac:spMkLst>
            <pc:docMk/>
            <pc:sldMk cId="2213167917" sldId="279"/>
            <ac:spMk id="49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601" v="1785" actId="947"/>
          <ac:spMkLst>
            <pc:docMk/>
            <pc:sldMk cId="2213167917" sldId="279"/>
            <ac:spMk id="50" creationId="{00000000-0000-0000-0000-000000000000}"/>
          </ac:spMkLst>
        </pc:spChg>
        <pc:grpChg chg="del">
          <ac:chgData name="Zi yi Zhang (Chinasoft Shanghai)" userId="889434de-a257-482e-b37a-310609d597e0" providerId="ADAL" clId="{5367205E-484B-4AC3-B9DA-B83D37E935D4}" dt="2022-09-27T02:28:29.050" v="15" actId="165"/>
          <ac:grpSpMkLst>
            <pc:docMk/>
            <pc:sldMk cId="2213167917" sldId="279"/>
            <ac:grpSpMk id="5" creationId="{00000000-0000-0000-0000-000000000000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8:29.424" v="16" actId="165"/>
          <ac:grpSpMkLst>
            <pc:docMk/>
            <pc:sldMk cId="2213167917" sldId="279"/>
            <ac:grpSpMk id="6" creationId="{00000000-0000-0000-0000-000000000000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8:29.424" v="16" actId="165"/>
          <ac:grpSpMkLst>
            <pc:docMk/>
            <pc:sldMk cId="2213167917" sldId="279"/>
            <ac:grpSpMk id="9" creationId="{00000000-0000-0000-0000-000000000000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8:29.424" v="16" actId="165"/>
          <ac:grpSpMkLst>
            <pc:docMk/>
            <pc:sldMk cId="2213167917" sldId="279"/>
            <ac:grpSpMk id="10" creationId="{00000000-0000-0000-0000-000000000000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8:29.424" v="16" actId="165"/>
          <ac:grpSpMkLst>
            <pc:docMk/>
            <pc:sldMk cId="2213167917" sldId="279"/>
            <ac:grpSpMk id="11" creationId="{00000000-0000-0000-0000-000000000000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8:29.424" v="16" actId="165"/>
          <ac:grpSpMkLst>
            <pc:docMk/>
            <pc:sldMk cId="2213167917" sldId="279"/>
            <ac:grpSpMk id="12" creationId="{00000000-0000-0000-0000-000000000000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8:29.424" v="16" actId="165"/>
          <ac:grpSpMkLst>
            <pc:docMk/>
            <pc:sldMk cId="2213167917" sldId="279"/>
            <ac:grpSpMk id="13" creationId="{00000000-0000-0000-0000-000000000000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8:29.424" v="16" actId="165"/>
          <ac:grpSpMkLst>
            <pc:docMk/>
            <pc:sldMk cId="2213167917" sldId="279"/>
            <ac:grpSpMk id="14" creationId="{00000000-0000-0000-0000-000000000000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8:29.424" v="16" actId="165"/>
          <ac:grpSpMkLst>
            <pc:docMk/>
            <pc:sldMk cId="2213167917" sldId="279"/>
            <ac:grpSpMk id="15" creationId="{00000000-0000-0000-0000-000000000000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8:29.424" v="16" actId="165"/>
          <ac:grpSpMkLst>
            <pc:docMk/>
            <pc:sldMk cId="2213167917" sldId="279"/>
            <ac:grpSpMk id="16" creationId="{00000000-0000-0000-0000-000000000000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8:29.424" v="16" actId="165"/>
          <ac:grpSpMkLst>
            <pc:docMk/>
            <pc:sldMk cId="2213167917" sldId="279"/>
            <ac:grpSpMk id="17" creationId="{00000000-0000-0000-0000-000000000000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8:29.424" v="16" actId="165"/>
          <ac:grpSpMkLst>
            <pc:docMk/>
            <pc:sldMk cId="2213167917" sldId="279"/>
            <ac:grpSpMk id="18" creationId="{00000000-0000-0000-0000-000000000000}"/>
          </ac:grpSpMkLst>
        </pc:grpChg>
        <pc:cxnChg chg="mod topLvl">
          <ac:chgData name="Zi yi Zhang (Chinasoft Shanghai)" userId="889434de-a257-482e-b37a-310609d597e0" providerId="ADAL" clId="{5367205E-484B-4AC3-B9DA-B83D37E935D4}" dt="2022-09-27T02:28:29.050" v="15" actId="165"/>
          <ac:cxnSpMkLst>
            <pc:docMk/>
            <pc:sldMk cId="2213167917" sldId="279"/>
            <ac:cxnSpMk id="7" creationId="{00000000-0000-0000-0000-000000000000}"/>
          </ac:cxnSpMkLst>
        </pc:cxnChg>
      </pc:sldChg>
      <pc:sldChg chg="delSp modSp mod">
        <pc:chgData name="Zi yi Zhang (Chinasoft Shanghai)" userId="889434de-a257-482e-b37a-310609d597e0" providerId="ADAL" clId="{5367205E-484B-4AC3-B9DA-B83D37E935D4}" dt="2022-09-27T02:31:14.256" v="2029"/>
        <pc:sldMkLst>
          <pc:docMk/>
          <pc:sldMk cId="3869009985" sldId="280"/>
        </pc:sldMkLst>
        <pc:spChg chg="mod">
          <ac:chgData name="Zi yi Zhang (Chinasoft Shanghai)" userId="889434de-a257-482e-b37a-310609d597e0" providerId="ADAL" clId="{5367205E-484B-4AC3-B9DA-B83D37E935D4}" dt="2022-09-27T02:31:13.940" v="1901" actId="947"/>
          <ac:spMkLst>
            <pc:docMk/>
            <pc:sldMk cId="3869009985" sldId="280"/>
            <ac:spMk id="2" creationId="{00000000-0000-0000-0000-000000000000}"/>
          </ac:spMkLst>
        </pc:spChg>
        <pc:spChg chg="mod">
          <ac:chgData name="Zi yi Zhang (Chinasoft Shanghai)" userId="889434de-a257-482e-b37a-310609d597e0" providerId="ADAL" clId="{5367205E-484B-4AC3-B9DA-B83D37E935D4}" dt="2022-09-27T02:31:14.251" v="2025" actId="947"/>
          <ac:spMkLst>
            <pc:docMk/>
            <pc:sldMk cId="3869009985" sldId="280"/>
            <ac:spMk id="3" creationId="{00000000-0000-0000-0000-000000000000}"/>
          </ac:spMkLst>
        </pc:spChg>
        <pc:spChg chg="mod">
          <ac:chgData name="Zi yi Zhang (Chinasoft Shanghai)" userId="889434de-a257-482e-b37a-310609d597e0" providerId="ADAL" clId="{5367205E-484B-4AC3-B9DA-B83D37E935D4}" dt="2022-09-27T02:31:14.218" v="2004" actId="947"/>
          <ac:spMkLst>
            <pc:docMk/>
            <pc:sldMk cId="3869009985" sldId="280"/>
            <ac:spMk id="4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009" v="1953"/>
          <ac:spMkLst>
            <pc:docMk/>
            <pc:sldMk cId="3869009985" sldId="280"/>
            <ac:spMk id="9" creationId="{E632F477-E3A9-47DC-9B17-2FF72B06E79D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013" v="1957"/>
          <ac:spMkLst>
            <pc:docMk/>
            <pc:sldMk cId="3869009985" sldId="280"/>
            <ac:spMk id="10" creationId="{6BAC2652-93D3-460E-A1C2-A301031A0DD3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256" v="2029"/>
          <ac:spMkLst>
            <pc:docMk/>
            <pc:sldMk cId="3869009985" sldId="280"/>
            <ac:spMk id="11" creationId="{E632F477-E3A9-47DC-9B17-2FF72B06E79D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004" v="1949"/>
          <ac:spMkLst>
            <pc:docMk/>
            <pc:sldMk cId="3869009985" sldId="280"/>
            <ac:spMk id="12" creationId="{E632F477-E3A9-47DC-9B17-2FF72B06E79D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255" v="2028"/>
          <ac:spMkLst>
            <pc:docMk/>
            <pc:sldMk cId="3869009985" sldId="280"/>
            <ac:spMk id="13" creationId="{6BAC2652-93D3-460E-A1C2-A301031A0DD3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179" v="1982"/>
          <ac:spMkLst>
            <pc:docMk/>
            <pc:sldMk cId="3869009985" sldId="280"/>
            <ac:spMk id="14" creationId="{E632F477-E3A9-47DC-9B17-2FF72B06E79D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235" v="2014" actId="947"/>
          <ac:spMkLst>
            <pc:docMk/>
            <pc:sldMk cId="3869009985" sldId="280"/>
            <ac:spMk id="15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252" v="2026" actId="947"/>
          <ac:spMkLst>
            <pc:docMk/>
            <pc:sldMk cId="3869009985" sldId="280"/>
            <ac:spMk id="16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249" v="2024" actId="947"/>
          <ac:spMkLst>
            <pc:docMk/>
            <pc:sldMk cId="3869009985" sldId="280"/>
            <ac:spMk id="17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945" v="1905" actId="947"/>
          <ac:spMkLst>
            <pc:docMk/>
            <pc:sldMk cId="3869009985" sldId="280"/>
            <ac:spMk id="18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950" v="1909" actId="947"/>
          <ac:spMkLst>
            <pc:docMk/>
            <pc:sldMk cId="3869009985" sldId="280"/>
            <ac:spMk id="19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242" v="2019" actId="947"/>
          <ac:spMkLst>
            <pc:docMk/>
            <pc:sldMk cId="3869009985" sldId="280"/>
            <ac:spMk id="20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210" v="2000" actId="947"/>
          <ac:spMkLst>
            <pc:docMk/>
            <pc:sldMk cId="3869009985" sldId="280"/>
            <ac:spMk id="21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956" v="1913" actId="947"/>
          <ac:spMkLst>
            <pc:docMk/>
            <pc:sldMk cId="3869009985" sldId="280"/>
            <ac:spMk id="22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961" v="1917" actId="947"/>
          <ac:spMkLst>
            <pc:docMk/>
            <pc:sldMk cId="3869009985" sldId="280"/>
            <ac:spMk id="23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245" v="2021" actId="947"/>
          <ac:spMkLst>
            <pc:docMk/>
            <pc:sldMk cId="3869009985" sldId="280"/>
            <ac:spMk id="24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234" v="2013" actId="947"/>
          <ac:spMkLst>
            <pc:docMk/>
            <pc:sldMk cId="3869009985" sldId="280"/>
            <ac:spMk id="25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966" v="1921" actId="947"/>
          <ac:spMkLst>
            <pc:docMk/>
            <pc:sldMk cId="3869009985" sldId="280"/>
            <ac:spMk id="26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971" v="1925" actId="947"/>
          <ac:spMkLst>
            <pc:docMk/>
            <pc:sldMk cId="3869009985" sldId="280"/>
            <ac:spMk id="27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253" v="2027" actId="947"/>
          <ac:spMkLst>
            <pc:docMk/>
            <pc:sldMk cId="3869009985" sldId="280"/>
            <ac:spMk id="28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233" v="2012" actId="947"/>
          <ac:spMkLst>
            <pc:docMk/>
            <pc:sldMk cId="3869009985" sldId="280"/>
            <ac:spMk id="29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978" v="1929" actId="947"/>
          <ac:spMkLst>
            <pc:docMk/>
            <pc:sldMk cId="3869009985" sldId="280"/>
            <ac:spMk id="30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983" v="1933" actId="947"/>
          <ac:spMkLst>
            <pc:docMk/>
            <pc:sldMk cId="3869009985" sldId="280"/>
            <ac:spMk id="31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229" v="2009" actId="947"/>
          <ac:spMkLst>
            <pc:docMk/>
            <pc:sldMk cId="3869009985" sldId="280"/>
            <ac:spMk id="32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243" v="2020" actId="947"/>
          <ac:spMkLst>
            <pc:docMk/>
            <pc:sldMk cId="3869009985" sldId="280"/>
            <ac:spMk id="33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988" v="1937" actId="947"/>
          <ac:spMkLst>
            <pc:docMk/>
            <pc:sldMk cId="3869009985" sldId="280"/>
            <ac:spMk id="34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994" v="1941" actId="947"/>
          <ac:spMkLst>
            <pc:docMk/>
            <pc:sldMk cId="3869009985" sldId="280"/>
            <ac:spMk id="35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199" v="1994" actId="947"/>
          <ac:spMkLst>
            <pc:docMk/>
            <pc:sldMk cId="3869009985" sldId="280"/>
            <ac:spMk id="36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246" v="2022" actId="947"/>
          <ac:spMkLst>
            <pc:docMk/>
            <pc:sldMk cId="3869009985" sldId="280"/>
            <ac:spMk id="37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3.999" v="1945" actId="947"/>
          <ac:spMkLst>
            <pc:docMk/>
            <pc:sldMk cId="3869009985" sldId="280"/>
            <ac:spMk id="38" creationId="{00000000-0000-0000-0000-000000000000}"/>
          </ac:spMkLst>
        </pc:spChg>
        <pc:grpChg chg="del">
          <ac:chgData name="Zi yi Zhang (Chinasoft Shanghai)" userId="889434de-a257-482e-b37a-310609d597e0" providerId="ADAL" clId="{5367205E-484B-4AC3-B9DA-B83D37E935D4}" dt="2022-09-27T02:28:32.673" v="17" actId="165"/>
          <ac:grpSpMkLst>
            <pc:docMk/>
            <pc:sldMk cId="3869009985" sldId="280"/>
            <ac:grpSpMk id="5" creationId="{00000000-0000-0000-0000-000000000000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8:33.762" v="18" actId="165"/>
          <ac:grpSpMkLst>
            <pc:docMk/>
            <pc:sldMk cId="3869009985" sldId="280"/>
            <ac:grpSpMk id="6" creationId="{00000000-0000-0000-0000-000000000000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8:33.762" v="18" actId="165"/>
          <ac:grpSpMkLst>
            <pc:docMk/>
            <pc:sldMk cId="3869009985" sldId="280"/>
            <ac:grpSpMk id="7" creationId="{00000000-0000-0000-0000-000000000000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8:33.762" v="18" actId="165"/>
          <ac:grpSpMkLst>
            <pc:docMk/>
            <pc:sldMk cId="3869009985" sldId="280"/>
            <ac:grpSpMk id="8" creationId="{00000000-0000-0000-0000-000000000000}"/>
          </ac:grpSpMkLst>
        </pc:grpChg>
      </pc:sldChg>
      <pc:sldChg chg="delSp modSp mod">
        <pc:chgData name="Zi yi Zhang (Chinasoft Shanghai)" userId="889434de-a257-482e-b37a-310609d597e0" providerId="ADAL" clId="{5367205E-484B-4AC3-B9DA-B83D37E935D4}" dt="2022-09-27T02:31:14.557" v="2125" actId="947"/>
        <pc:sldMkLst>
          <pc:docMk/>
          <pc:sldMk cId="889338545" sldId="281"/>
        </pc:sldMkLst>
        <pc:spChg chg="mod">
          <ac:chgData name="Zi yi Zhang (Chinasoft Shanghai)" userId="889434de-a257-482e-b37a-310609d597e0" providerId="ADAL" clId="{5367205E-484B-4AC3-B9DA-B83D37E935D4}" dt="2022-09-27T02:31:14.267" v="2033" actId="947"/>
          <ac:spMkLst>
            <pc:docMk/>
            <pc:sldMk cId="889338545" sldId="281"/>
            <ac:spMk id="2" creationId="{00000000-0000-0000-0000-000000000000}"/>
          </ac:spMkLst>
        </pc:spChg>
        <pc:spChg chg="mod">
          <ac:chgData name="Zi yi Zhang (Chinasoft Shanghai)" userId="889434de-a257-482e-b37a-310609d597e0" providerId="ADAL" clId="{5367205E-484B-4AC3-B9DA-B83D37E935D4}" dt="2022-09-27T02:31:14.513" v="2103" actId="947"/>
          <ac:spMkLst>
            <pc:docMk/>
            <pc:sldMk cId="889338545" sldId="281"/>
            <ac:spMk id="3" creationId="{00000000-0000-0000-0000-000000000000}"/>
          </ac:spMkLst>
        </pc:spChg>
        <pc:spChg chg="mod">
          <ac:chgData name="Zi yi Zhang (Chinasoft Shanghai)" userId="889434de-a257-482e-b37a-310609d597e0" providerId="ADAL" clId="{5367205E-484B-4AC3-B9DA-B83D37E935D4}" dt="2022-09-27T02:31:14.524" v="2108" actId="947"/>
          <ac:spMkLst>
            <pc:docMk/>
            <pc:sldMk cId="889338545" sldId="281"/>
            <ac:spMk id="4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557" v="2125" actId="947"/>
          <ac:spMkLst>
            <pc:docMk/>
            <pc:sldMk cId="889338545" sldId="281"/>
            <ac:spMk id="6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537" v="2114" actId="947"/>
          <ac:spMkLst>
            <pc:docMk/>
            <pc:sldMk cId="889338545" sldId="281"/>
            <ac:spMk id="7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523" v="2107" actId="947"/>
          <ac:spMkLst>
            <pc:docMk/>
            <pc:sldMk cId="889338545" sldId="281"/>
            <ac:spMk id="8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469" v="2080" actId="947"/>
          <ac:spMkLst>
            <pc:docMk/>
            <pc:sldMk cId="889338545" sldId="281"/>
            <ac:spMk id="9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510" v="2101" actId="947"/>
          <ac:spMkLst>
            <pc:docMk/>
            <pc:sldMk cId="889338545" sldId="281"/>
            <ac:spMk id="10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488" v="2090" actId="947"/>
          <ac:spMkLst>
            <pc:docMk/>
            <pc:sldMk cId="889338545" sldId="281"/>
            <ac:spMk id="11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534" v="2112" actId="947"/>
          <ac:spMkLst>
            <pc:docMk/>
            <pc:sldMk cId="889338545" sldId="281"/>
            <ac:spMk id="12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294" v="2049" actId="947"/>
          <ac:spMkLst>
            <pc:docMk/>
            <pc:sldMk cId="889338545" sldId="281"/>
            <ac:spMk id="18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543" v="2117" actId="947"/>
          <ac:spMkLst>
            <pc:docMk/>
            <pc:sldMk cId="889338545" sldId="281"/>
            <ac:spMk id="19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554" v="2123" actId="947"/>
          <ac:spMkLst>
            <pc:docMk/>
            <pc:sldMk cId="889338545" sldId="281"/>
            <ac:spMk id="20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299" v="2053" actId="947"/>
          <ac:spMkLst>
            <pc:docMk/>
            <pc:sldMk cId="889338545" sldId="281"/>
            <ac:spMk id="21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556" v="2124" actId="947"/>
          <ac:spMkLst>
            <pc:docMk/>
            <pc:sldMk cId="889338545" sldId="281"/>
            <ac:spMk id="22" creationId="{921D2456-A6A6-43F5-AD86-0A010D24A2F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535" v="2113"/>
          <ac:spMkLst>
            <pc:docMk/>
            <pc:sldMk cId="889338545" sldId="281"/>
            <ac:spMk id="23" creationId="{F8E07573-A8E5-42F7-B445-E2E8E3B47ABD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490" v="2091" actId="947"/>
          <ac:spMkLst>
            <pc:docMk/>
            <pc:sldMk cId="889338545" sldId="281"/>
            <ac:spMk id="24" creationId="{921D2456-A6A6-43F5-AD86-0A010D24A2F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288" v="2045"/>
          <ac:spMkLst>
            <pc:docMk/>
            <pc:sldMk cId="889338545" sldId="281"/>
            <ac:spMk id="25" creationId="{F8E07573-A8E5-42F7-B445-E2E8E3B47ABD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283" v="2041" actId="947"/>
          <ac:spMkLst>
            <pc:docMk/>
            <pc:sldMk cId="889338545" sldId="281"/>
            <ac:spMk id="26" creationId="{921D2456-A6A6-43F5-AD86-0A010D24A2F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541" v="2116"/>
          <ac:spMkLst>
            <pc:docMk/>
            <pc:sldMk cId="889338545" sldId="281"/>
            <ac:spMk id="27" creationId="{F8E07573-A8E5-42F7-B445-E2E8E3B47ABD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539" v="2115" actId="947"/>
          <ac:spMkLst>
            <pc:docMk/>
            <pc:sldMk cId="889338545" sldId="281"/>
            <ac:spMk id="28" creationId="{921D2456-A6A6-43F5-AD86-0A010D24A2F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545" v="2118"/>
          <ac:spMkLst>
            <pc:docMk/>
            <pc:sldMk cId="889338545" sldId="281"/>
            <ac:spMk id="29" creationId="{F8E07573-A8E5-42F7-B445-E2E8E3B47ABD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547" v="2119" actId="947"/>
          <ac:spMkLst>
            <pc:docMk/>
            <pc:sldMk cId="889338545" sldId="281"/>
            <ac:spMk id="30" creationId="{64DC2847-DA63-4AF3-B015-B0D0DC7F9B4A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276" v="2037" actId="947"/>
          <ac:spMkLst>
            <pc:docMk/>
            <pc:sldMk cId="889338545" sldId="281"/>
            <ac:spMk id="31" creationId="{23E9BBEA-FB54-47C3-BA28-CE85931B8740}"/>
          </ac:spMkLst>
        </pc:spChg>
        <pc:grpChg chg="del">
          <ac:chgData name="Zi yi Zhang (Chinasoft Shanghai)" userId="889434de-a257-482e-b37a-310609d597e0" providerId="ADAL" clId="{5367205E-484B-4AC3-B9DA-B83D37E935D4}" dt="2022-09-27T02:28:36.725" v="19" actId="165"/>
          <ac:grpSpMkLst>
            <pc:docMk/>
            <pc:sldMk cId="889338545" sldId="281"/>
            <ac:grpSpMk id="5" creationId="{00000000-0000-0000-0000-000000000000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8:37.288" v="20" actId="165"/>
          <ac:grpSpMkLst>
            <pc:docMk/>
            <pc:sldMk cId="889338545" sldId="281"/>
            <ac:grpSpMk id="13" creationId="{00000000-0000-0000-0000-000000000000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8:37.288" v="20" actId="165"/>
          <ac:grpSpMkLst>
            <pc:docMk/>
            <pc:sldMk cId="889338545" sldId="281"/>
            <ac:grpSpMk id="14" creationId="{00000000-0000-0000-0000-000000000000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8:37.288" v="20" actId="165"/>
          <ac:grpSpMkLst>
            <pc:docMk/>
            <pc:sldMk cId="889338545" sldId="281"/>
            <ac:grpSpMk id="15" creationId="{00000000-0000-0000-0000-000000000000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8:37.288" v="20" actId="165"/>
          <ac:grpSpMkLst>
            <pc:docMk/>
            <pc:sldMk cId="889338545" sldId="281"/>
            <ac:grpSpMk id="16" creationId="{00000000-0000-0000-0000-000000000000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8:37.288" v="20" actId="165"/>
          <ac:grpSpMkLst>
            <pc:docMk/>
            <pc:sldMk cId="889338545" sldId="281"/>
            <ac:grpSpMk id="17" creationId="{00000000-0000-0000-0000-000000000000}"/>
          </ac:grpSpMkLst>
        </pc:grpChg>
      </pc:sldChg>
      <pc:sldChg chg="delSp modSp mod">
        <pc:chgData name="Zi yi Zhang (Chinasoft Shanghai)" userId="889434de-a257-482e-b37a-310609d597e0" providerId="ADAL" clId="{5367205E-484B-4AC3-B9DA-B83D37E935D4}" dt="2022-09-27T02:31:14.949" v="2249" actId="947"/>
        <pc:sldMkLst>
          <pc:docMk/>
          <pc:sldMk cId="2545445926" sldId="282"/>
        </pc:sldMkLst>
        <pc:spChg chg="mod">
          <ac:chgData name="Zi yi Zhang (Chinasoft Shanghai)" userId="889434de-a257-482e-b37a-310609d597e0" providerId="ADAL" clId="{5367205E-484B-4AC3-B9DA-B83D37E935D4}" dt="2022-09-27T02:31:14.642" v="2141" actId="947"/>
          <ac:spMkLst>
            <pc:docMk/>
            <pc:sldMk cId="2545445926" sldId="282"/>
            <ac:spMk id="2" creationId="{00000000-0000-0000-0000-000000000000}"/>
          </ac:spMkLst>
        </pc:spChg>
        <pc:spChg chg="mod">
          <ac:chgData name="Zi yi Zhang (Chinasoft Shanghai)" userId="889434de-a257-482e-b37a-310609d597e0" providerId="ADAL" clId="{5367205E-484B-4AC3-B9DA-B83D37E935D4}" dt="2022-09-27T02:31:14.945" v="2246" actId="947"/>
          <ac:spMkLst>
            <pc:docMk/>
            <pc:sldMk cId="2545445926" sldId="282"/>
            <ac:spMk id="3" creationId="{00000000-0000-0000-0000-000000000000}"/>
          </ac:spMkLst>
        </pc:spChg>
        <pc:spChg chg="mod">
          <ac:chgData name="Zi yi Zhang (Chinasoft Shanghai)" userId="889434de-a257-482e-b37a-310609d597e0" providerId="ADAL" clId="{5367205E-484B-4AC3-B9DA-B83D37E935D4}" dt="2022-09-27T02:31:14.906" v="2224" actId="947"/>
          <ac:spMkLst>
            <pc:docMk/>
            <pc:sldMk cId="2545445926" sldId="282"/>
            <ac:spMk id="4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648" v="2145" actId="947"/>
          <ac:spMkLst>
            <pc:docMk/>
            <pc:sldMk cId="2545445926" sldId="282"/>
            <ac:spMk id="6" creationId="{6F166C77-D283-44A9-B897-FFD7D8F90782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930" v="2237" actId="947"/>
          <ac:spMkLst>
            <pc:docMk/>
            <pc:sldMk cId="2545445926" sldId="282"/>
            <ac:spMk id="7" creationId="{EDA47C0C-6809-43E4-822C-0C12AE630B3F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939" v="2242" actId="947"/>
          <ac:spMkLst>
            <pc:docMk/>
            <pc:sldMk cId="2545445926" sldId="282"/>
            <ac:spMk id="8" creationId="{15AE3561-6D60-4F7D-8958-800A0D3C8BFD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946" v="2247" actId="947"/>
          <ac:spMkLst>
            <pc:docMk/>
            <pc:sldMk cId="2545445926" sldId="282"/>
            <ac:spMk id="9" creationId="{FC22D58E-7EB3-49AB-8DC8-C348C689C368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654" v="2149" actId="947"/>
          <ac:spMkLst>
            <pc:docMk/>
            <pc:sldMk cId="2545445926" sldId="282"/>
            <ac:spMk id="10" creationId="{62F14B3B-41CB-45B8-9C51-C4FD541617EF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713" v="2185" actId="947"/>
          <ac:spMkLst>
            <pc:docMk/>
            <pc:sldMk cId="2545445926" sldId="282"/>
            <ac:spMk id="23" creationId="{1F2048AE-C84A-483A-8CBA-7FEE005877D2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927" v="2235" actId="947"/>
          <ac:spMkLst>
            <pc:docMk/>
            <pc:sldMk cId="2545445926" sldId="282"/>
            <ac:spMk id="24" creationId="{5E0F1FA0-AD33-4ADC-8077-45CD291E8DFB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932" v="2238" actId="947"/>
          <ac:spMkLst>
            <pc:docMk/>
            <pc:sldMk cId="2545445926" sldId="282"/>
            <ac:spMk id="25" creationId="{7A3BC531-72E1-4ACF-903A-E0396D05F836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706" v="2181" actId="947"/>
          <ac:spMkLst>
            <pc:docMk/>
            <pc:sldMk cId="2545445926" sldId="282"/>
            <ac:spMk id="26" creationId="{A59F3AFC-2E37-4207-9BB9-43DFB93C54E9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698" v="2177" actId="947"/>
          <ac:spMkLst>
            <pc:docMk/>
            <pc:sldMk cId="2545445926" sldId="282"/>
            <ac:spMk id="27" creationId="{7AADBFB6-1026-4222-8B8F-DEBF6114163D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924" v="2233" actId="947"/>
          <ac:spMkLst>
            <pc:docMk/>
            <pc:sldMk cId="2545445926" sldId="282"/>
            <ac:spMk id="28" creationId="{72291D6D-8441-4E7E-A9CB-A6E686CFE4B3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929" v="2236" actId="947"/>
          <ac:spMkLst>
            <pc:docMk/>
            <pc:sldMk cId="2545445926" sldId="282"/>
            <ac:spMk id="29" creationId="{A9001D6D-4485-4F59-80CC-567F78DAC31C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690" v="2173" actId="947"/>
          <ac:spMkLst>
            <pc:docMk/>
            <pc:sldMk cId="2545445926" sldId="282"/>
            <ac:spMk id="30" creationId="{FDB3C48B-865E-40E4-BFAE-4C1583D8B894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677" v="2165" actId="947"/>
          <ac:spMkLst>
            <pc:docMk/>
            <pc:sldMk cId="2545445926" sldId="282"/>
            <ac:spMk id="31" creationId="{E56F7D3C-0396-4ED5-A666-7A7D179DD57E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683" v="2169" actId="947"/>
          <ac:spMkLst>
            <pc:docMk/>
            <pc:sldMk cId="2545445926" sldId="282"/>
            <ac:spMk id="32" creationId="{E4B75FAB-6C9A-4519-AA73-0AF3521B442D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900" v="2221" actId="947"/>
          <ac:spMkLst>
            <pc:docMk/>
            <pc:sldMk cId="2545445926" sldId="282"/>
            <ac:spMk id="33" creationId="{FFB0CF79-B740-41B8-A86F-ED0E83668D1F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671" v="2161" actId="947"/>
          <ac:spMkLst>
            <pc:docMk/>
            <pc:sldMk cId="2545445926" sldId="282"/>
            <ac:spMk id="34" creationId="{60375E96-0BAF-403A-BEB5-D5E7EC9C367D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949" v="2249" actId="947"/>
          <ac:spMkLst>
            <pc:docMk/>
            <pc:sldMk cId="2545445926" sldId="282"/>
            <ac:spMk id="35" creationId="{2ACF0BFE-FDFC-4596-AD74-F352D22775B4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948" v="2248" actId="947"/>
          <ac:spMkLst>
            <pc:docMk/>
            <pc:sldMk cId="2545445926" sldId="282"/>
            <ac:spMk id="36" creationId="{FD644A78-2131-4A8F-9FAA-EC9F3DB37745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909" v="2226" actId="947"/>
          <ac:spMkLst>
            <pc:docMk/>
            <pc:sldMk cId="2545445926" sldId="282"/>
            <ac:spMk id="37" creationId="{5B1A0C33-9998-4755-B955-3318EF10D22B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943" v="2245" actId="947"/>
          <ac:spMkLst>
            <pc:docMk/>
            <pc:sldMk cId="2545445926" sldId="282"/>
            <ac:spMk id="38" creationId="{BD49BCE3-027D-4F8F-9E7B-9FAC15B9CE7B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666" v="2157" actId="947"/>
          <ac:spMkLst>
            <pc:docMk/>
            <pc:sldMk cId="2545445926" sldId="282"/>
            <ac:spMk id="39" creationId="{72C62DEE-23A2-4808-96B7-57D85F3C7656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942" v="2244" actId="947"/>
          <ac:spMkLst>
            <pc:docMk/>
            <pc:sldMk cId="2545445926" sldId="282"/>
            <ac:spMk id="40" creationId="{08A4C2A4-5E22-452E-949B-6906FFD3ABF9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922" v="2232" actId="947"/>
          <ac:spMkLst>
            <pc:docMk/>
            <pc:sldMk cId="2545445926" sldId="282"/>
            <ac:spMk id="41" creationId="{413E929E-66C6-492E-AD8A-9327A7C1E057}"/>
          </ac:spMkLst>
        </pc:spChg>
        <pc:spChg chg="mod topLvl">
          <ac:chgData name="Zi yi Zhang (Chinasoft Shanghai)" userId="889434de-a257-482e-b37a-310609d597e0" providerId="ADAL" clId="{5367205E-484B-4AC3-B9DA-B83D37E935D4}" dt="2022-09-27T02:31:14.660" v="2153" actId="947"/>
          <ac:spMkLst>
            <pc:docMk/>
            <pc:sldMk cId="2545445926" sldId="282"/>
            <ac:spMk id="42" creationId="{B37AEE44-40CC-4CF8-BCC6-95487A069FAA}"/>
          </ac:spMkLst>
        </pc:spChg>
        <pc:grpChg chg="del">
          <ac:chgData name="Zi yi Zhang (Chinasoft Shanghai)" userId="889434de-a257-482e-b37a-310609d597e0" providerId="ADAL" clId="{5367205E-484B-4AC3-B9DA-B83D37E935D4}" dt="2022-09-27T02:28:41.650" v="21" actId="165"/>
          <ac:grpSpMkLst>
            <pc:docMk/>
            <pc:sldMk cId="2545445926" sldId="282"/>
            <ac:grpSpMk id="5" creationId="{00000000-0000-0000-0000-000000000000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8:42.448" v="22" actId="165"/>
          <ac:grpSpMkLst>
            <pc:docMk/>
            <pc:sldMk cId="2545445926" sldId="282"/>
            <ac:grpSpMk id="12" creationId="{929203EE-44D7-4484-8CC4-4BF63EBD82B8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8:42.448" v="22" actId="165"/>
          <ac:grpSpMkLst>
            <pc:docMk/>
            <pc:sldMk cId="2545445926" sldId="282"/>
            <ac:grpSpMk id="13" creationId="{1BCC7A8A-A0F4-48F8-AE5E-8D69FEA0C940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8:42.448" v="22" actId="165"/>
          <ac:grpSpMkLst>
            <pc:docMk/>
            <pc:sldMk cId="2545445926" sldId="282"/>
            <ac:grpSpMk id="14" creationId="{90890C27-DC50-4789-9718-51ACE92E7121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8:42.448" v="22" actId="165"/>
          <ac:grpSpMkLst>
            <pc:docMk/>
            <pc:sldMk cId="2545445926" sldId="282"/>
            <ac:grpSpMk id="15" creationId="{0B65BE51-8512-4B1E-B836-DC2F3D1DCF1A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8:42.448" v="22" actId="165"/>
          <ac:grpSpMkLst>
            <pc:docMk/>
            <pc:sldMk cId="2545445926" sldId="282"/>
            <ac:grpSpMk id="16" creationId="{971C30C6-8B71-4EC6-AD5D-A758991FD4C8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8:42.448" v="22" actId="165"/>
          <ac:grpSpMkLst>
            <pc:docMk/>
            <pc:sldMk cId="2545445926" sldId="282"/>
            <ac:grpSpMk id="17" creationId="{6F199A06-A16E-4A0F-9B45-8F6D4FCB45AC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8:42.448" v="22" actId="165"/>
          <ac:grpSpMkLst>
            <pc:docMk/>
            <pc:sldMk cId="2545445926" sldId="282"/>
            <ac:grpSpMk id="18" creationId="{73B186C9-A559-4968-A880-F21956835922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8:42.448" v="22" actId="165"/>
          <ac:grpSpMkLst>
            <pc:docMk/>
            <pc:sldMk cId="2545445926" sldId="282"/>
            <ac:grpSpMk id="19" creationId="{1245036C-B0E6-47DC-82C1-9149144AF68F}"/>
          </ac:grpSpMkLst>
        </pc:grpChg>
        <pc:cxnChg chg="mod topLvl">
          <ac:chgData name="Zi yi Zhang (Chinasoft Shanghai)" userId="889434de-a257-482e-b37a-310609d597e0" providerId="ADAL" clId="{5367205E-484B-4AC3-B9DA-B83D37E935D4}" dt="2022-09-27T02:28:41.650" v="21" actId="165"/>
          <ac:cxnSpMkLst>
            <pc:docMk/>
            <pc:sldMk cId="2545445926" sldId="282"/>
            <ac:cxnSpMk id="11" creationId="{59EC5DDC-1852-4AC9-A44B-81FA0451849F}"/>
          </ac:cxnSpMkLst>
        </pc:cxnChg>
        <pc:cxnChg chg="mod topLvl">
          <ac:chgData name="Zi yi Zhang (Chinasoft Shanghai)" userId="889434de-a257-482e-b37a-310609d597e0" providerId="ADAL" clId="{5367205E-484B-4AC3-B9DA-B83D37E935D4}" dt="2022-09-27T02:28:41.650" v="21" actId="165"/>
          <ac:cxnSpMkLst>
            <pc:docMk/>
            <pc:sldMk cId="2545445926" sldId="282"/>
            <ac:cxnSpMk id="20" creationId="{DF8AF777-F140-428C-A10B-974587AF15E2}"/>
          </ac:cxnSpMkLst>
        </pc:cxnChg>
        <pc:cxnChg chg="mod topLvl">
          <ac:chgData name="Zi yi Zhang (Chinasoft Shanghai)" userId="889434de-a257-482e-b37a-310609d597e0" providerId="ADAL" clId="{5367205E-484B-4AC3-B9DA-B83D37E935D4}" dt="2022-09-27T02:28:41.650" v="21" actId="165"/>
          <ac:cxnSpMkLst>
            <pc:docMk/>
            <pc:sldMk cId="2545445926" sldId="282"/>
            <ac:cxnSpMk id="21" creationId="{505717B2-CC1A-482F-91D7-2C2027716DE5}"/>
          </ac:cxnSpMkLst>
        </pc:cxnChg>
        <pc:cxnChg chg="mod topLvl">
          <ac:chgData name="Zi yi Zhang (Chinasoft Shanghai)" userId="889434de-a257-482e-b37a-310609d597e0" providerId="ADAL" clId="{5367205E-484B-4AC3-B9DA-B83D37E935D4}" dt="2022-09-27T02:28:41.650" v="21" actId="165"/>
          <ac:cxnSpMkLst>
            <pc:docMk/>
            <pc:sldMk cId="2545445926" sldId="282"/>
            <ac:cxnSpMk id="22" creationId="{910D0256-40DB-4F2B-BB28-2745E873B018}"/>
          </ac:cxnSpMkLst>
        </pc:cxnChg>
      </pc:sldChg>
      <pc:sldChg chg="delSp modSp mod">
        <pc:chgData name="Zi yi Zhang (Chinasoft Shanghai)" userId="889434de-a257-482e-b37a-310609d597e0" providerId="ADAL" clId="{5367205E-484B-4AC3-B9DA-B83D37E935D4}" dt="2022-09-27T02:31:15.287" v="2321" actId="947"/>
        <pc:sldMkLst>
          <pc:docMk/>
          <pc:sldMk cId="14585395" sldId="283"/>
        </pc:sldMkLst>
        <pc:spChg chg="mod">
          <ac:chgData name="Zi yi Zhang (Chinasoft Shanghai)" userId="889434de-a257-482e-b37a-310609d597e0" providerId="ADAL" clId="{5367205E-484B-4AC3-B9DA-B83D37E935D4}" dt="2022-09-27T02:31:14.972" v="2253" actId="947"/>
          <ac:spMkLst>
            <pc:docMk/>
            <pc:sldMk cId="14585395" sldId="283"/>
            <ac:spMk id="2" creationId="{00000000-0000-0000-0000-000000000000}"/>
          </ac:spMkLst>
        </pc:spChg>
        <pc:spChg chg="mod">
          <ac:chgData name="Zi yi Zhang (Chinasoft Shanghai)" userId="889434de-a257-482e-b37a-310609d597e0" providerId="ADAL" clId="{5367205E-484B-4AC3-B9DA-B83D37E935D4}" dt="2022-09-27T02:31:15.274" v="2315" actId="947"/>
          <ac:spMkLst>
            <pc:docMk/>
            <pc:sldMk cId="14585395" sldId="283"/>
            <ac:spMk id="3" creationId="{00000000-0000-0000-0000-000000000000}"/>
          </ac:spMkLst>
        </pc:spChg>
        <pc:spChg chg="mod">
          <ac:chgData name="Zi yi Zhang (Chinasoft Shanghai)" userId="889434de-a257-482e-b37a-310609d597e0" providerId="ADAL" clId="{5367205E-484B-4AC3-B9DA-B83D37E935D4}" dt="2022-09-27T02:31:15.247" v="2304" actId="947"/>
          <ac:spMkLst>
            <pc:docMk/>
            <pc:sldMk cId="14585395" sldId="283"/>
            <ac:spMk id="4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5.283" v="2319" actId="947"/>
          <ac:spMkLst>
            <pc:docMk/>
            <pc:sldMk cId="14585395" sldId="283"/>
            <ac:spMk id="9" creationId="{D4E9D73F-6702-47B7-A6D5-98A455DBE7BC}"/>
          </ac:spMkLst>
        </pc:spChg>
        <pc:spChg chg="mod topLvl">
          <ac:chgData name="Zi yi Zhang (Chinasoft Shanghai)" userId="889434de-a257-482e-b37a-310609d597e0" providerId="ADAL" clId="{5367205E-484B-4AC3-B9DA-B83D37E935D4}" dt="2022-09-27T02:31:15.235" v="2298" actId="947"/>
          <ac:spMkLst>
            <pc:docMk/>
            <pc:sldMk cId="14585395" sldId="283"/>
            <ac:spMk id="10" creationId="{D4E9D73F-6702-47B7-A6D5-98A455DBE7BC}"/>
          </ac:spMkLst>
        </pc:spChg>
        <pc:spChg chg="mod topLvl">
          <ac:chgData name="Zi yi Zhang (Chinasoft Shanghai)" userId="889434de-a257-482e-b37a-310609d597e0" providerId="ADAL" clId="{5367205E-484B-4AC3-B9DA-B83D37E935D4}" dt="2022-09-27T02:31:15.252" v="2306" actId="947"/>
          <ac:spMkLst>
            <pc:docMk/>
            <pc:sldMk cId="14585395" sldId="283"/>
            <ac:spMk id="15" creationId="{D4E9D73F-6702-47B7-A6D5-98A455DBE7BC}"/>
          </ac:spMkLst>
        </pc:spChg>
        <pc:spChg chg="mod topLvl">
          <ac:chgData name="Zi yi Zhang (Chinasoft Shanghai)" userId="889434de-a257-482e-b37a-310609d597e0" providerId="ADAL" clId="{5367205E-484B-4AC3-B9DA-B83D37E935D4}" dt="2022-09-27T02:31:15.228" v="2296" actId="947"/>
          <ac:spMkLst>
            <pc:docMk/>
            <pc:sldMk cId="14585395" sldId="283"/>
            <ac:spMk id="16" creationId="{D4E9D73F-6702-47B7-A6D5-98A455DBE7BC}"/>
          </ac:spMkLst>
        </pc:spChg>
        <pc:spChg chg="mod topLvl">
          <ac:chgData name="Zi yi Zhang (Chinasoft Shanghai)" userId="889434de-a257-482e-b37a-310609d597e0" providerId="ADAL" clId="{5367205E-484B-4AC3-B9DA-B83D37E935D4}" dt="2022-09-27T02:31:15.263" v="2310" actId="947"/>
          <ac:spMkLst>
            <pc:docMk/>
            <pc:sldMk cId="14585395" sldId="283"/>
            <ac:spMk id="17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5.280" v="2317" actId="947"/>
          <ac:spMkLst>
            <pc:docMk/>
            <pc:sldMk cId="14585395" sldId="283"/>
            <ac:spMk id="18" creationId="{D4E9D73F-6702-47B7-A6D5-98A455DBE7BC}"/>
          </ac:spMkLst>
        </pc:spChg>
        <pc:spChg chg="mod topLvl">
          <ac:chgData name="Zi yi Zhang (Chinasoft Shanghai)" userId="889434de-a257-482e-b37a-310609d597e0" providerId="ADAL" clId="{5367205E-484B-4AC3-B9DA-B83D37E935D4}" dt="2022-09-27T02:31:15.250" v="2305" actId="947"/>
          <ac:spMkLst>
            <pc:docMk/>
            <pc:sldMk cId="14585395" sldId="283"/>
            <ac:spMk id="19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5.259" v="2308" actId="947"/>
          <ac:spMkLst>
            <pc:docMk/>
            <pc:sldMk cId="14585395" sldId="283"/>
            <ac:spMk id="20" creationId="{D4E9D73F-6702-47B7-A6D5-98A455DBE7BC}"/>
          </ac:spMkLst>
        </pc:spChg>
        <pc:spChg chg="mod topLvl">
          <ac:chgData name="Zi yi Zhang (Chinasoft Shanghai)" userId="889434de-a257-482e-b37a-310609d597e0" providerId="ADAL" clId="{5367205E-484B-4AC3-B9DA-B83D37E935D4}" dt="2022-09-27T02:31:15.267" v="2312" actId="947"/>
          <ac:spMkLst>
            <pc:docMk/>
            <pc:sldMk cId="14585395" sldId="283"/>
            <ac:spMk id="21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5.240" v="2301" actId="947"/>
          <ac:spMkLst>
            <pc:docMk/>
            <pc:sldMk cId="14585395" sldId="283"/>
            <ac:spMk id="22" creationId="{D4E9D73F-6702-47B7-A6D5-98A455DBE7BC}"/>
          </ac:spMkLst>
        </pc:spChg>
        <pc:spChg chg="mod topLvl">
          <ac:chgData name="Zi yi Zhang (Chinasoft Shanghai)" userId="889434de-a257-482e-b37a-310609d597e0" providerId="ADAL" clId="{5367205E-484B-4AC3-B9DA-B83D37E935D4}" dt="2022-09-27T02:31:15.287" v="2321" actId="947"/>
          <ac:spMkLst>
            <pc:docMk/>
            <pc:sldMk cId="14585395" sldId="283"/>
            <ac:spMk id="23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5.286" v="2320" actId="947"/>
          <ac:spMkLst>
            <pc:docMk/>
            <pc:sldMk cId="14585395" sldId="283"/>
            <ac:spMk id="24" creationId="{043AB2E2-323A-4E84-B9C1-F2ED1E853B7E}"/>
          </ac:spMkLst>
        </pc:spChg>
        <pc:spChg chg="mod topLvl">
          <ac:chgData name="Zi yi Zhang (Chinasoft Shanghai)" userId="889434de-a257-482e-b37a-310609d597e0" providerId="ADAL" clId="{5367205E-484B-4AC3-B9DA-B83D37E935D4}" dt="2022-09-27T02:31:15.279" v="2316" actId="947"/>
          <ac:spMkLst>
            <pc:docMk/>
            <pc:sldMk cId="14585395" sldId="283"/>
            <ac:spMk id="25" creationId="{DC6E2E27-5DA5-40CB-93C5-96DE140CE15C}"/>
          </ac:spMkLst>
        </pc:spChg>
        <pc:spChg chg="mod topLvl">
          <ac:chgData name="Zi yi Zhang (Chinasoft Shanghai)" userId="889434de-a257-482e-b37a-310609d597e0" providerId="ADAL" clId="{5367205E-484B-4AC3-B9DA-B83D37E935D4}" dt="2022-09-27T02:31:15.219" v="2291" actId="947"/>
          <ac:spMkLst>
            <pc:docMk/>
            <pc:sldMk cId="14585395" sldId="283"/>
            <ac:spMk id="26" creationId="{043AB2E2-323A-4E84-B9C1-F2ED1E853B7E}"/>
          </ac:spMkLst>
        </pc:spChg>
        <pc:spChg chg="mod topLvl">
          <ac:chgData name="Zi yi Zhang (Chinasoft Shanghai)" userId="889434de-a257-482e-b37a-310609d597e0" providerId="ADAL" clId="{5367205E-484B-4AC3-B9DA-B83D37E935D4}" dt="2022-09-27T02:31:15.282" v="2318" actId="947"/>
          <ac:spMkLst>
            <pc:docMk/>
            <pc:sldMk cId="14585395" sldId="283"/>
            <ac:spMk id="27" creationId="{DC6E2E27-5DA5-40CB-93C5-96DE140CE15C}"/>
          </ac:spMkLst>
        </pc:spChg>
        <pc:grpChg chg="del">
          <ac:chgData name="Zi yi Zhang (Chinasoft Shanghai)" userId="889434de-a257-482e-b37a-310609d597e0" providerId="ADAL" clId="{5367205E-484B-4AC3-B9DA-B83D37E935D4}" dt="2022-09-27T02:28:45.698" v="23" actId="165"/>
          <ac:grpSpMkLst>
            <pc:docMk/>
            <pc:sldMk cId="14585395" sldId="283"/>
            <ac:grpSpMk id="5" creationId="{00000000-0000-0000-0000-000000000000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8:47.561" v="24" actId="165"/>
          <ac:grpSpMkLst>
            <pc:docMk/>
            <pc:sldMk cId="14585395" sldId="283"/>
            <ac:grpSpMk id="13" creationId="{00000000-0000-0000-0000-000000000000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8:47.561" v="24" actId="165"/>
          <ac:grpSpMkLst>
            <pc:docMk/>
            <pc:sldMk cId="14585395" sldId="283"/>
            <ac:grpSpMk id="14" creationId="{00000000-0000-0000-0000-000000000000}"/>
          </ac:grpSpMkLst>
        </pc:grpChg>
        <pc:cxnChg chg="mod topLvl">
          <ac:chgData name="Zi yi Zhang (Chinasoft Shanghai)" userId="889434de-a257-482e-b37a-310609d597e0" providerId="ADAL" clId="{5367205E-484B-4AC3-B9DA-B83D37E935D4}" dt="2022-09-27T02:28:45.698" v="23" actId="165"/>
          <ac:cxnSpMkLst>
            <pc:docMk/>
            <pc:sldMk cId="14585395" sldId="283"/>
            <ac:cxnSpMk id="6" creationId="{00000000-0000-0000-0000-000000000000}"/>
          </ac:cxnSpMkLst>
        </pc:cxnChg>
        <pc:cxnChg chg="mod topLvl">
          <ac:chgData name="Zi yi Zhang (Chinasoft Shanghai)" userId="889434de-a257-482e-b37a-310609d597e0" providerId="ADAL" clId="{5367205E-484B-4AC3-B9DA-B83D37E935D4}" dt="2022-09-27T02:28:45.698" v="23" actId="165"/>
          <ac:cxnSpMkLst>
            <pc:docMk/>
            <pc:sldMk cId="14585395" sldId="283"/>
            <ac:cxnSpMk id="7" creationId="{00000000-0000-0000-0000-000000000000}"/>
          </ac:cxnSpMkLst>
        </pc:cxnChg>
        <pc:cxnChg chg="mod topLvl">
          <ac:chgData name="Zi yi Zhang (Chinasoft Shanghai)" userId="889434de-a257-482e-b37a-310609d597e0" providerId="ADAL" clId="{5367205E-484B-4AC3-B9DA-B83D37E935D4}" dt="2022-09-27T02:28:45.698" v="23" actId="165"/>
          <ac:cxnSpMkLst>
            <pc:docMk/>
            <pc:sldMk cId="14585395" sldId="283"/>
            <ac:cxnSpMk id="8" creationId="{00000000-0000-0000-0000-000000000000}"/>
          </ac:cxnSpMkLst>
        </pc:cxnChg>
        <pc:cxnChg chg="mod topLvl">
          <ac:chgData name="Zi yi Zhang (Chinasoft Shanghai)" userId="889434de-a257-482e-b37a-310609d597e0" providerId="ADAL" clId="{5367205E-484B-4AC3-B9DA-B83D37E935D4}" dt="2022-09-27T02:28:45.698" v="23" actId="165"/>
          <ac:cxnSpMkLst>
            <pc:docMk/>
            <pc:sldMk cId="14585395" sldId="283"/>
            <ac:cxnSpMk id="11" creationId="{00000000-0000-0000-0000-000000000000}"/>
          </ac:cxnSpMkLst>
        </pc:cxnChg>
        <pc:cxnChg chg="mod topLvl">
          <ac:chgData name="Zi yi Zhang (Chinasoft Shanghai)" userId="889434de-a257-482e-b37a-310609d597e0" providerId="ADAL" clId="{5367205E-484B-4AC3-B9DA-B83D37E935D4}" dt="2022-09-27T02:28:45.698" v="23" actId="165"/>
          <ac:cxnSpMkLst>
            <pc:docMk/>
            <pc:sldMk cId="14585395" sldId="283"/>
            <ac:cxnSpMk id="12" creationId="{00000000-0000-0000-0000-000000000000}"/>
          </ac:cxnSpMkLst>
        </pc:cxnChg>
      </pc:sldChg>
      <pc:sldChg chg="delSp modSp mod">
        <pc:chgData name="Zi yi Zhang (Chinasoft Shanghai)" userId="889434de-a257-482e-b37a-310609d597e0" providerId="ADAL" clId="{5367205E-484B-4AC3-B9DA-B83D37E935D4}" dt="2022-09-27T02:31:15.741" v="2453" actId="947"/>
        <pc:sldMkLst>
          <pc:docMk/>
          <pc:sldMk cId="1842870086" sldId="284"/>
        </pc:sldMkLst>
        <pc:spChg chg="mod">
          <ac:chgData name="Zi yi Zhang (Chinasoft Shanghai)" userId="889434de-a257-482e-b37a-310609d597e0" providerId="ADAL" clId="{5367205E-484B-4AC3-B9DA-B83D37E935D4}" dt="2022-09-27T02:31:15.300" v="2325" actId="947"/>
          <ac:spMkLst>
            <pc:docMk/>
            <pc:sldMk cId="1842870086" sldId="284"/>
            <ac:spMk id="2" creationId="{00000000-0000-0000-0000-000000000000}"/>
          </ac:spMkLst>
        </pc:spChg>
        <pc:spChg chg="mod">
          <ac:chgData name="Zi yi Zhang (Chinasoft Shanghai)" userId="889434de-a257-482e-b37a-310609d597e0" providerId="ADAL" clId="{5367205E-484B-4AC3-B9DA-B83D37E935D4}" dt="2022-09-27T02:31:15.644" v="2393" actId="947"/>
          <ac:spMkLst>
            <pc:docMk/>
            <pc:sldMk cId="1842870086" sldId="284"/>
            <ac:spMk id="3" creationId="{00000000-0000-0000-0000-000000000000}"/>
          </ac:spMkLst>
        </pc:spChg>
        <pc:spChg chg="mod">
          <ac:chgData name="Zi yi Zhang (Chinasoft Shanghai)" userId="889434de-a257-482e-b37a-310609d597e0" providerId="ADAL" clId="{5367205E-484B-4AC3-B9DA-B83D37E935D4}" dt="2022-09-27T02:31:15.715" v="2436" actId="947"/>
          <ac:spMkLst>
            <pc:docMk/>
            <pc:sldMk cId="1842870086" sldId="284"/>
            <ac:spMk id="4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5.677" v="2415"/>
          <ac:spMkLst>
            <pc:docMk/>
            <pc:sldMk cId="1842870086" sldId="284"/>
            <ac:spMk id="9" creationId="{3F9B22AF-7850-4DE4-8966-1463A8FCD3BE}"/>
          </ac:spMkLst>
        </pc:spChg>
        <pc:spChg chg="mod topLvl">
          <ac:chgData name="Zi yi Zhang (Chinasoft Shanghai)" userId="889434de-a257-482e-b37a-310609d597e0" providerId="ADAL" clId="{5367205E-484B-4AC3-B9DA-B83D37E935D4}" dt="2022-09-27T02:31:15.740" v="2452" actId="947"/>
          <ac:spMkLst>
            <pc:docMk/>
            <pc:sldMk cId="1842870086" sldId="284"/>
            <ac:spMk id="10" creationId="{E8A6F94C-7525-43C5-B2D9-FD32630682F1}"/>
          </ac:spMkLst>
        </pc:spChg>
        <pc:spChg chg="mod topLvl">
          <ac:chgData name="Zi yi Zhang (Chinasoft Shanghai)" userId="889434de-a257-482e-b37a-310609d597e0" providerId="ADAL" clId="{5367205E-484B-4AC3-B9DA-B83D37E935D4}" dt="2022-09-27T02:31:15.630" v="2385" actId="947"/>
          <ac:spMkLst>
            <pc:docMk/>
            <pc:sldMk cId="1842870086" sldId="284"/>
            <ac:spMk id="11" creationId="{C7F94ACC-D4D3-490C-B943-E5AD5BF9C8AE}"/>
          </ac:spMkLst>
        </pc:spChg>
        <pc:spChg chg="mod topLvl">
          <ac:chgData name="Zi yi Zhang (Chinasoft Shanghai)" userId="889434de-a257-482e-b37a-310609d597e0" providerId="ADAL" clId="{5367205E-484B-4AC3-B9DA-B83D37E935D4}" dt="2022-09-27T02:31:15.724" v="2441"/>
          <ac:spMkLst>
            <pc:docMk/>
            <pc:sldMk cId="1842870086" sldId="284"/>
            <ac:spMk id="12" creationId="{F2B25C93-1780-4344-93B0-C1DC92243452}"/>
          </ac:spMkLst>
        </pc:spChg>
        <pc:spChg chg="mod topLvl">
          <ac:chgData name="Zi yi Zhang (Chinasoft Shanghai)" userId="889434de-a257-482e-b37a-310609d597e0" providerId="ADAL" clId="{5367205E-484B-4AC3-B9DA-B83D37E935D4}" dt="2022-09-27T02:31:15.666" v="2407"/>
          <ac:spMkLst>
            <pc:docMk/>
            <pc:sldMk cId="1842870086" sldId="284"/>
            <ac:spMk id="13" creationId="{7DD649F0-668C-4A47-ACD5-DF8618B76F18}"/>
          </ac:spMkLst>
        </pc:spChg>
        <pc:spChg chg="mod topLvl">
          <ac:chgData name="Zi yi Zhang (Chinasoft Shanghai)" userId="889434de-a257-482e-b37a-310609d597e0" providerId="ADAL" clId="{5367205E-484B-4AC3-B9DA-B83D37E935D4}" dt="2022-09-27T02:31:15.737" v="2450"/>
          <ac:spMkLst>
            <pc:docMk/>
            <pc:sldMk cId="1842870086" sldId="284"/>
            <ac:spMk id="14" creationId="{EDE9BA49-F6EB-4EB6-9E1C-E8484A5FC86D}"/>
          </ac:spMkLst>
        </pc:spChg>
        <pc:spChg chg="mod topLvl">
          <ac:chgData name="Zi yi Zhang (Chinasoft Shanghai)" userId="889434de-a257-482e-b37a-310609d597e0" providerId="ADAL" clId="{5367205E-484B-4AC3-B9DA-B83D37E935D4}" dt="2022-09-27T02:31:15.720" v="2439" actId="947"/>
          <ac:spMkLst>
            <pc:docMk/>
            <pc:sldMk cId="1842870086" sldId="284"/>
            <ac:spMk id="15" creationId="{AF4941B4-31B1-40B8-9B53-80BD6E1A9053}"/>
          </ac:spMkLst>
        </pc:spChg>
        <pc:spChg chg="mod topLvl">
          <ac:chgData name="Zi yi Zhang (Chinasoft Shanghai)" userId="889434de-a257-482e-b37a-310609d597e0" providerId="ADAL" clId="{5367205E-484B-4AC3-B9DA-B83D37E935D4}" dt="2022-09-27T02:31:15.694" v="2423" actId="947"/>
          <ac:spMkLst>
            <pc:docMk/>
            <pc:sldMk cId="1842870086" sldId="284"/>
            <ac:spMk id="16" creationId="{3EFF67B0-5E41-4165-8641-4B836C9861F7}"/>
          </ac:spMkLst>
        </pc:spChg>
        <pc:spChg chg="mod topLvl">
          <ac:chgData name="Zi yi Zhang (Chinasoft Shanghai)" userId="889434de-a257-482e-b37a-310609d597e0" providerId="ADAL" clId="{5367205E-484B-4AC3-B9DA-B83D37E935D4}" dt="2022-09-27T02:31:15.619" v="2378"/>
          <ac:spMkLst>
            <pc:docMk/>
            <pc:sldMk cId="1842870086" sldId="284"/>
            <ac:spMk id="17" creationId="{2AC7C4B6-064D-47C4-B857-31A17F49B3C1}"/>
          </ac:spMkLst>
        </pc:spChg>
        <pc:spChg chg="mod topLvl">
          <ac:chgData name="Zi yi Zhang (Chinasoft Shanghai)" userId="889434de-a257-482e-b37a-310609d597e0" providerId="ADAL" clId="{5367205E-484B-4AC3-B9DA-B83D37E935D4}" dt="2022-09-27T02:31:15.734" v="2448"/>
          <ac:spMkLst>
            <pc:docMk/>
            <pc:sldMk cId="1842870086" sldId="284"/>
            <ac:spMk id="18" creationId="{2E7D459D-D550-42D4-9964-874373E19B08}"/>
          </ac:spMkLst>
        </pc:spChg>
        <pc:spChg chg="mod topLvl">
          <ac:chgData name="Zi yi Zhang (Chinasoft Shanghai)" userId="889434de-a257-482e-b37a-310609d597e0" providerId="ADAL" clId="{5367205E-484B-4AC3-B9DA-B83D37E935D4}" dt="2022-09-27T02:31:15.626" v="2382" actId="947"/>
          <ac:spMkLst>
            <pc:docMk/>
            <pc:sldMk cId="1842870086" sldId="284"/>
            <ac:spMk id="19" creationId="{AE3B44C9-E786-4BAD-9A0F-FACC4EF9220C}"/>
          </ac:spMkLst>
        </pc:spChg>
        <pc:spChg chg="mod topLvl">
          <ac:chgData name="Zi yi Zhang (Chinasoft Shanghai)" userId="889434de-a257-482e-b37a-310609d597e0" providerId="ADAL" clId="{5367205E-484B-4AC3-B9DA-B83D37E935D4}" dt="2022-09-27T02:31:15.741" v="2453" actId="947"/>
          <ac:spMkLst>
            <pc:docMk/>
            <pc:sldMk cId="1842870086" sldId="284"/>
            <ac:spMk id="20" creationId="{15756984-08BA-47A3-91A4-17488AF8B38C}"/>
          </ac:spMkLst>
        </pc:spChg>
        <pc:spChg chg="mod topLvl">
          <ac:chgData name="Zi yi Zhang (Chinasoft Shanghai)" userId="889434de-a257-482e-b37a-310609d597e0" providerId="ADAL" clId="{5367205E-484B-4AC3-B9DA-B83D37E935D4}" dt="2022-09-27T02:31:15.722" v="2440" actId="947"/>
          <ac:spMkLst>
            <pc:docMk/>
            <pc:sldMk cId="1842870086" sldId="284"/>
            <ac:spMk id="21" creationId="{5B6E8340-5C54-42C9-AF95-047FF9223CEB}"/>
          </ac:spMkLst>
        </pc:spChg>
        <pc:spChg chg="mod topLvl">
          <ac:chgData name="Zi yi Zhang (Chinasoft Shanghai)" userId="889434de-a257-482e-b37a-310609d597e0" providerId="ADAL" clId="{5367205E-484B-4AC3-B9DA-B83D37E935D4}" dt="2022-09-27T02:31:15.659" v="2403" actId="947"/>
          <ac:spMkLst>
            <pc:docMk/>
            <pc:sldMk cId="1842870086" sldId="284"/>
            <ac:spMk id="22" creationId="{DCDA15D2-619E-4E7A-97B0-6450CCD0F684}"/>
          </ac:spMkLst>
        </pc:spChg>
        <pc:spChg chg="mod topLvl">
          <ac:chgData name="Zi yi Zhang (Chinasoft Shanghai)" userId="889434de-a257-482e-b37a-310609d597e0" providerId="ADAL" clId="{5367205E-484B-4AC3-B9DA-B83D37E935D4}" dt="2022-09-27T02:31:15.735" v="2449" actId="947"/>
          <ac:spMkLst>
            <pc:docMk/>
            <pc:sldMk cId="1842870086" sldId="284"/>
            <ac:spMk id="23" creationId="{109C3386-8363-48C1-9A9C-BC605F03319D}"/>
          </ac:spMkLst>
        </pc:spChg>
        <pc:spChg chg="mod topLvl">
          <ac:chgData name="Zi yi Zhang (Chinasoft Shanghai)" userId="889434de-a257-482e-b37a-310609d597e0" providerId="ADAL" clId="{5367205E-484B-4AC3-B9DA-B83D37E935D4}" dt="2022-09-27T02:31:15.561" v="2350" actId="947"/>
          <ac:spMkLst>
            <pc:docMk/>
            <pc:sldMk cId="1842870086" sldId="284"/>
            <ac:spMk id="24" creationId="{3DD0EA5E-5476-4072-8D68-BCCE4072EAE9}"/>
          </ac:spMkLst>
        </pc:spChg>
        <pc:spChg chg="mod topLvl">
          <ac:chgData name="Zi yi Zhang (Chinasoft Shanghai)" userId="889434de-a257-482e-b37a-310609d597e0" providerId="ADAL" clId="{5367205E-484B-4AC3-B9DA-B83D37E935D4}" dt="2022-09-27T02:31:15.700" v="2426" actId="947"/>
          <ac:spMkLst>
            <pc:docMk/>
            <pc:sldMk cId="1842870086" sldId="284"/>
            <ac:spMk id="25" creationId="{E33B7E42-0753-4981-A157-FCB18F70E148}"/>
          </ac:spMkLst>
        </pc:spChg>
        <pc:spChg chg="mod topLvl">
          <ac:chgData name="Zi yi Zhang (Chinasoft Shanghai)" userId="889434de-a257-482e-b37a-310609d597e0" providerId="ADAL" clId="{5367205E-484B-4AC3-B9DA-B83D37E935D4}" dt="2022-09-27T02:31:15.725" v="2442" actId="947"/>
          <ac:spMkLst>
            <pc:docMk/>
            <pc:sldMk cId="1842870086" sldId="284"/>
            <ac:spMk id="26" creationId="{2F1A5F14-1B76-4C5E-9FB7-09161C5846BC}"/>
          </ac:spMkLst>
        </pc:spChg>
        <pc:spChg chg="mod topLvl">
          <ac:chgData name="Zi yi Zhang (Chinasoft Shanghai)" userId="889434de-a257-482e-b37a-310609d597e0" providerId="ADAL" clId="{5367205E-484B-4AC3-B9DA-B83D37E935D4}" dt="2022-09-27T02:31:15.645" v="2394" actId="947"/>
          <ac:spMkLst>
            <pc:docMk/>
            <pc:sldMk cId="1842870086" sldId="284"/>
            <ac:spMk id="27" creationId="{F051F36B-7559-437A-ADFE-FF2548F98AB9}"/>
          </ac:spMkLst>
        </pc:spChg>
        <pc:spChg chg="mod topLvl">
          <ac:chgData name="Zi yi Zhang (Chinasoft Shanghai)" userId="889434de-a257-482e-b37a-310609d597e0" providerId="ADAL" clId="{5367205E-484B-4AC3-B9DA-B83D37E935D4}" dt="2022-09-27T02:31:15.738" v="2451" actId="947"/>
          <ac:spMkLst>
            <pc:docMk/>
            <pc:sldMk cId="1842870086" sldId="284"/>
            <ac:spMk id="28" creationId="{F2C52214-83F2-45D4-93DA-1A6980E0C8BC}"/>
          </ac:spMkLst>
        </pc:spChg>
        <pc:spChg chg="mod topLvl">
          <ac:chgData name="Zi yi Zhang (Chinasoft Shanghai)" userId="889434de-a257-482e-b37a-310609d597e0" providerId="ADAL" clId="{5367205E-484B-4AC3-B9DA-B83D37E935D4}" dt="2022-09-27T02:31:15.730" v="2445" actId="947"/>
          <ac:spMkLst>
            <pc:docMk/>
            <pc:sldMk cId="1842870086" sldId="284"/>
            <ac:spMk id="29" creationId="{38916C77-5D16-4D0D-9A6C-ED9458F65EBD}"/>
          </ac:spMkLst>
        </pc:spChg>
        <pc:spChg chg="mod topLvl">
          <ac:chgData name="Zi yi Zhang (Chinasoft Shanghai)" userId="889434de-a257-482e-b37a-310609d597e0" providerId="ADAL" clId="{5367205E-484B-4AC3-B9DA-B83D37E935D4}" dt="2022-09-27T02:31:15.713" v="2435" actId="947"/>
          <ac:spMkLst>
            <pc:docMk/>
            <pc:sldMk cId="1842870086" sldId="284"/>
            <ac:spMk id="30" creationId="{84815172-3FCE-468F-AA6D-D040E973BDBB}"/>
          </ac:spMkLst>
        </pc:spChg>
        <pc:spChg chg="mod topLvl">
          <ac:chgData name="Zi yi Zhang (Chinasoft Shanghai)" userId="889434de-a257-482e-b37a-310609d597e0" providerId="ADAL" clId="{5367205E-484B-4AC3-B9DA-B83D37E935D4}" dt="2022-09-27T02:31:15.635" v="2388" actId="947"/>
          <ac:spMkLst>
            <pc:docMk/>
            <pc:sldMk cId="1842870086" sldId="284"/>
            <ac:spMk id="31" creationId="{FFB720D0-D5D8-4B9A-9C94-BB66182E62E4}"/>
          </ac:spMkLst>
        </pc:spChg>
        <pc:spChg chg="mod topLvl">
          <ac:chgData name="Zi yi Zhang (Chinasoft Shanghai)" userId="889434de-a257-482e-b37a-310609d597e0" providerId="ADAL" clId="{5367205E-484B-4AC3-B9DA-B83D37E935D4}" dt="2022-09-27T02:31:15.642" v="2392" actId="947"/>
          <ac:spMkLst>
            <pc:docMk/>
            <pc:sldMk cId="1842870086" sldId="284"/>
            <ac:spMk id="32" creationId="{548E914F-25AC-4E69-931D-F8BC466CC33D}"/>
          </ac:spMkLst>
        </pc:spChg>
        <pc:spChg chg="mod topLvl">
          <ac:chgData name="Zi yi Zhang (Chinasoft Shanghai)" userId="889434de-a257-482e-b37a-310609d597e0" providerId="ADAL" clId="{5367205E-484B-4AC3-B9DA-B83D37E935D4}" dt="2022-09-27T02:31:15.718" v="2438" actId="947"/>
          <ac:spMkLst>
            <pc:docMk/>
            <pc:sldMk cId="1842870086" sldId="284"/>
            <ac:spMk id="33" creationId="{83D1CF9F-C6A1-428A-9FEC-2D68AC388179}"/>
          </ac:spMkLst>
        </pc:spChg>
        <pc:spChg chg="mod topLvl">
          <ac:chgData name="Zi yi Zhang (Chinasoft Shanghai)" userId="889434de-a257-482e-b37a-310609d597e0" providerId="ADAL" clId="{5367205E-484B-4AC3-B9DA-B83D37E935D4}" dt="2022-09-27T02:31:15.733" v="2447" actId="947"/>
          <ac:spMkLst>
            <pc:docMk/>
            <pc:sldMk cId="1842870086" sldId="284"/>
            <ac:spMk id="34" creationId="{6C8B3626-B755-4BB3-A4D2-A7C7B879F54A}"/>
          </ac:spMkLst>
        </pc:spChg>
        <pc:spChg chg="mod topLvl">
          <ac:chgData name="Zi yi Zhang (Chinasoft Shanghai)" userId="889434de-a257-482e-b37a-310609d597e0" providerId="ADAL" clId="{5367205E-484B-4AC3-B9DA-B83D37E935D4}" dt="2022-09-27T02:31:15.658" v="2402" actId="947"/>
          <ac:spMkLst>
            <pc:docMk/>
            <pc:sldMk cId="1842870086" sldId="284"/>
            <ac:spMk id="35" creationId="{94607387-DCED-4D84-AB07-5488C80C6564}"/>
          </ac:spMkLst>
        </pc:spChg>
        <pc:spChg chg="mod topLvl">
          <ac:chgData name="Zi yi Zhang (Chinasoft Shanghai)" userId="889434de-a257-482e-b37a-310609d597e0" providerId="ADAL" clId="{5367205E-484B-4AC3-B9DA-B83D37E935D4}" dt="2022-09-27T02:31:15.656" v="2401" actId="947"/>
          <ac:spMkLst>
            <pc:docMk/>
            <pc:sldMk cId="1842870086" sldId="284"/>
            <ac:spMk id="36" creationId="{E4D34D99-39D6-4D8A-9CBA-1D05F58ECA1A}"/>
          </ac:spMkLst>
        </pc:spChg>
        <pc:spChg chg="mod">
          <ac:chgData name="Zi yi Zhang (Chinasoft Shanghai)" userId="889434de-a257-482e-b37a-310609d597e0" providerId="ADAL" clId="{5367205E-484B-4AC3-B9DA-B83D37E935D4}" dt="2022-09-27T02:31:15.553" v="2348" actId="947"/>
          <ac:spMkLst>
            <pc:docMk/>
            <pc:sldMk cId="1842870086" sldId="284"/>
            <ac:spMk id="38" creationId="{71278C40-5894-4761-AB93-B0C3803F51DD}"/>
          </ac:spMkLst>
        </pc:spChg>
        <pc:spChg chg="mod">
          <ac:chgData name="Zi yi Zhang (Chinasoft Shanghai)" userId="889434de-a257-482e-b37a-310609d597e0" providerId="ADAL" clId="{5367205E-484B-4AC3-B9DA-B83D37E935D4}" dt="2022-09-27T02:31:15.727" v="2443" actId="947"/>
          <ac:spMkLst>
            <pc:docMk/>
            <pc:sldMk cId="1842870086" sldId="284"/>
            <ac:spMk id="39" creationId="{C13A2474-388B-4710-87A9-AD55E4F1B833}"/>
          </ac:spMkLst>
        </pc:spChg>
        <pc:grpChg chg="del">
          <ac:chgData name="Zi yi Zhang (Chinasoft Shanghai)" userId="889434de-a257-482e-b37a-310609d597e0" providerId="ADAL" clId="{5367205E-484B-4AC3-B9DA-B83D37E935D4}" dt="2022-09-27T02:28:50.670" v="25" actId="165"/>
          <ac:grpSpMkLst>
            <pc:docMk/>
            <pc:sldMk cId="1842870086" sldId="284"/>
            <ac:grpSpMk id="5" creationId="{00000000-0000-0000-0000-000000000000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8:51.172" v="26" actId="165"/>
          <ac:grpSpMkLst>
            <pc:docMk/>
            <pc:sldMk cId="1842870086" sldId="284"/>
            <ac:grpSpMk id="7" creationId="{228395B9-B986-4645-A31A-F6BB37138A79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8:51.172" v="26" actId="165"/>
          <ac:grpSpMkLst>
            <pc:docMk/>
            <pc:sldMk cId="1842870086" sldId="284"/>
            <ac:grpSpMk id="8" creationId="{18FFC131-B620-48CB-AAA2-7BC6F674301C}"/>
          </ac:grpSpMkLst>
        </pc:grpChg>
        <pc:grpChg chg="mod topLvl">
          <ac:chgData name="Zi yi Zhang (Chinasoft Shanghai)" userId="889434de-a257-482e-b37a-310609d597e0" providerId="ADAL" clId="{5367205E-484B-4AC3-B9DA-B83D37E935D4}" dt="2022-09-27T02:28:51.172" v="26" actId="165"/>
          <ac:grpSpMkLst>
            <pc:docMk/>
            <pc:sldMk cId="1842870086" sldId="284"/>
            <ac:grpSpMk id="37" creationId="{A15FAB79-C8B3-4224-AA5A-2E3AA28EFDE4}"/>
          </ac:grpSpMkLst>
        </pc:grpChg>
        <pc:cxnChg chg="mod topLvl">
          <ac:chgData name="Zi yi Zhang (Chinasoft Shanghai)" userId="889434de-a257-482e-b37a-310609d597e0" providerId="ADAL" clId="{5367205E-484B-4AC3-B9DA-B83D37E935D4}" dt="2022-09-27T02:28:50.670" v="25" actId="165"/>
          <ac:cxnSpMkLst>
            <pc:docMk/>
            <pc:sldMk cId="1842870086" sldId="284"/>
            <ac:cxnSpMk id="6" creationId="{260ED66B-0843-4A07-8420-5DE013C00DBF}"/>
          </ac:cxnSpMkLst>
        </pc:cxnChg>
      </pc:sldChg>
      <pc:sldChg chg="delSp modSp mod">
        <pc:chgData name="Zi yi Zhang (Chinasoft Shanghai)" userId="889434de-a257-482e-b37a-310609d597e0" providerId="ADAL" clId="{5367205E-484B-4AC3-B9DA-B83D37E935D4}" dt="2022-09-27T02:31:16.148" v="2553" actId="947"/>
        <pc:sldMkLst>
          <pc:docMk/>
          <pc:sldMk cId="1770302962" sldId="285"/>
        </pc:sldMkLst>
        <pc:spChg chg="mod">
          <ac:chgData name="Zi yi Zhang (Chinasoft Shanghai)" userId="889434de-a257-482e-b37a-310609d597e0" providerId="ADAL" clId="{5367205E-484B-4AC3-B9DA-B83D37E935D4}" dt="2022-09-27T02:31:15.822" v="2469" actId="947"/>
          <ac:spMkLst>
            <pc:docMk/>
            <pc:sldMk cId="1770302962" sldId="285"/>
            <ac:spMk id="2" creationId="{00000000-0000-0000-0000-000000000000}"/>
          </ac:spMkLst>
        </pc:spChg>
        <pc:spChg chg="mod">
          <ac:chgData name="Zi yi Zhang (Chinasoft Shanghai)" userId="889434de-a257-482e-b37a-310609d597e0" providerId="ADAL" clId="{5367205E-484B-4AC3-B9DA-B83D37E935D4}" dt="2022-09-27T02:31:16.076" v="2513" actId="947"/>
          <ac:spMkLst>
            <pc:docMk/>
            <pc:sldMk cId="1770302962" sldId="285"/>
            <ac:spMk id="3" creationId="{00000000-0000-0000-0000-000000000000}"/>
          </ac:spMkLst>
        </pc:spChg>
        <pc:spChg chg="mod">
          <ac:chgData name="Zi yi Zhang (Chinasoft Shanghai)" userId="889434de-a257-482e-b37a-310609d597e0" providerId="ADAL" clId="{5367205E-484B-4AC3-B9DA-B83D37E935D4}" dt="2022-09-27T02:31:16.131" v="2543" actId="947"/>
          <ac:spMkLst>
            <pc:docMk/>
            <pc:sldMk cId="1770302962" sldId="285"/>
            <ac:spMk id="4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6.086" v="2518" actId="947"/>
          <ac:spMkLst>
            <pc:docMk/>
            <pc:sldMk cId="1770302962" sldId="285"/>
            <ac:spMk id="7" creationId="{6C81129F-37F1-4F7C-8C0C-8CE0D10E8B79}"/>
          </ac:spMkLst>
        </pc:spChg>
        <pc:spChg chg="mod topLvl">
          <ac:chgData name="Zi yi Zhang (Chinasoft Shanghai)" userId="889434de-a257-482e-b37a-310609d597e0" providerId="ADAL" clId="{5367205E-484B-4AC3-B9DA-B83D37E935D4}" dt="2022-09-27T02:31:16.119" v="2537" actId="947"/>
          <ac:spMkLst>
            <pc:docMk/>
            <pc:sldMk cId="1770302962" sldId="285"/>
            <ac:spMk id="12" creationId="{D22F91B5-9432-4357-815C-9B58BAEAAA9E}"/>
          </ac:spMkLst>
        </pc:spChg>
        <pc:spChg chg="mod topLvl">
          <ac:chgData name="Zi yi Zhang (Chinasoft Shanghai)" userId="889434de-a257-482e-b37a-310609d597e0" providerId="ADAL" clId="{5367205E-484B-4AC3-B9DA-B83D37E935D4}" dt="2022-09-27T02:31:16.133" v="2544"/>
          <ac:spMkLst>
            <pc:docMk/>
            <pc:sldMk cId="1770302962" sldId="285"/>
            <ac:spMk id="13" creationId="{75B3CEE9-9272-4DB1-B57F-4FB388965E85}"/>
          </ac:spMkLst>
        </pc:spChg>
        <pc:spChg chg="mod topLvl">
          <ac:chgData name="Zi yi Zhang (Chinasoft Shanghai)" userId="889434de-a257-482e-b37a-310609d597e0" providerId="ADAL" clId="{5367205E-484B-4AC3-B9DA-B83D37E935D4}" dt="2022-09-27T02:31:16.093" v="2522" actId="947"/>
          <ac:spMkLst>
            <pc:docMk/>
            <pc:sldMk cId="1770302962" sldId="285"/>
            <ac:spMk id="14" creationId="{57E2F9E6-49C9-49B2-847D-230BE55B4C24}"/>
          </ac:spMkLst>
        </pc:spChg>
        <pc:spChg chg="mod topLvl">
          <ac:chgData name="Zi yi Zhang (Chinasoft Shanghai)" userId="889434de-a257-482e-b37a-310609d597e0" providerId="ADAL" clId="{5367205E-484B-4AC3-B9DA-B83D37E935D4}" dt="2022-09-27T02:31:16.140" v="2548"/>
          <ac:spMkLst>
            <pc:docMk/>
            <pc:sldMk cId="1770302962" sldId="285"/>
            <ac:spMk id="15" creationId="{8EF80461-6982-4DFD-91B7-C18BE5BD2E86}"/>
          </ac:spMkLst>
        </pc:spChg>
        <pc:spChg chg="mod topLvl">
          <ac:chgData name="Zi yi Zhang (Chinasoft Shanghai)" userId="889434de-a257-482e-b37a-310609d597e0" providerId="ADAL" clId="{5367205E-484B-4AC3-B9DA-B83D37E935D4}" dt="2022-09-27T02:31:16.138" v="2546" actId="947"/>
          <ac:spMkLst>
            <pc:docMk/>
            <pc:sldMk cId="1770302962" sldId="285"/>
            <ac:spMk id="16" creationId="{BCE966F1-AAE2-4CDD-8D4A-40D2A36BD5B7}"/>
          </ac:spMkLst>
        </pc:spChg>
        <pc:spChg chg="mod topLvl">
          <ac:chgData name="Zi yi Zhang (Chinasoft Shanghai)" userId="889434de-a257-482e-b37a-310609d597e0" providerId="ADAL" clId="{5367205E-484B-4AC3-B9DA-B83D37E935D4}" dt="2022-09-27T02:31:16.114" v="2534"/>
          <ac:spMkLst>
            <pc:docMk/>
            <pc:sldMk cId="1770302962" sldId="285"/>
            <ac:spMk id="17" creationId="{FD6C07C4-B676-4371-B5B6-06FFE9330FEB}"/>
          </ac:spMkLst>
        </pc:spChg>
        <pc:spChg chg="mod topLvl">
          <ac:chgData name="Zi yi Zhang (Chinasoft Shanghai)" userId="889434de-a257-482e-b37a-310609d597e0" providerId="ADAL" clId="{5367205E-484B-4AC3-B9DA-B83D37E935D4}" dt="2022-09-27T02:31:16.145" v="2551" actId="947"/>
          <ac:spMkLst>
            <pc:docMk/>
            <pc:sldMk cId="1770302962" sldId="285"/>
            <ac:spMk id="18" creationId="{FEFA82EC-1699-47E2-9DD6-5BAB61799831}"/>
          </ac:spMkLst>
        </pc:spChg>
        <pc:spChg chg="mod topLvl">
          <ac:chgData name="Zi yi Zhang (Chinasoft Shanghai)" userId="889434de-a257-482e-b37a-310609d597e0" providerId="ADAL" clId="{5367205E-484B-4AC3-B9DA-B83D37E935D4}" dt="2022-09-27T02:31:16.064" v="2507"/>
          <ac:spMkLst>
            <pc:docMk/>
            <pc:sldMk cId="1770302962" sldId="285"/>
            <ac:spMk id="19" creationId="{87A7C444-102C-439D-897B-A693BD8A36F2}"/>
          </ac:spMkLst>
        </pc:spChg>
        <pc:spChg chg="mod topLvl">
          <ac:chgData name="Zi yi Zhang (Chinasoft Shanghai)" userId="889434de-a257-482e-b37a-310609d597e0" providerId="ADAL" clId="{5367205E-484B-4AC3-B9DA-B83D37E935D4}" dt="2022-09-27T02:31:16.147" v="2552" actId="947"/>
          <ac:spMkLst>
            <pc:docMk/>
            <pc:sldMk cId="1770302962" sldId="285"/>
            <ac:spMk id="20" creationId="{0E781B5E-BA9B-4447-A6A5-88773DF8FA2A}"/>
          </ac:spMkLst>
        </pc:spChg>
        <pc:spChg chg="mod topLvl">
          <ac:chgData name="Zi yi Zhang (Chinasoft Shanghai)" userId="889434de-a257-482e-b37a-310609d597e0" providerId="ADAL" clId="{5367205E-484B-4AC3-B9DA-B83D37E935D4}" dt="2022-09-27T02:31:16.128" v="2542" actId="947"/>
          <ac:spMkLst>
            <pc:docMk/>
            <pc:sldMk cId="1770302962" sldId="285"/>
            <ac:spMk id="21" creationId="{3D8ECE53-EE9E-4CF0-A7CC-BD5FBC77AA92}"/>
          </ac:spMkLst>
        </pc:spChg>
        <pc:spChg chg="mod topLvl">
          <ac:chgData name="Zi yi Zhang (Chinasoft Shanghai)" userId="889434de-a257-482e-b37a-310609d597e0" providerId="ADAL" clId="{5367205E-484B-4AC3-B9DA-B83D37E935D4}" dt="2022-09-27T02:31:16.061" v="2505" actId="947"/>
          <ac:spMkLst>
            <pc:docMk/>
            <pc:sldMk cId="1770302962" sldId="285"/>
            <ac:spMk id="22" creationId="{144EB962-B0EE-4113-93F1-9C70D34914A2}"/>
          </ac:spMkLst>
        </pc:spChg>
        <pc:spChg chg="mod topLvl">
          <ac:chgData name="Zi yi Zhang (Chinasoft Shanghai)" userId="889434de-a257-482e-b37a-310609d597e0" providerId="ADAL" clId="{5367205E-484B-4AC3-B9DA-B83D37E935D4}" dt="2022-09-27T02:31:16.116" v="2535" actId="947"/>
          <ac:spMkLst>
            <pc:docMk/>
            <pc:sldMk cId="1770302962" sldId="285"/>
            <ac:spMk id="23" creationId="{B6F04666-F303-4FAF-BC04-6913775FCAB5}"/>
          </ac:spMkLst>
        </pc:spChg>
        <pc:spChg chg="mod topLvl">
          <ac:chgData name="Zi yi Zhang (Chinasoft Shanghai)" userId="889434de-a257-482e-b37a-310609d597e0" providerId="ADAL" clId="{5367205E-484B-4AC3-B9DA-B83D37E935D4}" dt="2022-09-27T02:31:16.127" v="2541" actId="947"/>
          <ac:spMkLst>
            <pc:docMk/>
            <pc:sldMk cId="1770302962" sldId="285"/>
            <ac:spMk id="24" creationId="{50C24CFE-F581-4751-AEA2-848F197211B8}"/>
          </ac:spMkLst>
        </pc:spChg>
        <pc:spChg chg="mod topLvl">
          <ac:chgData name="Zi yi Zhang (Chinasoft Shanghai)" userId="889434de-a257-482e-b37a-310609d597e0" providerId="ADAL" clId="{5367205E-484B-4AC3-B9DA-B83D37E935D4}" dt="2022-09-27T02:31:16.117" v="2536" actId="947"/>
          <ac:spMkLst>
            <pc:docMk/>
            <pc:sldMk cId="1770302962" sldId="285"/>
            <ac:spMk id="25" creationId="{EA741144-6536-4D21-A96C-F0CB58BA7C9E}"/>
          </ac:spMkLst>
        </pc:spChg>
        <pc:spChg chg="mod topLvl">
          <ac:chgData name="Zi yi Zhang (Chinasoft Shanghai)" userId="889434de-a257-482e-b37a-310609d597e0" providerId="ADAL" clId="{5367205E-484B-4AC3-B9DA-B83D37E935D4}" dt="2022-09-27T02:31:16.121" v="2539" actId="947"/>
          <ac:spMkLst>
            <pc:docMk/>
            <pc:sldMk cId="1770302962" sldId="285"/>
            <ac:spMk id="26" creationId="{1C7D525B-B78F-47E9-A055-3A36BFE351A4}"/>
          </ac:spMkLst>
        </pc:spChg>
        <pc:spChg chg="mod topLvl">
          <ac:chgData name="Zi yi Zhang (Chinasoft Shanghai)" userId="889434de-a257-482e-b37a-310609d597e0" providerId="ADAL" clId="{5367205E-484B-4AC3-B9DA-B83D37E935D4}" dt="2022-09-27T02:31:16.139" v="2547" actId="947"/>
          <ac:spMkLst>
            <pc:docMk/>
            <pc:sldMk cId="1770302962" sldId="285"/>
            <ac:spMk id="27" creationId="{74C9B234-EC94-4A9D-BC1C-690A48220442}"/>
          </ac:spMkLst>
        </pc:spChg>
        <pc:spChg chg="mod topLvl">
          <ac:chgData name="Zi yi Zhang (Chinasoft Shanghai)" userId="889434de-a257-482e-b37a-310609d597e0" providerId="ADAL" clId="{5367205E-484B-4AC3-B9DA-B83D37E935D4}" dt="2022-09-27T02:31:16.148" v="2553" actId="947"/>
          <ac:spMkLst>
            <pc:docMk/>
            <pc:sldMk cId="1770302962" sldId="285"/>
            <ac:spMk id="28" creationId="{368909A5-4EB2-446D-A9B0-2E79933FD126}"/>
          </ac:spMkLst>
        </pc:spChg>
        <pc:spChg chg="mod topLvl">
          <ac:chgData name="Zi yi Zhang (Chinasoft Shanghai)" userId="889434de-a257-482e-b37a-310609d597e0" providerId="ADAL" clId="{5367205E-484B-4AC3-B9DA-B83D37E935D4}" dt="2022-09-27T02:31:16.105" v="2529" actId="947"/>
          <ac:spMkLst>
            <pc:docMk/>
            <pc:sldMk cId="1770302962" sldId="285"/>
            <ac:spMk id="29" creationId="{01D04DFA-8EFD-4C25-9552-5553F6FA295E}"/>
          </ac:spMkLst>
        </pc:spChg>
        <pc:grpChg chg="del">
          <ac:chgData name="Zi yi Zhang (Chinasoft Shanghai)" userId="889434de-a257-482e-b37a-310609d597e0" providerId="ADAL" clId="{5367205E-484B-4AC3-B9DA-B83D37E935D4}" dt="2022-09-27T02:28:54.594" v="27" actId="165"/>
          <ac:grpSpMkLst>
            <pc:docMk/>
            <pc:sldMk cId="1770302962" sldId="285"/>
            <ac:grpSpMk id="5" creationId="{00000000-0000-0000-0000-000000000000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8:55.209" v="28" actId="165"/>
          <ac:grpSpMkLst>
            <pc:docMk/>
            <pc:sldMk cId="1770302962" sldId="285"/>
            <ac:grpSpMk id="6" creationId="{CFDCFEEA-10C0-4BAA-AAA7-2C142CE16515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8:55.209" v="28" actId="165"/>
          <ac:grpSpMkLst>
            <pc:docMk/>
            <pc:sldMk cId="1770302962" sldId="285"/>
            <ac:grpSpMk id="8" creationId="{6B9D273C-764F-47BE-B8B7-797196BA6FCC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8:55.209" v="28" actId="165"/>
          <ac:grpSpMkLst>
            <pc:docMk/>
            <pc:sldMk cId="1770302962" sldId="285"/>
            <ac:grpSpMk id="9" creationId="{5EE0F41E-1E65-4B98-9BF7-2348C5D8D8CE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8:55.209" v="28" actId="165"/>
          <ac:grpSpMkLst>
            <pc:docMk/>
            <pc:sldMk cId="1770302962" sldId="285"/>
            <ac:grpSpMk id="10" creationId="{1E7084B9-3815-4026-BC79-A8B5691335FA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8:55.209" v="28" actId="165"/>
          <ac:grpSpMkLst>
            <pc:docMk/>
            <pc:sldMk cId="1770302962" sldId="285"/>
            <ac:grpSpMk id="11" creationId="{42F72756-30C6-425B-A674-37BA10A7AD30}"/>
          </ac:grpSpMkLst>
        </pc:grpChg>
      </pc:sldChg>
      <pc:sldChg chg="delSp modSp mod">
        <pc:chgData name="Zi yi Zhang (Chinasoft Shanghai)" userId="889434de-a257-482e-b37a-310609d597e0" providerId="ADAL" clId="{5367205E-484B-4AC3-B9DA-B83D37E935D4}" dt="2022-09-27T02:31:16.389" v="2625" actId="947"/>
        <pc:sldMkLst>
          <pc:docMk/>
          <pc:sldMk cId="369355382" sldId="286"/>
        </pc:sldMkLst>
        <pc:spChg chg="mod">
          <ac:chgData name="Zi yi Zhang (Chinasoft Shanghai)" userId="889434de-a257-482e-b37a-310609d597e0" providerId="ADAL" clId="{5367205E-484B-4AC3-B9DA-B83D37E935D4}" dt="2022-09-27T02:31:16.159" v="2557" actId="947"/>
          <ac:spMkLst>
            <pc:docMk/>
            <pc:sldMk cId="369355382" sldId="286"/>
            <ac:spMk id="2" creationId="{00000000-0000-0000-0000-000000000000}"/>
          </ac:spMkLst>
        </pc:spChg>
        <pc:spChg chg="mod">
          <ac:chgData name="Zi yi Zhang (Chinasoft Shanghai)" userId="889434de-a257-482e-b37a-310609d597e0" providerId="ADAL" clId="{5367205E-484B-4AC3-B9DA-B83D37E935D4}" dt="2022-09-27T02:31:16.387" v="2624" actId="947"/>
          <ac:spMkLst>
            <pc:docMk/>
            <pc:sldMk cId="369355382" sldId="286"/>
            <ac:spMk id="3" creationId="{00000000-0000-0000-0000-000000000000}"/>
          </ac:spMkLst>
        </pc:spChg>
        <pc:spChg chg="mod">
          <ac:chgData name="Zi yi Zhang (Chinasoft Shanghai)" userId="889434de-a257-482e-b37a-310609d597e0" providerId="ADAL" clId="{5367205E-484B-4AC3-B9DA-B83D37E935D4}" dt="2022-09-27T02:31:16.382" v="2620" actId="947"/>
          <ac:spMkLst>
            <pc:docMk/>
            <pc:sldMk cId="369355382" sldId="286"/>
            <ac:spMk id="4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6.374" v="2614" actId="947"/>
          <ac:spMkLst>
            <pc:docMk/>
            <pc:sldMk cId="369355382" sldId="286"/>
            <ac:spMk id="6" creationId="{249D6EC0-7184-490B-BC35-94A1EA33C50B}"/>
          </ac:spMkLst>
        </pc:spChg>
        <pc:spChg chg="mod topLvl">
          <ac:chgData name="Zi yi Zhang (Chinasoft Shanghai)" userId="889434de-a257-482e-b37a-310609d597e0" providerId="ADAL" clId="{5367205E-484B-4AC3-B9DA-B83D37E935D4}" dt="2022-09-27T02:31:16.345" v="2597" actId="947"/>
          <ac:spMkLst>
            <pc:docMk/>
            <pc:sldMk cId="369355382" sldId="286"/>
            <ac:spMk id="8" creationId="{763156AC-8C37-4BC1-8E08-FB3B9181B23A}"/>
          </ac:spMkLst>
        </pc:spChg>
        <pc:spChg chg="mod topLvl">
          <ac:chgData name="Zi yi Zhang (Chinasoft Shanghai)" userId="889434de-a257-482e-b37a-310609d597e0" providerId="ADAL" clId="{5367205E-484B-4AC3-B9DA-B83D37E935D4}" dt="2022-09-27T02:31:16.389" v="2625" actId="947"/>
          <ac:spMkLst>
            <pc:docMk/>
            <pc:sldMk cId="369355382" sldId="286"/>
            <ac:spMk id="9" creationId="{B1C1ACBE-891E-4A14-A777-4EE6E0D78591}"/>
          </ac:spMkLst>
        </pc:spChg>
        <pc:spChg chg="mod topLvl">
          <ac:chgData name="Zi yi Zhang (Chinasoft Shanghai)" userId="889434de-a257-482e-b37a-310609d597e0" providerId="ADAL" clId="{5367205E-484B-4AC3-B9DA-B83D37E935D4}" dt="2022-09-27T02:31:16.378" v="2617" actId="947"/>
          <ac:spMkLst>
            <pc:docMk/>
            <pc:sldMk cId="369355382" sldId="286"/>
            <ac:spMk id="11" creationId="{434A7142-D980-429A-AF14-34EE94FBD357}"/>
          </ac:spMkLst>
        </pc:spChg>
        <pc:spChg chg="mod topLvl">
          <ac:chgData name="Zi yi Zhang (Chinasoft Shanghai)" userId="889434de-a257-482e-b37a-310609d597e0" providerId="ADAL" clId="{5367205E-484B-4AC3-B9DA-B83D37E935D4}" dt="2022-09-27T02:31:16.351" v="2600" actId="947"/>
          <ac:spMkLst>
            <pc:docMk/>
            <pc:sldMk cId="369355382" sldId="286"/>
            <ac:spMk id="13" creationId="{E96A2335-3EB0-478F-AFA7-BD5BC598D194}"/>
          </ac:spMkLst>
        </pc:spChg>
        <pc:spChg chg="mod topLvl">
          <ac:chgData name="Zi yi Zhang (Chinasoft Shanghai)" userId="889434de-a257-482e-b37a-310609d597e0" providerId="ADAL" clId="{5367205E-484B-4AC3-B9DA-B83D37E935D4}" dt="2022-09-27T02:31:16.381" v="2619" actId="947"/>
          <ac:spMkLst>
            <pc:docMk/>
            <pc:sldMk cId="369355382" sldId="286"/>
            <ac:spMk id="14" creationId="{0A41DC40-ECF6-4087-B11D-7294AE3B44CF}"/>
          </ac:spMkLst>
        </pc:spChg>
        <pc:spChg chg="mod topLvl">
          <ac:chgData name="Zi yi Zhang (Chinasoft Shanghai)" userId="889434de-a257-482e-b37a-310609d597e0" providerId="ADAL" clId="{5367205E-484B-4AC3-B9DA-B83D37E935D4}" dt="2022-09-27T02:31:16.375" v="2615"/>
          <ac:spMkLst>
            <pc:docMk/>
            <pc:sldMk cId="369355382" sldId="286"/>
            <ac:spMk id="15" creationId="{356D3A36-F03D-401C-B9BF-1CA505BB29B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6.367" v="2611"/>
          <ac:spMkLst>
            <pc:docMk/>
            <pc:sldMk cId="369355382" sldId="286"/>
            <ac:spMk id="16" creationId="{F1AE2990-2514-44A1-9D42-A80E97FA76B5}"/>
          </ac:spMkLst>
        </pc:spChg>
        <pc:spChg chg="mod topLvl">
          <ac:chgData name="Zi yi Zhang (Chinasoft Shanghai)" userId="889434de-a257-482e-b37a-310609d597e0" providerId="ADAL" clId="{5367205E-484B-4AC3-B9DA-B83D37E935D4}" dt="2022-09-27T02:31:16.332" v="2590"/>
          <ac:spMkLst>
            <pc:docMk/>
            <pc:sldMk cId="369355382" sldId="286"/>
            <ac:spMk id="17" creationId="{D0F990B2-3979-46F3-86D0-D96AC553B7F1}"/>
          </ac:spMkLst>
        </pc:spChg>
        <pc:spChg chg="mod topLvl">
          <ac:chgData name="Zi yi Zhang (Chinasoft Shanghai)" userId="889434de-a257-482e-b37a-310609d597e0" providerId="ADAL" clId="{5367205E-484B-4AC3-B9DA-B83D37E935D4}" dt="2022-09-27T02:31:16.383" v="2621"/>
          <ac:spMkLst>
            <pc:docMk/>
            <pc:sldMk cId="369355382" sldId="286"/>
            <ac:spMk id="19" creationId="{26BC3A4E-3FFF-4517-85CE-AC96C4071711}"/>
          </ac:spMkLst>
        </pc:spChg>
        <pc:spChg chg="mod topLvl">
          <ac:chgData name="Zi yi Zhang (Chinasoft Shanghai)" userId="889434de-a257-482e-b37a-310609d597e0" providerId="ADAL" clId="{5367205E-484B-4AC3-B9DA-B83D37E935D4}" dt="2022-09-27T02:31:16.384" v="2622"/>
          <ac:spMkLst>
            <pc:docMk/>
            <pc:sldMk cId="369355382" sldId="286"/>
            <ac:spMk id="20" creationId="{4D45E7F2-F442-48D4-857A-AF78D9C5680B}"/>
          </ac:spMkLst>
        </pc:spChg>
        <pc:spChg chg="mod topLvl">
          <ac:chgData name="Zi yi Zhang (Chinasoft Shanghai)" userId="889434de-a257-482e-b37a-310609d597e0" providerId="ADAL" clId="{5367205E-484B-4AC3-B9DA-B83D37E935D4}" dt="2022-09-27T02:31:16.379" v="2618"/>
          <ac:spMkLst>
            <pc:docMk/>
            <pc:sldMk cId="369355382" sldId="286"/>
            <ac:spMk id="21" creationId="{9C878F99-5EEA-4235-8B2E-ADDCB881BD07}"/>
          </ac:spMkLst>
        </pc:spChg>
        <pc:spChg chg="mod topLvl">
          <ac:chgData name="Zi yi Zhang (Chinasoft Shanghai)" userId="889434de-a257-482e-b37a-310609d597e0" providerId="ADAL" clId="{5367205E-484B-4AC3-B9DA-B83D37E935D4}" dt="2022-09-27T02:31:16.368" v="2612"/>
          <ac:spMkLst>
            <pc:docMk/>
            <pc:sldMk cId="369355382" sldId="286"/>
            <ac:spMk id="23" creationId="{473A67AE-4827-446C-9DCB-D671847FF83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6.353" v="2602"/>
          <ac:spMkLst>
            <pc:docMk/>
            <pc:sldMk cId="369355382" sldId="286"/>
            <ac:spMk id="24" creationId="{C3192754-7C61-489E-8D1A-F5B0009A1BF6}"/>
          </ac:spMkLst>
        </pc:spChg>
        <pc:spChg chg="mod topLvl">
          <ac:chgData name="Zi yi Zhang (Chinasoft Shanghai)" userId="889434de-a257-482e-b37a-310609d597e0" providerId="ADAL" clId="{5367205E-484B-4AC3-B9DA-B83D37E935D4}" dt="2022-09-27T02:31:16.358" v="2605"/>
          <ac:spMkLst>
            <pc:docMk/>
            <pc:sldMk cId="369355382" sldId="286"/>
            <ac:spMk id="25" creationId="{89E75C17-4B2B-4B19-8B56-5BA05C537C75}"/>
          </ac:spMkLst>
        </pc:spChg>
        <pc:grpChg chg="del">
          <ac:chgData name="Zi yi Zhang (Chinasoft Shanghai)" userId="889434de-a257-482e-b37a-310609d597e0" providerId="ADAL" clId="{5367205E-484B-4AC3-B9DA-B83D37E935D4}" dt="2022-09-27T02:29:00.484" v="29" actId="165"/>
          <ac:grpSpMkLst>
            <pc:docMk/>
            <pc:sldMk cId="369355382" sldId="286"/>
            <ac:grpSpMk id="5" creationId="{00000000-0000-0000-0000-000000000000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9:00.968" v="30" actId="165"/>
          <ac:grpSpMkLst>
            <pc:docMk/>
            <pc:sldMk cId="369355382" sldId="286"/>
            <ac:grpSpMk id="7" creationId="{A1574D7C-692A-406B-86F0-3CEE5E63CFAD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9:00.968" v="30" actId="165"/>
          <ac:grpSpMkLst>
            <pc:docMk/>
            <pc:sldMk cId="369355382" sldId="286"/>
            <ac:grpSpMk id="10" creationId="{0B61900D-182D-453C-B954-0DD0249CA1DC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9:00.968" v="30" actId="165"/>
          <ac:grpSpMkLst>
            <pc:docMk/>
            <pc:sldMk cId="369355382" sldId="286"/>
            <ac:grpSpMk id="12" creationId="{BC91CBCF-6D3C-4DCB-8228-7A7F9D1BB7A3}"/>
          </ac:grpSpMkLst>
        </pc:grpChg>
        <pc:cxnChg chg="mod topLvl">
          <ac:chgData name="Zi yi Zhang (Chinasoft Shanghai)" userId="889434de-a257-482e-b37a-310609d597e0" providerId="ADAL" clId="{5367205E-484B-4AC3-B9DA-B83D37E935D4}" dt="2022-09-27T02:29:00.968" v="30" actId="165"/>
          <ac:cxnSpMkLst>
            <pc:docMk/>
            <pc:sldMk cId="369355382" sldId="286"/>
            <ac:cxnSpMk id="18" creationId="{D0A54A90-D137-4DF9-B71D-58EE2B02AFBF}"/>
          </ac:cxnSpMkLst>
        </pc:cxnChg>
        <pc:cxnChg chg="mod topLvl">
          <ac:chgData name="Zi yi Zhang (Chinasoft Shanghai)" userId="889434de-a257-482e-b37a-310609d597e0" providerId="ADAL" clId="{5367205E-484B-4AC3-B9DA-B83D37E935D4}" dt="2022-09-27T02:29:00.968" v="30" actId="165"/>
          <ac:cxnSpMkLst>
            <pc:docMk/>
            <pc:sldMk cId="369355382" sldId="286"/>
            <ac:cxnSpMk id="22" creationId="{C661AED6-B6FB-4A5D-885D-2430FE028767}"/>
          </ac:cxnSpMkLst>
        </pc:cxnChg>
        <pc:cxnChg chg="mod topLvl">
          <ac:chgData name="Zi yi Zhang (Chinasoft Shanghai)" userId="889434de-a257-482e-b37a-310609d597e0" providerId="ADAL" clId="{5367205E-484B-4AC3-B9DA-B83D37E935D4}" dt="2022-09-27T02:29:00.968" v="30" actId="165"/>
          <ac:cxnSpMkLst>
            <pc:docMk/>
            <pc:sldMk cId="369355382" sldId="286"/>
            <ac:cxnSpMk id="26" creationId="{462A234B-6B74-4F8D-96BE-297F6499DA0B}"/>
          </ac:cxnSpMkLst>
        </pc:cxnChg>
      </pc:sldChg>
      <pc:sldChg chg="delSp modSp mod">
        <pc:chgData name="Zi yi Zhang (Chinasoft Shanghai)" userId="889434de-a257-482e-b37a-310609d597e0" providerId="ADAL" clId="{5367205E-484B-4AC3-B9DA-B83D37E935D4}" dt="2022-09-27T02:31:16.706" v="2713"/>
        <pc:sldMkLst>
          <pc:docMk/>
          <pc:sldMk cId="793855277" sldId="287"/>
        </pc:sldMkLst>
        <pc:spChg chg="mod">
          <ac:chgData name="Zi yi Zhang (Chinasoft Shanghai)" userId="889434de-a257-482e-b37a-310609d597e0" providerId="ADAL" clId="{5367205E-484B-4AC3-B9DA-B83D37E935D4}" dt="2022-09-27T02:31:16.428" v="2629" actId="947"/>
          <ac:spMkLst>
            <pc:docMk/>
            <pc:sldMk cId="793855277" sldId="287"/>
            <ac:spMk id="2" creationId="{00000000-0000-0000-0000-000000000000}"/>
          </ac:spMkLst>
        </pc:spChg>
        <pc:spChg chg="mod">
          <ac:chgData name="Zi yi Zhang (Chinasoft Shanghai)" userId="889434de-a257-482e-b37a-310609d597e0" providerId="ADAL" clId="{5367205E-484B-4AC3-B9DA-B83D37E935D4}" dt="2022-09-27T02:31:16.663" v="2686" actId="947"/>
          <ac:spMkLst>
            <pc:docMk/>
            <pc:sldMk cId="793855277" sldId="287"/>
            <ac:spMk id="3" creationId="{00000000-0000-0000-0000-000000000000}"/>
          </ac:spMkLst>
        </pc:spChg>
        <pc:spChg chg="mod">
          <ac:chgData name="Zi yi Zhang (Chinasoft Shanghai)" userId="889434de-a257-482e-b37a-310609d597e0" providerId="ADAL" clId="{5367205E-484B-4AC3-B9DA-B83D37E935D4}" dt="2022-09-27T02:31:16.627" v="2663" actId="947"/>
          <ac:spMkLst>
            <pc:docMk/>
            <pc:sldMk cId="793855277" sldId="287"/>
            <ac:spMk id="4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6.656" v="2681" actId="947"/>
          <ac:spMkLst>
            <pc:docMk/>
            <pc:sldMk cId="793855277" sldId="287"/>
            <ac:spMk id="36" creationId="{00000000-0000-0000-0000-00000000000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6.684" v="2698" actId="947"/>
          <ac:spMkLst>
            <pc:docMk/>
            <pc:sldMk cId="793855277" sldId="287"/>
            <ac:spMk id="47" creationId="{64DC2847-DA63-4AF3-B015-B0D0DC7F9B4A}"/>
          </ac:spMkLst>
        </pc:spChg>
        <pc:spChg chg="mod topLvl">
          <ac:chgData name="Zi yi Zhang (Chinasoft Shanghai)" userId="889434de-a257-482e-b37a-310609d597e0" providerId="ADAL" clId="{5367205E-484B-4AC3-B9DA-B83D37E935D4}" dt="2022-09-27T02:31:16.705" v="2712" actId="947"/>
          <ac:spMkLst>
            <pc:docMk/>
            <pc:sldMk cId="793855277" sldId="287"/>
            <ac:spMk id="48" creationId="{23E9BBEA-FB54-47C3-BA28-CE85931B874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6.706" v="2713"/>
          <ac:spMkLst>
            <pc:docMk/>
            <pc:sldMk cId="793855277" sldId="287"/>
            <ac:spMk id="49" creationId="{E4E3EAFC-D4D9-4B62-A60F-220C199D46C7}"/>
          </ac:spMkLst>
        </pc:spChg>
        <pc:spChg chg="mod topLvl">
          <ac:chgData name="Zi yi Zhang (Chinasoft Shanghai)" userId="889434de-a257-482e-b37a-310609d597e0" providerId="ADAL" clId="{5367205E-484B-4AC3-B9DA-B83D37E935D4}" dt="2022-09-27T02:31:16.694" v="2706"/>
          <ac:spMkLst>
            <pc:docMk/>
            <pc:sldMk cId="793855277" sldId="287"/>
            <ac:spMk id="50" creationId="{3495B739-E5A7-4F4A-95FD-24BDFE4B18B1}"/>
          </ac:spMkLst>
        </pc:spChg>
        <pc:spChg chg="mod topLvl">
          <ac:chgData name="Zi yi Zhang (Chinasoft Shanghai)" userId="889434de-a257-482e-b37a-310609d597e0" providerId="ADAL" clId="{5367205E-484B-4AC3-B9DA-B83D37E935D4}" dt="2022-09-27T02:31:16.700" v="2709" actId="947"/>
          <ac:spMkLst>
            <pc:docMk/>
            <pc:sldMk cId="793855277" sldId="287"/>
            <ac:spMk id="51" creationId="{679899D2-E714-4138-A470-7639B16C95F6}"/>
          </ac:spMkLst>
        </pc:spChg>
        <pc:spChg chg="mod topLvl">
          <ac:chgData name="Zi yi Zhang (Chinasoft Shanghai)" userId="889434de-a257-482e-b37a-310609d597e0" providerId="ADAL" clId="{5367205E-484B-4AC3-B9DA-B83D37E935D4}" dt="2022-09-27T02:31:16.687" v="2699" actId="947"/>
          <ac:spMkLst>
            <pc:docMk/>
            <pc:sldMk cId="793855277" sldId="287"/>
            <ac:spMk id="52" creationId="{8887A3ED-FED8-4425-AD61-4043EA8B23E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6.689" v="2701"/>
          <ac:spMkLst>
            <pc:docMk/>
            <pc:sldMk cId="793855277" sldId="287"/>
            <ac:spMk id="53" creationId="{E4E3EAFC-D4D9-4B62-A60F-220C199D46C7}"/>
          </ac:spMkLst>
        </pc:spChg>
        <pc:spChg chg="mod topLvl">
          <ac:chgData name="Zi yi Zhang (Chinasoft Shanghai)" userId="889434de-a257-482e-b37a-310609d597e0" providerId="ADAL" clId="{5367205E-484B-4AC3-B9DA-B83D37E935D4}" dt="2022-09-27T02:31:16.693" v="2705"/>
          <ac:spMkLst>
            <pc:docMk/>
            <pc:sldMk cId="793855277" sldId="287"/>
            <ac:spMk id="54" creationId="{3495B739-E5A7-4F4A-95FD-24BDFE4B18B1}"/>
          </ac:spMkLst>
        </pc:spChg>
        <pc:spChg chg="mod topLvl">
          <ac:chgData name="Zi yi Zhang (Chinasoft Shanghai)" userId="889434de-a257-482e-b37a-310609d597e0" providerId="ADAL" clId="{5367205E-484B-4AC3-B9DA-B83D37E935D4}" dt="2022-09-27T02:31:16.665" v="2687" actId="947"/>
          <ac:spMkLst>
            <pc:docMk/>
            <pc:sldMk cId="793855277" sldId="287"/>
            <ac:spMk id="55" creationId="{679899D2-E714-4138-A470-7639B16C95F6}"/>
          </ac:spMkLst>
        </pc:spChg>
        <pc:spChg chg="mod topLvl">
          <ac:chgData name="Zi yi Zhang (Chinasoft Shanghai)" userId="889434de-a257-482e-b37a-310609d597e0" providerId="ADAL" clId="{5367205E-484B-4AC3-B9DA-B83D37E935D4}" dt="2022-09-27T02:31:16.688" v="2700" actId="947"/>
          <ac:spMkLst>
            <pc:docMk/>
            <pc:sldMk cId="793855277" sldId="287"/>
            <ac:spMk id="56" creationId="{8887A3ED-FED8-4425-AD61-4043EA8B23E0}"/>
          </ac:spMkLst>
        </pc:spChg>
        <pc:spChg chg="mod topLvl">
          <ac:chgData name="Zi yi Zhang (Chinasoft Shanghai)" userId="889434de-a257-482e-b37a-310609d597e0" providerId="ADAL" clId="{5367205E-484B-4AC3-B9DA-B83D37E935D4}" dt="2022-09-27T02:31:16.675" v="2693"/>
          <ac:spMkLst>
            <pc:docMk/>
            <pc:sldMk cId="793855277" sldId="287"/>
            <ac:spMk id="57" creationId="{E4E3EAFC-D4D9-4B62-A60F-220C199D46C7}"/>
          </ac:spMkLst>
        </pc:spChg>
        <pc:spChg chg="mod topLvl">
          <ac:chgData name="Zi yi Zhang (Chinasoft Shanghai)" userId="889434de-a257-482e-b37a-310609d597e0" providerId="ADAL" clId="{5367205E-484B-4AC3-B9DA-B83D37E935D4}" dt="2022-09-27T02:31:16.695" v="2707"/>
          <ac:spMkLst>
            <pc:docMk/>
            <pc:sldMk cId="793855277" sldId="287"/>
            <ac:spMk id="58" creationId="{3495B739-E5A7-4F4A-95FD-24BDFE4B18B1}"/>
          </ac:spMkLst>
        </pc:spChg>
        <pc:spChg chg="mod topLvl">
          <ac:chgData name="Zi yi Zhang (Chinasoft Shanghai)" userId="889434de-a257-482e-b37a-310609d597e0" providerId="ADAL" clId="{5367205E-484B-4AC3-B9DA-B83D37E935D4}" dt="2022-09-27T02:31:16.623" v="2661" actId="947"/>
          <ac:spMkLst>
            <pc:docMk/>
            <pc:sldMk cId="793855277" sldId="287"/>
            <ac:spMk id="59" creationId="{679899D2-E714-4138-A470-7639B16C95F6}"/>
          </ac:spMkLst>
        </pc:spChg>
        <pc:spChg chg="mod topLvl">
          <ac:chgData name="Zi yi Zhang (Chinasoft Shanghai)" userId="889434de-a257-482e-b37a-310609d597e0" providerId="ADAL" clId="{5367205E-484B-4AC3-B9DA-B83D37E935D4}" dt="2022-09-27T02:31:16.691" v="2703" actId="947"/>
          <ac:spMkLst>
            <pc:docMk/>
            <pc:sldMk cId="793855277" sldId="287"/>
            <ac:spMk id="60" creationId="{B669E62F-BEC5-456C-B2C6-FA21793F1B04}"/>
          </ac:spMkLst>
        </pc:spChg>
        <pc:spChg chg="mod topLvl">
          <ac:chgData name="Zi yi Zhang (Chinasoft Shanghai)" userId="889434de-a257-482e-b37a-310609d597e0" providerId="ADAL" clId="{5367205E-484B-4AC3-B9DA-B83D37E935D4}" dt="2022-09-27T02:31:16.625" v="2662"/>
          <ac:spMkLst>
            <pc:docMk/>
            <pc:sldMk cId="793855277" sldId="287"/>
            <ac:spMk id="61" creationId="{E4E3EAFC-D4D9-4B62-A60F-220C199D46C7}"/>
          </ac:spMkLst>
        </pc:spChg>
        <pc:spChg chg="mod topLvl">
          <ac:chgData name="Zi yi Zhang (Chinasoft Shanghai)" userId="889434de-a257-482e-b37a-310609d597e0" providerId="ADAL" clId="{5367205E-484B-4AC3-B9DA-B83D37E935D4}" dt="2022-09-27T02:31:16.701" v="2710"/>
          <ac:spMkLst>
            <pc:docMk/>
            <pc:sldMk cId="793855277" sldId="287"/>
            <ac:spMk id="62" creationId="{3495B739-E5A7-4F4A-95FD-24BDFE4B18B1}"/>
          </ac:spMkLst>
        </pc:spChg>
        <pc:spChg chg="mod topLvl">
          <ac:chgData name="Zi yi Zhang (Chinasoft Shanghai)" userId="889434de-a257-482e-b37a-310609d597e0" providerId="ADAL" clId="{5367205E-484B-4AC3-B9DA-B83D37E935D4}" dt="2022-09-27T02:31:16.692" v="2704" actId="947"/>
          <ac:spMkLst>
            <pc:docMk/>
            <pc:sldMk cId="793855277" sldId="287"/>
            <ac:spMk id="63" creationId="{679899D2-E714-4138-A470-7639B16C95F6}"/>
          </ac:spMkLst>
        </pc:spChg>
        <pc:spChg chg="mod topLvl">
          <ac:chgData name="Zi yi Zhang (Chinasoft Shanghai)" userId="889434de-a257-482e-b37a-310609d597e0" providerId="ADAL" clId="{5367205E-484B-4AC3-B9DA-B83D37E935D4}" dt="2022-09-27T02:31:16.652" v="2678" actId="947"/>
          <ac:spMkLst>
            <pc:docMk/>
            <pc:sldMk cId="793855277" sldId="287"/>
            <ac:spMk id="64" creationId="{077E210A-6337-4130-8537-978D3C8F5506}"/>
          </ac:spMkLst>
        </pc:spChg>
        <pc:grpChg chg="del">
          <ac:chgData name="Zi yi Zhang (Chinasoft Shanghai)" userId="889434de-a257-482e-b37a-310609d597e0" providerId="ADAL" clId="{5367205E-484B-4AC3-B9DA-B83D37E935D4}" dt="2022-09-27T02:29:05.743" v="31" actId="165"/>
          <ac:grpSpMkLst>
            <pc:docMk/>
            <pc:sldMk cId="793855277" sldId="287"/>
            <ac:grpSpMk id="35" creationId="{00000000-0000-0000-0000-000000000000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9:06.355" v="32" actId="165"/>
          <ac:grpSpMkLst>
            <pc:docMk/>
            <pc:sldMk cId="793855277" sldId="287"/>
            <ac:grpSpMk id="37" creationId="{00000000-0000-0000-0000-000000000000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9:06.355" v="32" actId="165"/>
          <ac:grpSpMkLst>
            <pc:docMk/>
            <pc:sldMk cId="793855277" sldId="287"/>
            <ac:grpSpMk id="38" creationId="{00000000-0000-0000-0000-000000000000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9:06.355" v="32" actId="165"/>
          <ac:grpSpMkLst>
            <pc:docMk/>
            <pc:sldMk cId="793855277" sldId="287"/>
            <ac:grpSpMk id="39" creationId="{00000000-0000-0000-0000-000000000000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9:06.355" v="32" actId="165"/>
          <ac:grpSpMkLst>
            <pc:docMk/>
            <pc:sldMk cId="793855277" sldId="287"/>
            <ac:grpSpMk id="40" creationId="{00000000-0000-0000-0000-000000000000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9:06.355" v="32" actId="165"/>
          <ac:grpSpMkLst>
            <pc:docMk/>
            <pc:sldMk cId="793855277" sldId="287"/>
            <ac:grpSpMk id="41" creationId="{00000000-0000-0000-0000-000000000000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9:06.355" v="32" actId="165"/>
          <ac:grpSpMkLst>
            <pc:docMk/>
            <pc:sldMk cId="793855277" sldId="287"/>
            <ac:grpSpMk id="42" creationId="{00000000-0000-0000-0000-000000000000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9:06.355" v="32" actId="165"/>
          <ac:grpSpMkLst>
            <pc:docMk/>
            <pc:sldMk cId="793855277" sldId="287"/>
            <ac:grpSpMk id="43" creationId="{00000000-0000-0000-0000-000000000000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9:06.355" v="32" actId="165"/>
          <ac:grpSpMkLst>
            <pc:docMk/>
            <pc:sldMk cId="793855277" sldId="287"/>
            <ac:grpSpMk id="44" creationId="{00000000-0000-0000-0000-000000000000}"/>
          </ac:grpSpMkLst>
        </pc:grpChg>
        <pc:grpChg chg="del mod topLvl">
          <ac:chgData name="Zi yi Zhang (Chinasoft Shanghai)" userId="889434de-a257-482e-b37a-310609d597e0" providerId="ADAL" clId="{5367205E-484B-4AC3-B9DA-B83D37E935D4}" dt="2022-09-27T02:29:06.355" v="32" actId="165"/>
          <ac:grpSpMkLst>
            <pc:docMk/>
            <pc:sldMk cId="793855277" sldId="287"/>
            <ac:grpSpMk id="45" creationId="{00000000-0000-0000-0000-000000000000}"/>
          </ac:grpSpMkLst>
        </pc:grpChg>
        <pc:cxnChg chg="mod topLvl">
          <ac:chgData name="Zi yi Zhang (Chinasoft Shanghai)" userId="889434de-a257-482e-b37a-310609d597e0" providerId="ADAL" clId="{5367205E-484B-4AC3-B9DA-B83D37E935D4}" dt="2022-09-27T02:29:05.743" v="31" actId="165"/>
          <ac:cxnSpMkLst>
            <pc:docMk/>
            <pc:sldMk cId="793855277" sldId="287"/>
            <ac:cxnSpMk id="46" creationId="{00000000-0000-0000-0000-000000000000}"/>
          </ac:cxnSpMkLst>
        </pc:cxn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2/9/27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9/2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-34105" y="-18667"/>
            <a:ext cx="12231025" cy="687666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395" name="组合 394">
            <a:extLst>
              <a:ext uri="{FF2B5EF4-FFF2-40B4-BE49-F238E27FC236}">
                <a16:creationId xmlns:a16="http://schemas.microsoft.com/office/drawing/2014/main" id="{073EC3BF-3B27-4CD7-BEE9-840F23F7E619}"/>
              </a:ext>
            </a:extLst>
          </p:cNvPr>
          <p:cNvGrpSpPr/>
          <p:nvPr userDrawn="1"/>
        </p:nvGrpSpPr>
        <p:grpSpPr>
          <a:xfrm>
            <a:off x="40511" y="-9333"/>
            <a:ext cx="12110979" cy="6876667"/>
            <a:chOff x="556957" y="283907"/>
            <a:chExt cx="11078086" cy="6290186"/>
          </a:xfrm>
          <a:solidFill>
            <a:schemeClr val="accent1">
              <a:lumMod val="20000"/>
              <a:lumOff val="80000"/>
              <a:alpha val="4000"/>
            </a:schemeClr>
          </a:solidFill>
        </p:grpSpPr>
        <p:sp>
          <p:nvSpPr>
            <p:cNvPr id="396" name="任意多边形: 形状 395">
              <a:extLst>
                <a:ext uri="{FF2B5EF4-FFF2-40B4-BE49-F238E27FC236}">
                  <a16:creationId xmlns:a16="http://schemas.microsoft.com/office/drawing/2014/main" id="{3CEAAD33-088A-4CB5-8D01-DA41FB69F258}"/>
                </a:ext>
              </a:extLst>
            </p:cNvPr>
            <p:cNvSpPr/>
            <p:nvPr/>
          </p:nvSpPr>
          <p:spPr>
            <a:xfrm rot="5400000">
              <a:off x="556957" y="2839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397" name="任意多边形: 形状 396">
              <a:extLst>
                <a:ext uri="{FF2B5EF4-FFF2-40B4-BE49-F238E27FC236}">
                  <a16:creationId xmlns:a16="http://schemas.microsoft.com/office/drawing/2014/main" id="{030F9556-52A2-4A0E-8E28-E30029E6A8A6}"/>
                </a:ext>
              </a:extLst>
            </p:cNvPr>
            <p:cNvSpPr/>
            <p:nvPr/>
          </p:nvSpPr>
          <p:spPr>
            <a:xfrm rot="5400000">
              <a:off x="1331657" y="2839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398" name="任意多边形: 形状 397">
              <a:extLst>
                <a:ext uri="{FF2B5EF4-FFF2-40B4-BE49-F238E27FC236}">
                  <a16:creationId xmlns:a16="http://schemas.microsoft.com/office/drawing/2014/main" id="{3FF6818A-BB29-4CD4-84D6-DE5C3ED006D2}"/>
                </a:ext>
              </a:extLst>
            </p:cNvPr>
            <p:cNvSpPr/>
            <p:nvPr/>
          </p:nvSpPr>
          <p:spPr>
            <a:xfrm rot="5400000">
              <a:off x="2106357" y="2839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399" name="任意多边形: 形状 398">
              <a:extLst>
                <a:ext uri="{FF2B5EF4-FFF2-40B4-BE49-F238E27FC236}">
                  <a16:creationId xmlns:a16="http://schemas.microsoft.com/office/drawing/2014/main" id="{9DE50860-FA7E-434D-AE3B-51956A0E0BA4}"/>
                </a:ext>
              </a:extLst>
            </p:cNvPr>
            <p:cNvSpPr/>
            <p:nvPr/>
          </p:nvSpPr>
          <p:spPr>
            <a:xfrm rot="5400000">
              <a:off x="2881057" y="2839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00" name="任意多边形: 形状 399">
              <a:extLst>
                <a:ext uri="{FF2B5EF4-FFF2-40B4-BE49-F238E27FC236}">
                  <a16:creationId xmlns:a16="http://schemas.microsoft.com/office/drawing/2014/main" id="{87907447-D54D-422D-87E0-837F59BB2281}"/>
                </a:ext>
              </a:extLst>
            </p:cNvPr>
            <p:cNvSpPr/>
            <p:nvPr/>
          </p:nvSpPr>
          <p:spPr>
            <a:xfrm rot="5400000">
              <a:off x="3655757" y="2839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01" name="任意多边形: 形状 400">
              <a:extLst>
                <a:ext uri="{FF2B5EF4-FFF2-40B4-BE49-F238E27FC236}">
                  <a16:creationId xmlns:a16="http://schemas.microsoft.com/office/drawing/2014/main" id="{DC71BCEF-3F0C-411E-8712-0A2441D0CDF4}"/>
                </a:ext>
              </a:extLst>
            </p:cNvPr>
            <p:cNvSpPr/>
            <p:nvPr/>
          </p:nvSpPr>
          <p:spPr>
            <a:xfrm rot="5400000">
              <a:off x="4430457" y="2839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02" name="任意多边形: 形状 401">
              <a:extLst>
                <a:ext uri="{FF2B5EF4-FFF2-40B4-BE49-F238E27FC236}">
                  <a16:creationId xmlns:a16="http://schemas.microsoft.com/office/drawing/2014/main" id="{914E7030-2D99-4AE0-ABE3-F97DAFA33934}"/>
                </a:ext>
              </a:extLst>
            </p:cNvPr>
            <p:cNvSpPr/>
            <p:nvPr/>
          </p:nvSpPr>
          <p:spPr>
            <a:xfrm rot="5400000">
              <a:off x="5205157" y="2839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03" name="任意多边形: 形状 402">
              <a:extLst>
                <a:ext uri="{FF2B5EF4-FFF2-40B4-BE49-F238E27FC236}">
                  <a16:creationId xmlns:a16="http://schemas.microsoft.com/office/drawing/2014/main" id="{EC3E0176-8E2F-4B25-95A7-943E3C475B0A}"/>
                </a:ext>
              </a:extLst>
            </p:cNvPr>
            <p:cNvSpPr/>
            <p:nvPr/>
          </p:nvSpPr>
          <p:spPr>
            <a:xfrm rot="5400000">
              <a:off x="5979857" y="2839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04" name="任意多边形: 形状 403">
              <a:extLst>
                <a:ext uri="{FF2B5EF4-FFF2-40B4-BE49-F238E27FC236}">
                  <a16:creationId xmlns:a16="http://schemas.microsoft.com/office/drawing/2014/main" id="{F29320EF-AD46-4E5B-9212-B2258CDF0426}"/>
                </a:ext>
              </a:extLst>
            </p:cNvPr>
            <p:cNvSpPr/>
            <p:nvPr/>
          </p:nvSpPr>
          <p:spPr>
            <a:xfrm rot="5400000">
              <a:off x="6754557" y="2839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05" name="任意多边形: 形状 404">
              <a:extLst>
                <a:ext uri="{FF2B5EF4-FFF2-40B4-BE49-F238E27FC236}">
                  <a16:creationId xmlns:a16="http://schemas.microsoft.com/office/drawing/2014/main" id="{F0A59B44-BA63-4DC7-827C-1F1AE1AB2F1B}"/>
                </a:ext>
              </a:extLst>
            </p:cNvPr>
            <p:cNvSpPr/>
            <p:nvPr/>
          </p:nvSpPr>
          <p:spPr>
            <a:xfrm rot="5400000">
              <a:off x="7529257" y="2839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06" name="任意多边形: 形状 405">
              <a:extLst>
                <a:ext uri="{FF2B5EF4-FFF2-40B4-BE49-F238E27FC236}">
                  <a16:creationId xmlns:a16="http://schemas.microsoft.com/office/drawing/2014/main" id="{FA773A79-D5C3-4C64-B414-B8742CE703F0}"/>
                </a:ext>
              </a:extLst>
            </p:cNvPr>
            <p:cNvSpPr/>
            <p:nvPr/>
          </p:nvSpPr>
          <p:spPr>
            <a:xfrm rot="5400000">
              <a:off x="8303957" y="2839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07" name="任意多边形: 形状 406">
              <a:extLst>
                <a:ext uri="{FF2B5EF4-FFF2-40B4-BE49-F238E27FC236}">
                  <a16:creationId xmlns:a16="http://schemas.microsoft.com/office/drawing/2014/main" id="{7C704434-2447-4FF9-B719-59C26C6CCE6D}"/>
                </a:ext>
              </a:extLst>
            </p:cNvPr>
            <p:cNvSpPr/>
            <p:nvPr/>
          </p:nvSpPr>
          <p:spPr>
            <a:xfrm rot="5400000">
              <a:off x="9078657" y="2839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08" name="任意多边形: 形状 407">
              <a:extLst>
                <a:ext uri="{FF2B5EF4-FFF2-40B4-BE49-F238E27FC236}">
                  <a16:creationId xmlns:a16="http://schemas.microsoft.com/office/drawing/2014/main" id="{E66BBDFF-6D35-4B73-B8CE-E3A6D697C826}"/>
                </a:ext>
              </a:extLst>
            </p:cNvPr>
            <p:cNvSpPr/>
            <p:nvPr/>
          </p:nvSpPr>
          <p:spPr>
            <a:xfrm rot="5400000">
              <a:off x="9853357" y="2839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09" name="任意多边形: 形状 408">
              <a:extLst>
                <a:ext uri="{FF2B5EF4-FFF2-40B4-BE49-F238E27FC236}">
                  <a16:creationId xmlns:a16="http://schemas.microsoft.com/office/drawing/2014/main" id="{D25C8B67-66F3-429C-8875-4B6CD2CD1750}"/>
                </a:ext>
              </a:extLst>
            </p:cNvPr>
            <p:cNvSpPr/>
            <p:nvPr/>
          </p:nvSpPr>
          <p:spPr>
            <a:xfrm rot="5400000">
              <a:off x="10628057" y="2839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10" name="任意多边形: 形状 409">
              <a:extLst>
                <a:ext uri="{FF2B5EF4-FFF2-40B4-BE49-F238E27FC236}">
                  <a16:creationId xmlns:a16="http://schemas.microsoft.com/office/drawing/2014/main" id="{D72EB113-3CDA-4606-8BAA-8DC9DF83CC55}"/>
                </a:ext>
              </a:extLst>
            </p:cNvPr>
            <p:cNvSpPr/>
            <p:nvPr/>
          </p:nvSpPr>
          <p:spPr>
            <a:xfrm rot="5400000">
              <a:off x="11402757" y="2839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11" name="任意多边形: 形状 410">
              <a:extLst>
                <a:ext uri="{FF2B5EF4-FFF2-40B4-BE49-F238E27FC236}">
                  <a16:creationId xmlns:a16="http://schemas.microsoft.com/office/drawing/2014/main" id="{A564608D-65F4-4954-BC33-6CD7B72007F9}"/>
                </a:ext>
              </a:extLst>
            </p:cNvPr>
            <p:cNvSpPr/>
            <p:nvPr/>
          </p:nvSpPr>
          <p:spPr>
            <a:xfrm rot="5400000">
              <a:off x="556957" y="9570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12" name="任意多边形: 形状 411">
              <a:extLst>
                <a:ext uri="{FF2B5EF4-FFF2-40B4-BE49-F238E27FC236}">
                  <a16:creationId xmlns:a16="http://schemas.microsoft.com/office/drawing/2014/main" id="{FD3EDE53-207F-44AA-A2B2-E60237DDBC69}"/>
                </a:ext>
              </a:extLst>
            </p:cNvPr>
            <p:cNvSpPr/>
            <p:nvPr/>
          </p:nvSpPr>
          <p:spPr>
            <a:xfrm rot="5400000">
              <a:off x="1331657" y="9570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13" name="任意多边形: 形状 412">
              <a:extLst>
                <a:ext uri="{FF2B5EF4-FFF2-40B4-BE49-F238E27FC236}">
                  <a16:creationId xmlns:a16="http://schemas.microsoft.com/office/drawing/2014/main" id="{8DCDBA2F-2AFB-4473-8C61-5FA6EABB1EF1}"/>
                </a:ext>
              </a:extLst>
            </p:cNvPr>
            <p:cNvSpPr/>
            <p:nvPr/>
          </p:nvSpPr>
          <p:spPr>
            <a:xfrm rot="5400000">
              <a:off x="2106357" y="9570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14" name="任意多边形: 形状 413">
              <a:extLst>
                <a:ext uri="{FF2B5EF4-FFF2-40B4-BE49-F238E27FC236}">
                  <a16:creationId xmlns:a16="http://schemas.microsoft.com/office/drawing/2014/main" id="{C9C8A1E0-EAB0-431F-990C-BFDCD5E558E6}"/>
                </a:ext>
              </a:extLst>
            </p:cNvPr>
            <p:cNvSpPr/>
            <p:nvPr/>
          </p:nvSpPr>
          <p:spPr>
            <a:xfrm rot="5400000">
              <a:off x="2881057" y="9570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15" name="任意多边形: 形状 414">
              <a:extLst>
                <a:ext uri="{FF2B5EF4-FFF2-40B4-BE49-F238E27FC236}">
                  <a16:creationId xmlns:a16="http://schemas.microsoft.com/office/drawing/2014/main" id="{B25C2879-A09F-41F8-8703-99639C1B9DDC}"/>
                </a:ext>
              </a:extLst>
            </p:cNvPr>
            <p:cNvSpPr/>
            <p:nvPr/>
          </p:nvSpPr>
          <p:spPr>
            <a:xfrm rot="5400000">
              <a:off x="3655757" y="9570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16" name="任意多边形: 形状 415">
              <a:extLst>
                <a:ext uri="{FF2B5EF4-FFF2-40B4-BE49-F238E27FC236}">
                  <a16:creationId xmlns:a16="http://schemas.microsoft.com/office/drawing/2014/main" id="{5039E95C-59E7-49D3-AE28-D3311977E9C5}"/>
                </a:ext>
              </a:extLst>
            </p:cNvPr>
            <p:cNvSpPr/>
            <p:nvPr/>
          </p:nvSpPr>
          <p:spPr>
            <a:xfrm rot="5400000">
              <a:off x="4430457" y="9570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17" name="任意多边形: 形状 416">
              <a:extLst>
                <a:ext uri="{FF2B5EF4-FFF2-40B4-BE49-F238E27FC236}">
                  <a16:creationId xmlns:a16="http://schemas.microsoft.com/office/drawing/2014/main" id="{971FEFFC-B64D-441D-9394-A17C1257663D}"/>
                </a:ext>
              </a:extLst>
            </p:cNvPr>
            <p:cNvSpPr/>
            <p:nvPr/>
          </p:nvSpPr>
          <p:spPr>
            <a:xfrm rot="5400000">
              <a:off x="5205157" y="9570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18" name="任意多边形: 形状 417">
              <a:extLst>
                <a:ext uri="{FF2B5EF4-FFF2-40B4-BE49-F238E27FC236}">
                  <a16:creationId xmlns:a16="http://schemas.microsoft.com/office/drawing/2014/main" id="{77047B37-A43C-4936-88D3-EF246C5A1ECA}"/>
                </a:ext>
              </a:extLst>
            </p:cNvPr>
            <p:cNvSpPr/>
            <p:nvPr/>
          </p:nvSpPr>
          <p:spPr>
            <a:xfrm rot="5400000">
              <a:off x="5979857" y="9570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19" name="任意多边形: 形状 418">
              <a:extLst>
                <a:ext uri="{FF2B5EF4-FFF2-40B4-BE49-F238E27FC236}">
                  <a16:creationId xmlns:a16="http://schemas.microsoft.com/office/drawing/2014/main" id="{F25F9DDA-140A-4F7F-A2B0-FC6BB3797133}"/>
                </a:ext>
              </a:extLst>
            </p:cNvPr>
            <p:cNvSpPr/>
            <p:nvPr/>
          </p:nvSpPr>
          <p:spPr>
            <a:xfrm rot="5400000">
              <a:off x="6754557" y="9570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20" name="任意多边形: 形状 419">
              <a:extLst>
                <a:ext uri="{FF2B5EF4-FFF2-40B4-BE49-F238E27FC236}">
                  <a16:creationId xmlns:a16="http://schemas.microsoft.com/office/drawing/2014/main" id="{3129CECE-55E6-4F6D-8BA7-41CC1245894C}"/>
                </a:ext>
              </a:extLst>
            </p:cNvPr>
            <p:cNvSpPr/>
            <p:nvPr/>
          </p:nvSpPr>
          <p:spPr>
            <a:xfrm rot="5400000">
              <a:off x="7529257" y="9570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21" name="任意多边形: 形状 420">
              <a:extLst>
                <a:ext uri="{FF2B5EF4-FFF2-40B4-BE49-F238E27FC236}">
                  <a16:creationId xmlns:a16="http://schemas.microsoft.com/office/drawing/2014/main" id="{95CFD2C9-6A86-407C-818B-81A54EB44EDD}"/>
                </a:ext>
              </a:extLst>
            </p:cNvPr>
            <p:cNvSpPr/>
            <p:nvPr/>
          </p:nvSpPr>
          <p:spPr>
            <a:xfrm rot="5400000">
              <a:off x="8303957" y="9570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22" name="任意多边形: 形状 421">
              <a:extLst>
                <a:ext uri="{FF2B5EF4-FFF2-40B4-BE49-F238E27FC236}">
                  <a16:creationId xmlns:a16="http://schemas.microsoft.com/office/drawing/2014/main" id="{8CECB671-0660-4ADE-B4F1-68475EEA36DC}"/>
                </a:ext>
              </a:extLst>
            </p:cNvPr>
            <p:cNvSpPr/>
            <p:nvPr/>
          </p:nvSpPr>
          <p:spPr>
            <a:xfrm rot="5400000">
              <a:off x="9078657" y="9570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23" name="任意多边形: 形状 422">
              <a:extLst>
                <a:ext uri="{FF2B5EF4-FFF2-40B4-BE49-F238E27FC236}">
                  <a16:creationId xmlns:a16="http://schemas.microsoft.com/office/drawing/2014/main" id="{3D4628CA-FF50-45D5-A302-F5A79344E1F0}"/>
                </a:ext>
              </a:extLst>
            </p:cNvPr>
            <p:cNvSpPr/>
            <p:nvPr/>
          </p:nvSpPr>
          <p:spPr>
            <a:xfrm rot="5400000">
              <a:off x="9853357" y="9570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24" name="任意多边形: 形状 423">
              <a:extLst>
                <a:ext uri="{FF2B5EF4-FFF2-40B4-BE49-F238E27FC236}">
                  <a16:creationId xmlns:a16="http://schemas.microsoft.com/office/drawing/2014/main" id="{2DEB299B-99B4-40E6-AA94-E714752B1192}"/>
                </a:ext>
              </a:extLst>
            </p:cNvPr>
            <p:cNvSpPr/>
            <p:nvPr/>
          </p:nvSpPr>
          <p:spPr>
            <a:xfrm rot="5400000">
              <a:off x="10628057" y="9570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25" name="任意多边形: 形状 424">
              <a:extLst>
                <a:ext uri="{FF2B5EF4-FFF2-40B4-BE49-F238E27FC236}">
                  <a16:creationId xmlns:a16="http://schemas.microsoft.com/office/drawing/2014/main" id="{F0E1585F-AFDE-4DFE-85B2-4ECA75BC1741}"/>
                </a:ext>
              </a:extLst>
            </p:cNvPr>
            <p:cNvSpPr/>
            <p:nvPr/>
          </p:nvSpPr>
          <p:spPr>
            <a:xfrm rot="5400000">
              <a:off x="11402757" y="9570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26" name="任意多边形: 形状 425">
              <a:extLst>
                <a:ext uri="{FF2B5EF4-FFF2-40B4-BE49-F238E27FC236}">
                  <a16:creationId xmlns:a16="http://schemas.microsoft.com/office/drawing/2014/main" id="{FCA6B353-8B3C-4564-A360-D81EDFD59471}"/>
                </a:ext>
              </a:extLst>
            </p:cNvPr>
            <p:cNvSpPr/>
            <p:nvPr/>
          </p:nvSpPr>
          <p:spPr>
            <a:xfrm rot="5400000">
              <a:off x="556957" y="16301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27" name="任意多边形: 形状 426">
              <a:extLst>
                <a:ext uri="{FF2B5EF4-FFF2-40B4-BE49-F238E27FC236}">
                  <a16:creationId xmlns:a16="http://schemas.microsoft.com/office/drawing/2014/main" id="{CE21344A-202F-4C7D-98BC-FB5F50D8CFCF}"/>
                </a:ext>
              </a:extLst>
            </p:cNvPr>
            <p:cNvSpPr/>
            <p:nvPr/>
          </p:nvSpPr>
          <p:spPr>
            <a:xfrm rot="5400000">
              <a:off x="1331657" y="16301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28" name="任意多边形: 形状 427">
              <a:extLst>
                <a:ext uri="{FF2B5EF4-FFF2-40B4-BE49-F238E27FC236}">
                  <a16:creationId xmlns:a16="http://schemas.microsoft.com/office/drawing/2014/main" id="{9A58679F-C4B2-4281-9CEF-546EFE1D6470}"/>
                </a:ext>
              </a:extLst>
            </p:cNvPr>
            <p:cNvSpPr/>
            <p:nvPr/>
          </p:nvSpPr>
          <p:spPr>
            <a:xfrm rot="5400000">
              <a:off x="2106357" y="16301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29" name="任意多边形: 形状 428">
              <a:extLst>
                <a:ext uri="{FF2B5EF4-FFF2-40B4-BE49-F238E27FC236}">
                  <a16:creationId xmlns:a16="http://schemas.microsoft.com/office/drawing/2014/main" id="{3BC23C95-1BC4-49D3-8D72-36AE3C9EB92E}"/>
                </a:ext>
              </a:extLst>
            </p:cNvPr>
            <p:cNvSpPr/>
            <p:nvPr/>
          </p:nvSpPr>
          <p:spPr>
            <a:xfrm rot="5400000">
              <a:off x="2881057" y="16301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30" name="任意多边形: 形状 429">
              <a:extLst>
                <a:ext uri="{FF2B5EF4-FFF2-40B4-BE49-F238E27FC236}">
                  <a16:creationId xmlns:a16="http://schemas.microsoft.com/office/drawing/2014/main" id="{C67EA9D0-36A1-4469-917E-287B54CA3293}"/>
                </a:ext>
              </a:extLst>
            </p:cNvPr>
            <p:cNvSpPr/>
            <p:nvPr/>
          </p:nvSpPr>
          <p:spPr>
            <a:xfrm rot="5400000">
              <a:off x="3655757" y="16301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31" name="任意多边形: 形状 430">
              <a:extLst>
                <a:ext uri="{FF2B5EF4-FFF2-40B4-BE49-F238E27FC236}">
                  <a16:creationId xmlns:a16="http://schemas.microsoft.com/office/drawing/2014/main" id="{43DED0E4-F335-4579-8EAB-4715CE01CE46}"/>
                </a:ext>
              </a:extLst>
            </p:cNvPr>
            <p:cNvSpPr/>
            <p:nvPr/>
          </p:nvSpPr>
          <p:spPr>
            <a:xfrm rot="5400000">
              <a:off x="4430457" y="16301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32" name="任意多边形: 形状 431">
              <a:extLst>
                <a:ext uri="{FF2B5EF4-FFF2-40B4-BE49-F238E27FC236}">
                  <a16:creationId xmlns:a16="http://schemas.microsoft.com/office/drawing/2014/main" id="{DB02E5D3-7C28-4A60-98CE-184D52A7E15A}"/>
                </a:ext>
              </a:extLst>
            </p:cNvPr>
            <p:cNvSpPr/>
            <p:nvPr/>
          </p:nvSpPr>
          <p:spPr>
            <a:xfrm rot="5400000">
              <a:off x="5205157" y="16301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33" name="任意多边形: 形状 432">
              <a:extLst>
                <a:ext uri="{FF2B5EF4-FFF2-40B4-BE49-F238E27FC236}">
                  <a16:creationId xmlns:a16="http://schemas.microsoft.com/office/drawing/2014/main" id="{4A6D4A43-28D8-401D-9047-2923DB509FA9}"/>
                </a:ext>
              </a:extLst>
            </p:cNvPr>
            <p:cNvSpPr/>
            <p:nvPr/>
          </p:nvSpPr>
          <p:spPr>
            <a:xfrm rot="5400000">
              <a:off x="5979857" y="16301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34" name="任意多边形: 形状 433">
              <a:extLst>
                <a:ext uri="{FF2B5EF4-FFF2-40B4-BE49-F238E27FC236}">
                  <a16:creationId xmlns:a16="http://schemas.microsoft.com/office/drawing/2014/main" id="{A565CC2A-1300-409C-8F53-BB46649E0578}"/>
                </a:ext>
              </a:extLst>
            </p:cNvPr>
            <p:cNvSpPr/>
            <p:nvPr/>
          </p:nvSpPr>
          <p:spPr>
            <a:xfrm rot="5400000">
              <a:off x="6754557" y="16301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35" name="任意多边形: 形状 434">
              <a:extLst>
                <a:ext uri="{FF2B5EF4-FFF2-40B4-BE49-F238E27FC236}">
                  <a16:creationId xmlns:a16="http://schemas.microsoft.com/office/drawing/2014/main" id="{E48FE359-03AA-4E6D-9E18-3C771F514253}"/>
                </a:ext>
              </a:extLst>
            </p:cNvPr>
            <p:cNvSpPr/>
            <p:nvPr/>
          </p:nvSpPr>
          <p:spPr>
            <a:xfrm rot="5400000">
              <a:off x="7529257" y="16301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36" name="任意多边形: 形状 435">
              <a:extLst>
                <a:ext uri="{FF2B5EF4-FFF2-40B4-BE49-F238E27FC236}">
                  <a16:creationId xmlns:a16="http://schemas.microsoft.com/office/drawing/2014/main" id="{E3ADD977-14BF-4FCB-ABB7-7397F963904B}"/>
                </a:ext>
              </a:extLst>
            </p:cNvPr>
            <p:cNvSpPr/>
            <p:nvPr/>
          </p:nvSpPr>
          <p:spPr>
            <a:xfrm rot="5400000">
              <a:off x="8303957" y="16301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37" name="任意多边形: 形状 436">
              <a:extLst>
                <a:ext uri="{FF2B5EF4-FFF2-40B4-BE49-F238E27FC236}">
                  <a16:creationId xmlns:a16="http://schemas.microsoft.com/office/drawing/2014/main" id="{AA08BA5E-B44B-44B1-A21E-D95FC7D3A441}"/>
                </a:ext>
              </a:extLst>
            </p:cNvPr>
            <p:cNvSpPr/>
            <p:nvPr/>
          </p:nvSpPr>
          <p:spPr>
            <a:xfrm rot="5400000">
              <a:off x="9078657" y="16301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38" name="任意多边形: 形状 437">
              <a:extLst>
                <a:ext uri="{FF2B5EF4-FFF2-40B4-BE49-F238E27FC236}">
                  <a16:creationId xmlns:a16="http://schemas.microsoft.com/office/drawing/2014/main" id="{816E32E3-43FA-4116-9CA0-60E0456CCF5A}"/>
                </a:ext>
              </a:extLst>
            </p:cNvPr>
            <p:cNvSpPr/>
            <p:nvPr/>
          </p:nvSpPr>
          <p:spPr>
            <a:xfrm rot="5400000">
              <a:off x="9853357" y="16301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39" name="任意多边形: 形状 438">
              <a:extLst>
                <a:ext uri="{FF2B5EF4-FFF2-40B4-BE49-F238E27FC236}">
                  <a16:creationId xmlns:a16="http://schemas.microsoft.com/office/drawing/2014/main" id="{3AFF2FCD-326E-426D-96C1-BDF3BF26E21E}"/>
                </a:ext>
              </a:extLst>
            </p:cNvPr>
            <p:cNvSpPr/>
            <p:nvPr/>
          </p:nvSpPr>
          <p:spPr>
            <a:xfrm rot="5400000">
              <a:off x="10628057" y="16301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40" name="任意多边形: 形状 439">
              <a:extLst>
                <a:ext uri="{FF2B5EF4-FFF2-40B4-BE49-F238E27FC236}">
                  <a16:creationId xmlns:a16="http://schemas.microsoft.com/office/drawing/2014/main" id="{DC191BB5-8FE8-4502-89D9-BCAB6D233D5C}"/>
                </a:ext>
              </a:extLst>
            </p:cNvPr>
            <p:cNvSpPr/>
            <p:nvPr/>
          </p:nvSpPr>
          <p:spPr>
            <a:xfrm rot="5400000">
              <a:off x="11402757" y="16301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41" name="任意多边形: 形状 440">
              <a:extLst>
                <a:ext uri="{FF2B5EF4-FFF2-40B4-BE49-F238E27FC236}">
                  <a16:creationId xmlns:a16="http://schemas.microsoft.com/office/drawing/2014/main" id="{9804457D-E8D4-4F04-B665-9EE2D5B293B4}"/>
                </a:ext>
              </a:extLst>
            </p:cNvPr>
            <p:cNvSpPr/>
            <p:nvPr/>
          </p:nvSpPr>
          <p:spPr>
            <a:xfrm rot="5400000">
              <a:off x="556957" y="23032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42" name="任意多边形: 形状 441">
              <a:extLst>
                <a:ext uri="{FF2B5EF4-FFF2-40B4-BE49-F238E27FC236}">
                  <a16:creationId xmlns:a16="http://schemas.microsoft.com/office/drawing/2014/main" id="{77BB435D-1291-412D-B5A3-ED04E148FAD1}"/>
                </a:ext>
              </a:extLst>
            </p:cNvPr>
            <p:cNvSpPr/>
            <p:nvPr/>
          </p:nvSpPr>
          <p:spPr>
            <a:xfrm rot="5400000">
              <a:off x="1331657" y="23032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43" name="任意多边形: 形状 442">
              <a:extLst>
                <a:ext uri="{FF2B5EF4-FFF2-40B4-BE49-F238E27FC236}">
                  <a16:creationId xmlns:a16="http://schemas.microsoft.com/office/drawing/2014/main" id="{737610BE-7BB6-49F0-847C-817B275F0BB0}"/>
                </a:ext>
              </a:extLst>
            </p:cNvPr>
            <p:cNvSpPr/>
            <p:nvPr/>
          </p:nvSpPr>
          <p:spPr>
            <a:xfrm rot="5400000">
              <a:off x="2106357" y="23032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44" name="任意多边形: 形状 443">
              <a:extLst>
                <a:ext uri="{FF2B5EF4-FFF2-40B4-BE49-F238E27FC236}">
                  <a16:creationId xmlns:a16="http://schemas.microsoft.com/office/drawing/2014/main" id="{9C1F5DA4-8E35-4C54-A861-39BC2F53EB68}"/>
                </a:ext>
              </a:extLst>
            </p:cNvPr>
            <p:cNvSpPr/>
            <p:nvPr/>
          </p:nvSpPr>
          <p:spPr>
            <a:xfrm rot="5400000">
              <a:off x="2881057" y="23032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45" name="任意多边形: 形状 444">
              <a:extLst>
                <a:ext uri="{FF2B5EF4-FFF2-40B4-BE49-F238E27FC236}">
                  <a16:creationId xmlns:a16="http://schemas.microsoft.com/office/drawing/2014/main" id="{3D286354-6644-470E-A21B-4E669C82100A}"/>
                </a:ext>
              </a:extLst>
            </p:cNvPr>
            <p:cNvSpPr/>
            <p:nvPr/>
          </p:nvSpPr>
          <p:spPr>
            <a:xfrm rot="5400000">
              <a:off x="3655757" y="23032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46" name="任意多边形: 形状 445">
              <a:extLst>
                <a:ext uri="{FF2B5EF4-FFF2-40B4-BE49-F238E27FC236}">
                  <a16:creationId xmlns:a16="http://schemas.microsoft.com/office/drawing/2014/main" id="{91FB8F80-6C60-40B8-AE21-679453866A66}"/>
                </a:ext>
              </a:extLst>
            </p:cNvPr>
            <p:cNvSpPr/>
            <p:nvPr/>
          </p:nvSpPr>
          <p:spPr>
            <a:xfrm rot="5400000">
              <a:off x="4430457" y="23032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47" name="任意多边形: 形状 446">
              <a:extLst>
                <a:ext uri="{FF2B5EF4-FFF2-40B4-BE49-F238E27FC236}">
                  <a16:creationId xmlns:a16="http://schemas.microsoft.com/office/drawing/2014/main" id="{C533813B-7F1A-43FB-B434-B45A20A4BB5A}"/>
                </a:ext>
              </a:extLst>
            </p:cNvPr>
            <p:cNvSpPr/>
            <p:nvPr/>
          </p:nvSpPr>
          <p:spPr>
            <a:xfrm rot="5400000">
              <a:off x="5205157" y="23032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48" name="任意多边形: 形状 447">
              <a:extLst>
                <a:ext uri="{FF2B5EF4-FFF2-40B4-BE49-F238E27FC236}">
                  <a16:creationId xmlns:a16="http://schemas.microsoft.com/office/drawing/2014/main" id="{F303368A-46B9-42F4-9965-A524DC65ED85}"/>
                </a:ext>
              </a:extLst>
            </p:cNvPr>
            <p:cNvSpPr/>
            <p:nvPr/>
          </p:nvSpPr>
          <p:spPr>
            <a:xfrm rot="5400000">
              <a:off x="5979857" y="23032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49" name="任意多边形: 形状 448">
              <a:extLst>
                <a:ext uri="{FF2B5EF4-FFF2-40B4-BE49-F238E27FC236}">
                  <a16:creationId xmlns:a16="http://schemas.microsoft.com/office/drawing/2014/main" id="{D446DD0F-2A0E-4719-8073-B54D93160BBC}"/>
                </a:ext>
              </a:extLst>
            </p:cNvPr>
            <p:cNvSpPr/>
            <p:nvPr/>
          </p:nvSpPr>
          <p:spPr>
            <a:xfrm rot="5400000">
              <a:off x="6754557" y="23032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50" name="任意多边形: 形状 449">
              <a:extLst>
                <a:ext uri="{FF2B5EF4-FFF2-40B4-BE49-F238E27FC236}">
                  <a16:creationId xmlns:a16="http://schemas.microsoft.com/office/drawing/2014/main" id="{0447A52E-577F-4651-9445-DC742B783C3A}"/>
                </a:ext>
              </a:extLst>
            </p:cNvPr>
            <p:cNvSpPr/>
            <p:nvPr/>
          </p:nvSpPr>
          <p:spPr>
            <a:xfrm rot="5400000">
              <a:off x="7529257" y="23032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51" name="任意多边形: 形状 450">
              <a:extLst>
                <a:ext uri="{FF2B5EF4-FFF2-40B4-BE49-F238E27FC236}">
                  <a16:creationId xmlns:a16="http://schemas.microsoft.com/office/drawing/2014/main" id="{384237C9-E529-4879-874F-7E01C3D4170F}"/>
                </a:ext>
              </a:extLst>
            </p:cNvPr>
            <p:cNvSpPr/>
            <p:nvPr/>
          </p:nvSpPr>
          <p:spPr>
            <a:xfrm rot="5400000">
              <a:off x="8303957" y="23032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52" name="任意多边形: 形状 451">
              <a:extLst>
                <a:ext uri="{FF2B5EF4-FFF2-40B4-BE49-F238E27FC236}">
                  <a16:creationId xmlns:a16="http://schemas.microsoft.com/office/drawing/2014/main" id="{E3D83F1B-6C63-489B-A035-D57D4BF12E61}"/>
                </a:ext>
              </a:extLst>
            </p:cNvPr>
            <p:cNvSpPr/>
            <p:nvPr/>
          </p:nvSpPr>
          <p:spPr>
            <a:xfrm rot="5400000">
              <a:off x="9078657" y="23032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53" name="任意多边形: 形状 452">
              <a:extLst>
                <a:ext uri="{FF2B5EF4-FFF2-40B4-BE49-F238E27FC236}">
                  <a16:creationId xmlns:a16="http://schemas.microsoft.com/office/drawing/2014/main" id="{E577A329-C221-4DC5-9650-34B34E1E44B2}"/>
                </a:ext>
              </a:extLst>
            </p:cNvPr>
            <p:cNvSpPr/>
            <p:nvPr/>
          </p:nvSpPr>
          <p:spPr>
            <a:xfrm rot="5400000">
              <a:off x="9853357" y="23032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54" name="任意多边形: 形状 453">
              <a:extLst>
                <a:ext uri="{FF2B5EF4-FFF2-40B4-BE49-F238E27FC236}">
                  <a16:creationId xmlns:a16="http://schemas.microsoft.com/office/drawing/2014/main" id="{C919B621-CB5C-4E5C-8302-86C48594CB20}"/>
                </a:ext>
              </a:extLst>
            </p:cNvPr>
            <p:cNvSpPr/>
            <p:nvPr/>
          </p:nvSpPr>
          <p:spPr>
            <a:xfrm rot="5400000">
              <a:off x="10628057" y="23032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55" name="任意多边形: 形状 454">
              <a:extLst>
                <a:ext uri="{FF2B5EF4-FFF2-40B4-BE49-F238E27FC236}">
                  <a16:creationId xmlns:a16="http://schemas.microsoft.com/office/drawing/2014/main" id="{DCA6F6DB-E134-4405-A46C-0F145F19DB38}"/>
                </a:ext>
              </a:extLst>
            </p:cNvPr>
            <p:cNvSpPr/>
            <p:nvPr/>
          </p:nvSpPr>
          <p:spPr>
            <a:xfrm rot="5400000">
              <a:off x="11402757" y="23032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56" name="任意多边形: 形状 455">
              <a:extLst>
                <a:ext uri="{FF2B5EF4-FFF2-40B4-BE49-F238E27FC236}">
                  <a16:creationId xmlns:a16="http://schemas.microsoft.com/office/drawing/2014/main" id="{774C2FAB-BCE6-493E-B892-13789667AA51}"/>
                </a:ext>
              </a:extLst>
            </p:cNvPr>
            <p:cNvSpPr/>
            <p:nvPr/>
          </p:nvSpPr>
          <p:spPr>
            <a:xfrm rot="5400000">
              <a:off x="556957" y="29763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57" name="任意多边形: 形状 456">
              <a:extLst>
                <a:ext uri="{FF2B5EF4-FFF2-40B4-BE49-F238E27FC236}">
                  <a16:creationId xmlns:a16="http://schemas.microsoft.com/office/drawing/2014/main" id="{9DCB600D-8D5E-44DA-8CEF-5C780383D23C}"/>
                </a:ext>
              </a:extLst>
            </p:cNvPr>
            <p:cNvSpPr/>
            <p:nvPr/>
          </p:nvSpPr>
          <p:spPr>
            <a:xfrm rot="5400000">
              <a:off x="1331657" y="29763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58" name="任意多边形: 形状 457">
              <a:extLst>
                <a:ext uri="{FF2B5EF4-FFF2-40B4-BE49-F238E27FC236}">
                  <a16:creationId xmlns:a16="http://schemas.microsoft.com/office/drawing/2014/main" id="{B0420AD4-D258-4A4B-A693-A7D63E7A2F09}"/>
                </a:ext>
              </a:extLst>
            </p:cNvPr>
            <p:cNvSpPr/>
            <p:nvPr/>
          </p:nvSpPr>
          <p:spPr>
            <a:xfrm rot="5400000">
              <a:off x="2106357" y="29763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59" name="任意多边形: 形状 458">
              <a:extLst>
                <a:ext uri="{FF2B5EF4-FFF2-40B4-BE49-F238E27FC236}">
                  <a16:creationId xmlns:a16="http://schemas.microsoft.com/office/drawing/2014/main" id="{9594D51F-AAE7-4B81-A660-2FBFFCBA0B65}"/>
                </a:ext>
              </a:extLst>
            </p:cNvPr>
            <p:cNvSpPr/>
            <p:nvPr/>
          </p:nvSpPr>
          <p:spPr>
            <a:xfrm rot="5400000">
              <a:off x="2881057" y="29763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15" name="任意多边形: 形状 614">
              <a:extLst>
                <a:ext uri="{FF2B5EF4-FFF2-40B4-BE49-F238E27FC236}">
                  <a16:creationId xmlns:a16="http://schemas.microsoft.com/office/drawing/2014/main" id="{68163999-AA68-4BB7-A2BD-2F9B7430C221}"/>
                </a:ext>
              </a:extLst>
            </p:cNvPr>
            <p:cNvSpPr/>
            <p:nvPr/>
          </p:nvSpPr>
          <p:spPr>
            <a:xfrm rot="5400000">
              <a:off x="3655757" y="29763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16" name="任意多边形: 形状 615">
              <a:extLst>
                <a:ext uri="{FF2B5EF4-FFF2-40B4-BE49-F238E27FC236}">
                  <a16:creationId xmlns:a16="http://schemas.microsoft.com/office/drawing/2014/main" id="{6D9C5433-76BD-470A-9E5B-719260482DA8}"/>
                </a:ext>
              </a:extLst>
            </p:cNvPr>
            <p:cNvSpPr/>
            <p:nvPr/>
          </p:nvSpPr>
          <p:spPr>
            <a:xfrm rot="5400000">
              <a:off x="4430457" y="29763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17" name="任意多边形: 形状 616">
              <a:extLst>
                <a:ext uri="{FF2B5EF4-FFF2-40B4-BE49-F238E27FC236}">
                  <a16:creationId xmlns:a16="http://schemas.microsoft.com/office/drawing/2014/main" id="{3696C712-5957-49D8-B984-AFAA58B9C124}"/>
                </a:ext>
              </a:extLst>
            </p:cNvPr>
            <p:cNvSpPr/>
            <p:nvPr/>
          </p:nvSpPr>
          <p:spPr>
            <a:xfrm rot="5400000">
              <a:off x="5205157" y="29763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18" name="任意多边形: 形状 617">
              <a:extLst>
                <a:ext uri="{FF2B5EF4-FFF2-40B4-BE49-F238E27FC236}">
                  <a16:creationId xmlns:a16="http://schemas.microsoft.com/office/drawing/2014/main" id="{9A2E64D9-BAB3-4B22-BFAD-8FB5F1447FDF}"/>
                </a:ext>
              </a:extLst>
            </p:cNvPr>
            <p:cNvSpPr/>
            <p:nvPr/>
          </p:nvSpPr>
          <p:spPr>
            <a:xfrm rot="5400000">
              <a:off x="5979857" y="29763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19" name="任意多边形: 形状 618">
              <a:extLst>
                <a:ext uri="{FF2B5EF4-FFF2-40B4-BE49-F238E27FC236}">
                  <a16:creationId xmlns:a16="http://schemas.microsoft.com/office/drawing/2014/main" id="{3B1299F1-F00A-4F91-8EDE-9D9A80225FDD}"/>
                </a:ext>
              </a:extLst>
            </p:cNvPr>
            <p:cNvSpPr/>
            <p:nvPr/>
          </p:nvSpPr>
          <p:spPr>
            <a:xfrm rot="5400000">
              <a:off x="6754557" y="29763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20" name="任意多边形: 形状 619">
              <a:extLst>
                <a:ext uri="{FF2B5EF4-FFF2-40B4-BE49-F238E27FC236}">
                  <a16:creationId xmlns:a16="http://schemas.microsoft.com/office/drawing/2014/main" id="{4A440458-6E14-436A-86DC-7BA71A73D63C}"/>
                </a:ext>
              </a:extLst>
            </p:cNvPr>
            <p:cNvSpPr/>
            <p:nvPr/>
          </p:nvSpPr>
          <p:spPr>
            <a:xfrm rot="5400000">
              <a:off x="7529257" y="29763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21" name="任意多边形: 形状 620">
              <a:extLst>
                <a:ext uri="{FF2B5EF4-FFF2-40B4-BE49-F238E27FC236}">
                  <a16:creationId xmlns:a16="http://schemas.microsoft.com/office/drawing/2014/main" id="{503B5434-C65A-4CE6-B42B-123B46F6E7A8}"/>
                </a:ext>
              </a:extLst>
            </p:cNvPr>
            <p:cNvSpPr/>
            <p:nvPr/>
          </p:nvSpPr>
          <p:spPr>
            <a:xfrm rot="5400000">
              <a:off x="8303957" y="29763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22" name="任意多边形: 形状 621">
              <a:extLst>
                <a:ext uri="{FF2B5EF4-FFF2-40B4-BE49-F238E27FC236}">
                  <a16:creationId xmlns:a16="http://schemas.microsoft.com/office/drawing/2014/main" id="{5C050FF7-B781-414B-8E54-B6A68AA4570A}"/>
                </a:ext>
              </a:extLst>
            </p:cNvPr>
            <p:cNvSpPr/>
            <p:nvPr/>
          </p:nvSpPr>
          <p:spPr>
            <a:xfrm rot="5400000">
              <a:off x="9078657" y="29763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23" name="任意多边形: 形状 622">
              <a:extLst>
                <a:ext uri="{FF2B5EF4-FFF2-40B4-BE49-F238E27FC236}">
                  <a16:creationId xmlns:a16="http://schemas.microsoft.com/office/drawing/2014/main" id="{954F8543-C61D-498C-8757-21D793335B75}"/>
                </a:ext>
              </a:extLst>
            </p:cNvPr>
            <p:cNvSpPr/>
            <p:nvPr/>
          </p:nvSpPr>
          <p:spPr>
            <a:xfrm rot="5400000">
              <a:off x="9853357" y="29763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24" name="任意多边形: 形状 623">
              <a:extLst>
                <a:ext uri="{FF2B5EF4-FFF2-40B4-BE49-F238E27FC236}">
                  <a16:creationId xmlns:a16="http://schemas.microsoft.com/office/drawing/2014/main" id="{57299904-E660-4069-B377-738FBF616890}"/>
                </a:ext>
              </a:extLst>
            </p:cNvPr>
            <p:cNvSpPr/>
            <p:nvPr/>
          </p:nvSpPr>
          <p:spPr>
            <a:xfrm rot="5400000">
              <a:off x="10628057" y="29763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25" name="任意多边形: 形状 624">
              <a:extLst>
                <a:ext uri="{FF2B5EF4-FFF2-40B4-BE49-F238E27FC236}">
                  <a16:creationId xmlns:a16="http://schemas.microsoft.com/office/drawing/2014/main" id="{FE54346A-1382-4746-B3CD-B4F389EF55AD}"/>
                </a:ext>
              </a:extLst>
            </p:cNvPr>
            <p:cNvSpPr/>
            <p:nvPr/>
          </p:nvSpPr>
          <p:spPr>
            <a:xfrm rot="5400000">
              <a:off x="11402757" y="29763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26" name="任意多边形: 形状 625">
              <a:extLst>
                <a:ext uri="{FF2B5EF4-FFF2-40B4-BE49-F238E27FC236}">
                  <a16:creationId xmlns:a16="http://schemas.microsoft.com/office/drawing/2014/main" id="{46FFB564-049E-41B6-B3A6-1FAC227E040D}"/>
                </a:ext>
              </a:extLst>
            </p:cNvPr>
            <p:cNvSpPr/>
            <p:nvPr/>
          </p:nvSpPr>
          <p:spPr>
            <a:xfrm rot="5400000">
              <a:off x="556957" y="36494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27" name="任意多边形: 形状 626">
              <a:extLst>
                <a:ext uri="{FF2B5EF4-FFF2-40B4-BE49-F238E27FC236}">
                  <a16:creationId xmlns:a16="http://schemas.microsoft.com/office/drawing/2014/main" id="{8FCEF0C9-755B-4341-B97D-408A25A5B7E9}"/>
                </a:ext>
              </a:extLst>
            </p:cNvPr>
            <p:cNvSpPr/>
            <p:nvPr/>
          </p:nvSpPr>
          <p:spPr>
            <a:xfrm rot="5400000">
              <a:off x="1331657" y="36494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28" name="任意多边形: 形状 627">
              <a:extLst>
                <a:ext uri="{FF2B5EF4-FFF2-40B4-BE49-F238E27FC236}">
                  <a16:creationId xmlns:a16="http://schemas.microsoft.com/office/drawing/2014/main" id="{D9391313-960B-4A38-BBEB-DE2C8A85A7CD}"/>
                </a:ext>
              </a:extLst>
            </p:cNvPr>
            <p:cNvSpPr/>
            <p:nvPr/>
          </p:nvSpPr>
          <p:spPr>
            <a:xfrm rot="5400000">
              <a:off x="2106357" y="36494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29" name="任意多边形: 形状 628">
              <a:extLst>
                <a:ext uri="{FF2B5EF4-FFF2-40B4-BE49-F238E27FC236}">
                  <a16:creationId xmlns:a16="http://schemas.microsoft.com/office/drawing/2014/main" id="{048A9898-936F-400D-9FB7-6E3BFE226C2C}"/>
                </a:ext>
              </a:extLst>
            </p:cNvPr>
            <p:cNvSpPr/>
            <p:nvPr/>
          </p:nvSpPr>
          <p:spPr>
            <a:xfrm rot="5400000">
              <a:off x="2881057" y="36494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30" name="任意多边形: 形状 629">
              <a:extLst>
                <a:ext uri="{FF2B5EF4-FFF2-40B4-BE49-F238E27FC236}">
                  <a16:creationId xmlns:a16="http://schemas.microsoft.com/office/drawing/2014/main" id="{3BE183BA-986C-4EC2-9F31-4B5F4923FEA6}"/>
                </a:ext>
              </a:extLst>
            </p:cNvPr>
            <p:cNvSpPr/>
            <p:nvPr/>
          </p:nvSpPr>
          <p:spPr>
            <a:xfrm rot="5400000">
              <a:off x="3655757" y="36494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31" name="任意多边形: 形状 630">
              <a:extLst>
                <a:ext uri="{FF2B5EF4-FFF2-40B4-BE49-F238E27FC236}">
                  <a16:creationId xmlns:a16="http://schemas.microsoft.com/office/drawing/2014/main" id="{2D3D17F9-4733-456D-AF23-895FC8BD6831}"/>
                </a:ext>
              </a:extLst>
            </p:cNvPr>
            <p:cNvSpPr/>
            <p:nvPr/>
          </p:nvSpPr>
          <p:spPr>
            <a:xfrm rot="5400000">
              <a:off x="4430457" y="36494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32" name="任意多边形: 形状 631">
              <a:extLst>
                <a:ext uri="{FF2B5EF4-FFF2-40B4-BE49-F238E27FC236}">
                  <a16:creationId xmlns:a16="http://schemas.microsoft.com/office/drawing/2014/main" id="{351113DF-1DC4-41E5-BC85-AEB0FE95F3D0}"/>
                </a:ext>
              </a:extLst>
            </p:cNvPr>
            <p:cNvSpPr/>
            <p:nvPr/>
          </p:nvSpPr>
          <p:spPr>
            <a:xfrm rot="5400000">
              <a:off x="5205157" y="36494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33" name="任意多边形: 形状 632">
              <a:extLst>
                <a:ext uri="{FF2B5EF4-FFF2-40B4-BE49-F238E27FC236}">
                  <a16:creationId xmlns:a16="http://schemas.microsoft.com/office/drawing/2014/main" id="{22461EAC-5262-487A-B8C5-2531F7793D08}"/>
                </a:ext>
              </a:extLst>
            </p:cNvPr>
            <p:cNvSpPr/>
            <p:nvPr/>
          </p:nvSpPr>
          <p:spPr>
            <a:xfrm rot="5400000">
              <a:off x="5979857" y="36494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34" name="任意多边形: 形状 633">
              <a:extLst>
                <a:ext uri="{FF2B5EF4-FFF2-40B4-BE49-F238E27FC236}">
                  <a16:creationId xmlns:a16="http://schemas.microsoft.com/office/drawing/2014/main" id="{E4FBDF8E-DFC1-4433-8386-8609046E21F9}"/>
                </a:ext>
              </a:extLst>
            </p:cNvPr>
            <p:cNvSpPr/>
            <p:nvPr/>
          </p:nvSpPr>
          <p:spPr>
            <a:xfrm rot="5400000">
              <a:off x="6754557" y="36494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35" name="任意多边形: 形状 634">
              <a:extLst>
                <a:ext uri="{FF2B5EF4-FFF2-40B4-BE49-F238E27FC236}">
                  <a16:creationId xmlns:a16="http://schemas.microsoft.com/office/drawing/2014/main" id="{0C33E01D-C42B-469E-AD76-E9669FD18638}"/>
                </a:ext>
              </a:extLst>
            </p:cNvPr>
            <p:cNvSpPr/>
            <p:nvPr/>
          </p:nvSpPr>
          <p:spPr>
            <a:xfrm rot="5400000">
              <a:off x="7529257" y="36494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36" name="任意多边形: 形状 635">
              <a:extLst>
                <a:ext uri="{FF2B5EF4-FFF2-40B4-BE49-F238E27FC236}">
                  <a16:creationId xmlns:a16="http://schemas.microsoft.com/office/drawing/2014/main" id="{F4770082-8D8A-4F89-B470-99C747F20863}"/>
                </a:ext>
              </a:extLst>
            </p:cNvPr>
            <p:cNvSpPr/>
            <p:nvPr/>
          </p:nvSpPr>
          <p:spPr>
            <a:xfrm rot="5400000">
              <a:off x="8303957" y="36494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37" name="任意多边形: 形状 636">
              <a:extLst>
                <a:ext uri="{FF2B5EF4-FFF2-40B4-BE49-F238E27FC236}">
                  <a16:creationId xmlns:a16="http://schemas.microsoft.com/office/drawing/2014/main" id="{9DEA759D-C49C-4377-8177-BFC893C54886}"/>
                </a:ext>
              </a:extLst>
            </p:cNvPr>
            <p:cNvSpPr/>
            <p:nvPr/>
          </p:nvSpPr>
          <p:spPr>
            <a:xfrm rot="5400000">
              <a:off x="9078657" y="36494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38" name="任意多边形: 形状 637">
              <a:extLst>
                <a:ext uri="{FF2B5EF4-FFF2-40B4-BE49-F238E27FC236}">
                  <a16:creationId xmlns:a16="http://schemas.microsoft.com/office/drawing/2014/main" id="{593473DC-DCCF-4340-8212-773A06F73E3C}"/>
                </a:ext>
              </a:extLst>
            </p:cNvPr>
            <p:cNvSpPr/>
            <p:nvPr/>
          </p:nvSpPr>
          <p:spPr>
            <a:xfrm rot="5400000">
              <a:off x="9853357" y="36494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39" name="任意多边形: 形状 638">
              <a:extLst>
                <a:ext uri="{FF2B5EF4-FFF2-40B4-BE49-F238E27FC236}">
                  <a16:creationId xmlns:a16="http://schemas.microsoft.com/office/drawing/2014/main" id="{E22E688D-D7AD-4A51-8DC4-17496F1C7D7B}"/>
                </a:ext>
              </a:extLst>
            </p:cNvPr>
            <p:cNvSpPr/>
            <p:nvPr/>
          </p:nvSpPr>
          <p:spPr>
            <a:xfrm rot="5400000">
              <a:off x="10628057" y="36494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40" name="任意多边形: 形状 639">
              <a:extLst>
                <a:ext uri="{FF2B5EF4-FFF2-40B4-BE49-F238E27FC236}">
                  <a16:creationId xmlns:a16="http://schemas.microsoft.com/office/drawing/2014/main" id="{7AB9750E-566E-46BC-B623-C9851629D809}"/>
                </a:ext>
              </a:extLst>
            </p:cNvPr>
            <p:cNvSpPr/>
            <p:nvPr/>
          </p:nvSpPr>
          <p:spPr>
            <a:xfrm rot="5400000">
              <a:off x="11402757" y="36494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41" name="任意多边形: 形状 640">
              <a:extLst>
                <a:ext uri="{FF2B5EF4-FFF2-40B4-BE49-F238E27FC236}">
                  <a16:creationId xmlns:a16="http://schemas.microsoft.com/office/drawing/2014/main" id="{B9306173-8F07-4306-B3AE-84EBF420B234}"/>
                </a:ext>
              </a:extLst>
            </p:cNvPr>
            <p:cNvSpPr/>
            <p:nvPr/>
          </p:nvSpPr>
          <p:spPr>
            <a:xfrm rot="5400000">
              <a:off x="556957" y="43225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42" name="任意多边形: 形状 641">
              <a:extLst>
                <a:ext uri="{FF2B5EF4-FFF2-40B4-BE49-F238E27FC236}">
                  <a16:creationId xmlns:a16="http://schemas.microsoft.com/office/drawing/2014/main" id="{E2DB5E4D-EB3F-43A7-9566-C813CFF3B172}"/>
                </a:ext>
              </a:extLst>
            </p:cNvPr>
            <p:cNvSpPr/>
            <p:nvPr/>
          </p:nvSpPr>
          <p:spPr>
            <a:xfrm rot="5400000">
              <a:off x="1331657" y="43225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43" name="任意多边形: 形状 642">
              <a:extLst>
                <a:ext uri="{FF2B5EF4-FFF2-40B4-BE49-F238E27FC236}">
                  <a16:creationId xmlns:a16="http://schemas.microsoft.com/office/drawing/2014/main" id="{67E66E1D-A0C5-4911-B811-777846832CC5}"/>
                </a:ext>
              </a:extLst>
            </p:cNvPr>
            <p:cNvSpPr/>
            <p:nvPr/>
          </p:nvSpPr>
          <p:spPr>
            <a:xfrm rot="5400000">
              <a:off x="2106357" y="43225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44" name="任意多边形: 形状 643">
              <a:extLst>
                <a:ext uri="{FF2B5EF4-FFF2-40B4-BE49-F238E27FC236}">
                  <a16:creationId xmlns:a16="http://schemas.microsoft.com/office/drawing/2014/main" id="{9F5C19FC-22A7-4971-AB8F-022F36EDC332}"/>
                </a:ext>
              </a:extLst>
            </p:cNvPr>
            <p:cNvSpPr/>
            <p:nvPr/>
          </p:nvSpPr>
          <p:spPr>
            <a:xfrm rot="5400000">
              <a:off x="2881057" y="43225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45" name="任意多边形: 形状 644">
              <a:extLst>
                <a:ext uri="{FF2B5EF4-FFF2-40B4-BE49-F238E27FC236}">
                  <a16:creationId xmlns:a16="http://schemas.microsoft.com/office/drawing/2014/main" id="{EBD0F549-B3A6-41C5-85EB-46D1EDC574C7}"/>
                </a:ext>
              </a:extLst>
            </p:cNvPr>
            <p:cNvSpPr/>
            <p:nvPr/>
          </p:nvSpPr>
          <p:spPr>
            <a:xfrm rot="5400000">
              <a:off x="3655757" y="43225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46" name="任意多边形: 形状 645">
              <a:extLst>
                <a:ext uri="{FF2B5EF4-FFF2-40B4-BE49-F238E27FC236}">
                  <a16:creationId xmlns:a16="http://schemas.microsoft.com/office/drawing/2014/main" id="{84988BA7-2E29-4926-A37F-CF9B5BA244A4}"/>
                </a:ext>
              </a:extLst>
            </p:cNvPr>
            <p:cNvSpPr/>
            <p:nvPr/>
          </p:nvSpPr>
          <p:spPr>
            <a:xfrm rot="5400000">
              <a:off x="4430457" y="43225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47" name="任意多边形: 形状 646">
              <a:extLst>
                <a:ext uri="{FF2B5EF4-FFF2-40B4-BE49-F238E27FC236}">
                  <a16:creationId xmlns:a16="http://schemas.microsoft.com/office/drawing/2014/main" id="{DA20B62D-C05B-4A73-B568-4E981E9E0D33}"/>
                </a:ext>
              </a:extLst>
            </p:cNvPr>
            <p:cNvSpPr/>
            <p:nvPr/>
          </p:nvSpPr>
          <p:spPr>
            <a:xfrm rot="5400000">
              <a:off x="5205157" y="43225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48" name="任意多边形: 形状 647">
              <a:extLst>
                <a:ext uri="{FF2B5EF4-FFF2-40B4-BE49-F238E27FC236}">
                  <a16:creationId xmlns:a16="http://schemas.microsoft.com/office/drawing/2014/main" id="{38BD64C3-1CCA-4A75-9D18-628BCE29B659}"/>
                </a:ext>
              </a:extLst>
            </p:cNvPr>
            <p:cNvSpPr/>
            <p:nvPr/>
          </p:nvSpPr>
          <p:spPr>
            <a:xfrm rot="5400000">
              <a:off x="5979857" y="43225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49" name="任意多边形: 形状 648">
              <a:extLst>
                <a:ext uri="{FF2B5EF4-FFF2-40B4-BE49-F238E27FC236}">
                  <a16:creationId xmlns:a16="http://schemas.microsoft.com/office/drawing/2014/main" id="{1B5CDB97-BD01-46A2-9220-FCEC39A9D020}"/>
                </a:ext>
              </a:extLst>
            </p:cNvPr>
            <p:cNvSpPr/>
            <p:nvPr/>
          </p:nvSpPr>
          <p:spPr>
            <a:xfrm rot="5400000">
              <a:off x="6754557" y="43225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50" name="任意多边形: 形状 649">
              <a:extLst>
                <a:ext uri="{FF2B5EF4-FFF2-40B4-BE49-F238E27FC236}">
                  <a16:creationId xmlns:a16="http://schemas.microsoft.com/office/drawing/2014/main" id="{20BEC560-9F47-402B-9A47-E62D538CB948}"/>
                </a:ext>
              </a:extLst>
            </p:cNvPr>
            <p:cNvSpPr/>
            <p:nvPr/>
          </p:nvSpPr>
          <p:spPr>
            <a:xfrm rot="5400000">
              <a:off x="7529257" y="43225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51" name="任意多边形: 形状 650">
              <a:extLst>
                <a:ext uri="{FF2B5EF4-FFF2-40B4-BE49-F238E27FC236}">
                  <a16:creationId xmlns:a16="http://schemas.microsoft.com/office/drawing/2014/main" id="{29985C99-E571-444E-A8B4-CF7E449E00D4}"/>
                </a:ext>
              </a:extLst>
            </p:cNvPr>
            <p:cNvSpPr/>
            <p:nvPr/>
          </p:nvSpPr>
          <p:spPr>
            <a:xfrm rot="5400000">
              <a:off x="8303957" y="43225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52" name="任意多边形: 形状 651">
              <a:extLst>
                <a:ext uri="{FF2B5EF4-FFF2-40B4-BE49-F238E27FC236}">
                  <a16:creationId xmlns:a16="http://schemas.microsoft.com/office/drawing/2014/main" id="{025D7C32-854B-48AF-848E-7BA586A4CD03}"/>
                </a:ext>
              </a:extLst>
            </p:cNvPr>
            <p:cNvSpPr/>
            <p:nvPr/>
          </p:nvSpPr>
          <p:spPr>
            <a:xfrm rot="5400000">
              <a:off x="9078657" y="43225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53" name="任意多边形: 形状 652">
              <a:extLst>
                <a:ext uri="{FF2B5EF4-FFF2-40B4-BE49-F238E27FC236}">
                  <a16:creationId xmlns:a16="http://schemas.microsoft.com/office/drawing/2014/main" id="{C0F02919-C337-430E-AE46-8CD818425CF4}"/>
                </a:ext>
              </a:extLst>
            </p:cNvPr>
            <p:cNvSpPr/>
            <p:nvPr/>
          </p:nvSpPr>
          <p:spPr>
            <a:xfrm rot="5400000">
              <a:off x="9853357" y="43225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54" name="任意多边形: 形状 653">
              <a:extLst>
                <a:ext uri="{FF2B5EF4-FFF2-40B4-BE49-F238E27FC236}">
                  <a16:creationId xmlns:a16="http://schemas.microsoft.com/office/drawing/2014/main" id="{5D2976F5-AC59-410B-9707-841DDEA0A7DC}"/>
                </a:ext>
              </a:extLst>
            </p:cNvPr>
            <p:cNvSpPr/>
            <p:nvPr/>
          </p:nvSpPr>
          <p:spPr>
            <a:xfrm rot="5400000">
              <a:off x="10628057" y="43225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55" name="任意多边形: 形状 654">
              <a:extLst>
                <a:ext uri="{FF2B5EF4-FFF2-40B4-BE49-F238E27FC236}">
                  <a16:creationId xmlns:a16="http://schemas.microsoft.com/office/drawing/2014/main" id="{224B513E-AC9C-46F7-956D-09891944B501}"/>
                </a:ext>
              </a:extLst>
            </p:cNvPr>
            <p:cNvSpPr/>
            <p:nvPr/>
          </p:nvSpPr>
          <p:spPr>
            <a:xfrm rot="5400000">
              <a:off x="11402757" y="43225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56" name="任意多边形: 形状 655">
              <a:extLst>
                <a:ext uri="{FF2B5EF4-FFF2-40B4-BE49-F238E27FC236}">
                  <a16:creationId xmlns:a16="http://schemas.microsoft.com/office/drawing/2014/main" id="{881AA46B-D306-47DE-973D-91385DD1A1BB}"/>
                </a:ext>
              </a:extLst>
            </p:cNvPr>
            <p:cNvSpPr/>
            <p:nvPr/>
          </p:nvSpPr>
          <p:spPr>
            <a:xfrm rot="5400000">
              <a:off x="5569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57" name="任意多边形: 形状 656">
              <a:extLst>
                <a:ext uri="{FF2B5EF4-FFF2-40B4-BE49-F238E27FC236}">
                  <a16:creationId xmlns:a16="http://schemas.microsoft.com/office/drawing/2014/main" id="{A4F29319-2991-4589-9E2A-64B5B3D65DBA}"/>
                </a:ext>
              </a:extLst>
            </p:cNvPr>
            <p:cNvSpPr/>
            <p:nvPr/>
          </p:nvSpPr>
          <p:spPr>
            <a:xfrm rot="5400000">
              <a:off x="13316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58" name="任意多边形: 形状 657">
              <a:extLst>
                <a:ext uri="{FF2B5EF4-FFF2-40B4-BE49-F238E27FC236}">
                  <a16:creationId xmlns:a16="http://schemas.microsoft.com/office/drawing/2014/main" id="{AD23F333-9591-4389-9E5E-F40045A0FC9C}"/>
                </a:ext>
              </a:extLst>
            </p:cNvPr>
            <p:cNvSpPr/>
            <p:nvPr/>
          </p:nvSpPr>
          <p:spPr>
            <a:xfrm rot="5400000">
              <a:off x="21063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59" name="任意多边形: 形状 658">
              <a:extLst>
                <a:ext uri="{FF2B5EF4-FFF2-40B4-BE49-F238E27FC236}">
                  <a16:creationId xmlns:a16="http://schemas.microsoft.com/office/drawing/2014/main" id="{92E14EB7-5162-4166-AA09-807871516B41}"/>
                </a:ext>
              </a:extLst>
            </p:cNvPr>
            <p:cNvSpPr/>
            <p:nvPr/>
          </p:nvSpPr>
          <p:spPr>
            <a:xfrm rot="5400000">
              <a:off x="28810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60" name="任意多边形: 形状 659">
              <a:extLst>
                <a:ext uri="{FF2B5EF4-FFF2-40B4-BE49-F238E27FC236}">
                  <a16:creationId xmlns:a16="http://schemas.microsoft.com/office/drawing/2014/main" id="{53217E45-2C61-4E4F-8D5E-8A55218A5F08}"/>
                </a:ext>
              </a:extLst>
            </p:cNvPr>
            <p:cNvSpPr/>
            <p:nvPr/>
          </p:nvSpPr>
          <p:spPr>
            <a:xfrm rot="5400000">
              <a:off x="36557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61" name="任意多边形: 形状 660">
              <a:extLst>
                <a:ext uri="{FF2B5EF4-FFF2-40B4-BE49-F238E27FC236}">
                  <a16:creationId xmlns:a16="http://schemas.microsoft.com/office/drawing/2014/main" id="{C4726237-AB2F-49BA-893A-B9B09DA0D994}"/>
                </a:ext>
              </a:extLst>
            </p:cNvPr>
            <p:cNvSpPr/>
            <p:nvPr/>
          </p:nvSpPr>
          <p:spPr>
            <a:xfrm rot="5400000">
              <a:off x="44304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62" name="任意多边形: 形状 661">
              <a:extLst>
                <a:ext uri="{FF2B5EF4-FFF2-40B4-BE49-F238E27FC236}">
                  <a16:creationId xmlns:a16="http://schemas.microsoft.com/office/drawing/2014/main" id="{6824B1FF-AE9B-4AFA-AE3D-5C916D70C9A5}"/>
                </a:ext>
              </a:extLst>
            </p:cNvPr>
            <p:cNvSpPr/>
            <p:nvPr/>
          </p:nvSpPr>
          <p:spPr>
            <a:xfrm rot="5400000">
              <a:off x="52051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63" name="任意多边形: 形状 662">
              <a:extLst>
                <a:ext uri="{FF2B5EF4-FFF2-40B4-BE49-F238E27FC236}">
                  <a16:creationId xmlns:a16="http://schemas.microsoft.com/office/drawing/2014/main" id="{A2A69AF2-3778-4F00-B81D-7A1FCA27649E}"/>
                </a:ext>
              </a:extLst>
            </p:cNvPr>
            <p:cNvSpPr/>
            <p:nvPr/>
          </p:nvSpPr>
          <p:spPr>
            <a:xfrm rot="5400000">
              <a:off x="59798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64" name="任意多边形: 形状 663">
              <a:extLst>
                <a:ext uri="{FF2B5EF4-FFF2-40B4-BE49-F238E27FC236}">
                  <a16:creationId xmlns:a16="http://schemas.microsoft.com/office/drawing/2014/main" id="{9D0FA68A-796E-4A98-9352-93EB82CCB8A2}"/>
                </a:ext>
              </a:extLst>
            </p:cNvPr>
            <p:cNvSpPr/>
            <p:nvPr/>
          </p:nvSpPr>
          <p:spPr>
            <a:xfrm rot="5400000">
              <a:off x="67545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65" name="任意多边形: 形状 664">
              <a:extLst>
                <a:ext uri="{FF2B5EF4-FFF2-40B4-BE49-F238E27FC236}">
                  <a16:creationId xmlns:a16="http://schemas.microsoft.com/office/drawing/2014/main" id="{AEB7D1F0-30F7-4E36-A139-26F90C54871C}"/>
                </a:ext>
              </a:extLst>
            </p:cNvPr>
            <p:cNvSpPr/>
            <p:nvPr/>
          </p:nvSpPr>
          <p:spPr>
            <a:xfrm rot="5400000">
              <a:off x="75292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66" name="任意多边形: 形状 665">
              <a:extLst>
                <a:ext uri="{FF2B5EF4-FFF2-40B4-BE49-F238E27FC236}">
                  <a16:creationId xmlns:a16="http://schemas.microsoft.com/office/drawing/2014/main" id="{18A3A721-5BF0-4D87-A595-2FDDA4DF2C3B}"/>
                </a:ext>
              </a:extLst>
            </p:cNvPr>
            <p:cNvSpPr/>
            <p:nvPr/>
          </p:nvSpPr>
          <p:spPr>
            <a:xfrm rot="5400000">
              <a:off x="83039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67" name="任意多边形: 形状 666">
              <a:extLst>
                <a:ext uri="{FF2B5EF4-FFF2-40B4-BE49-F238E27FC236}">
                  <a16:creationId xmlns:a16="http://schemas.microsoft.com/office/drawing/2014/main" id="{F46DA886-4BEC-4A8C-AAFC-76520F9A2406}"/>
                </a:ext>
              </a:extLst>
            </p:cNvPr>
            <p:cNvSpPr/>
            <p:nvPr/>
          </p:nvSpPr>
          <p:spPr>
            <a:xfrm rot="5400000">
              <a:off x="90786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68" name="任意多边形: 形状 667">
              <a:extLst>
                <a:ext uri="{FF2B5EF4-FFF2-40B4-BE49-F238E27FC236}">
                  <a16:creationId xmlns:a16="http://schemas.microsoft.com/office/drawing/2014/main" id="{099BB357-1E16-4875-BCE7-23A07C2D9028}"/>
                </a:ext>
              </a:extLst>
            </p:cNvPr>
            <p:cNvSpPr/>
            <p:nvPr/>
          </p:nvSpPr>
          <p:spPr>
            <a:xfrm rot="5400000">
              <a:off x="98533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69" name="任意多边形: 形状 668">
              <a:extLst>
                <a:ext uri="{FF2B5EF4-FFF2-40B4-BE49-F238E27FC236}">
                  <a16:creationId xmlns:a16="http://schemas.microsoft.com/office/drawing/2014/main" id="{9CB5387E-35B9-4AC2-B1A5-55E022D9FB5E}"/>
                </a:ext>
              </a:extLst>
            </p:cNvPr>
            <p:cNvSpPr/>
            <p:nvPr/>
          </p:nvSpPr>
          <p:spPr>
            <a:xfrm rot="5400000">
              <a:off x="106280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70" name="任意多边形: 形状 669">
              <a:extLst>
                <a:ext uri="{FF2B5EF4-FFF2-40B4-BE49-F238E27FC236}">
                  <a16:creationId xmlns:a16="http://schemas.microsoft.com/office/drawing/2014/main" id="{6227862E-5B06-4EEE-A30A-649C85E8CB4E}"/>
                </a:ext>
              </a:extLst>
            </p:cNvPr>
            <p:cNvSpPr/>
            <p:nvPr/>
          </p:nvSpPr>
          <p:spPr>
            <a:xfrm rot="5400000">
              <a:off x="11402757" y="49956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71" name="任意多边形: 形状 670">
              <a:extLst>
                <a:ext uri="{FF2B5EF4-FFF2-40B4-BE49-F238E27FC236}">
                  <a16:creationId xmlns:a16="http://schemas.microsoft.com/office/drawing/2014/main" id="{F94B3610-3225-4E87-8CFB-4B7477379529}"/>
                </a:ext>
              </a:extLst>
            </p:cNvPr>
            <p:cNvSpPr/>
            <p:nvPr/>
          </p:nvSpPr>
          <p:spPr>
            <a:xfrm rot="5400000">
              <a:off x="5569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72" name="任意多边形: 形状 671">
              <a:extLst>
                <a:ext uri="{FF2B5EF4-FFF2-40B4-BE49-F238E27FC236}">
                  <a16:creationId xmlns:a16="http://schemas.microsoft.com/office/drawing/2014/main" id="{4C1E382D-BF5B-4F62-9CDA-91CD11DE25C4}"/>
                </a:ext>
              </a:extLst>
            </p:cNvPr>
            <p:cNvSpPr/>
            <p:nvPr/>
          </p:nvSpPr>
          <p:spPr>
            <a:xfrm rot="5400000">
              <a:off x="13316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73" name="任意多边形: 形状 672">
              <a:extLst>
                <a:ext uri="{FF2B5EF4-FFF2-40B4-BE49-F238E27FC236}">
                  <a16:creationId xmlns:a16="http://schemas.microsoft.com/office/drawing/2014/main" id="{AE9844AD-7E1E-4D99-96C5-E441D035228C}"/>
                </a:ext>
              </a:extLst>
            </p:cNvPr>
            <p:cNvSpPr/>
            <p:nvPr/>
          </p:nvSpPr>
          <p:spPr>
            <a:xfrm rot="5400000">
              <a:off x="21063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74" name="任意多边形: 形状 673">
              <a:extLst>
                <a:ext uri="{FF2B5EF4-FFF2-40B4-BE49-F238E27FC236}">
                  <a16:creationId xmlns:a16="http://schemas.microsoft.com/office/drawing/2014/main" id="{235C9D80-2186-48B9-87B6-829F9105EC26}"/>
                </a:ext>
              </a:extLst>
            </p:cNvPr>
            <p:cNvSpPr/>
            <p:nvPr/>
          </p:nvSpPr>
          <p:spPr>
            <a:xfrm rot="5400000">
              <a:off x="28810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75" name="任意多边形: 形状 674">
              <a:extLst>
                <a:ext uri="{FF2B5EF4-FFF2-40B4-BE49-F238E27FC236}">
                  <a16:creationId xmlns:a16="http://schemas.microsoft.com/office/drawing/2014/main" id="{48675986-70C1-44FA-B1B8-B03914940B4A}"/>
                </a:ext>
              </a:extLst>
            </p:cNvPr>
            <p:cNvSpPr/>
            <p:nvPr/>
          </p:nvSpPr>
          <p:spPr>
            <a:xfrm rot="5400000">
              <a:off x="36557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76" name="任意多边形: 形状 675">
              <a:extLst>
                <a:ext uri="{FF2B5EF4-FFF2-40B4-BE49-F238E27FC236}">
                  <a16:creationId xmlns:a16="http://schemas.microsoft.com/office/drawing/2014/main" id="{2C4C9EAC-0C1B-4AD6-8898-FD03B52CD09F}"/>
                </a:ext>
              </a:extLst>
            </p:cNvPr>
            <p:cNvSpPr/>
            <p:nvPr/>
          </p:nvSpPr>
          <p:spPr>
            <a:xfrm rot="5400000">
              <a:off x="44304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77" name="任意多边形: 形状 676">
              <a:extLst>
                <a:ext uri="{FF2B5EF4-FFF2-40B4-BE49-F238E27FC236}">
                  <a16:creationId xmlns:a16="http://schemas.microsoft.com/office/drawing/2014/main" id="{41E28211-2640-41E0-A7C9-5B30BB834312}"/>
                </a:ext>
              </a:extLst>
            </p:cNvPr>
            <p:cNvSpPr/>
            <p:nvPr/>
          </p:nvSpPr>
          <p:spPr>
            <a:xfrm rot="5400000">
              <a:off x="52051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78" name="任意多边形: 形状 677">
              <a:extLst>
                <a:ext uri="{FF2B5EF4-FFF2-40B4-BE49-F238E27FC236}">
                  <a16:creationId xmlns:a16="http://schemas.microsoft.com/office/drawing/2014/main" id="{FB8F805A-6381-4BC6-80D5-482EAE90F610}"/>
                </a:ext>
              </a:extLst>
            </p:cNvPr>
            <p:cNvSpPr/>
            <p:nvPr/>
          </p:nvSpPr>
          <p:spPr>
            <a:xfrm rot="5400000">
              <a:off x="59798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79" name="任意多边形: 形状 678">
              <a:extLst>
                <a:ext uri="{FF2B5EF4-FFF2-40B4-BE49-F238E27FC236}">
                  <a16:creationId xmlns:a16="http://schemas.microsoft.com/office/drawing/2014/main" id="{F54EF1A6-6F86-46EE-A70A-E8867F370F14}"/>
                </a:ext>
              </a:extLst>
            </p:cNvPr>
            <p:cNvSpPr/>
            <p:nvPr/>
          </p:nvSpPr>
          <p:spPr>
            <a:xfrm rot="5400000">
              <a:off x="67545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80" name="任意多边形: 形状 679">
              <a:extLst>
                <a:ext uri="{FF2B5EF4-FFF2-40B4-BE49-F238E27FC236}">
                  <a16:creationId xmlns:a16="http://schemas.microsoft.com/office/drawing/2014/main" id="{8C2F151D-1992-4F76-A0FB-1CEB11E77268}"/>
                </a:ext>
              </a:extLst>
            </p:cNvPr>
            <p:cNvSpPr/>
            <p:nvPr/>
          </p:nvSpPr>
          <p:spPr>
            <a:xfrm rot="5400000">
              <a:off x="75292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81" name="任意多边形: 形状 680">
              <a:extLst>
                <a:ext uri="{FF2B5EF4-FFF2-40B4-BE49-F238E27FC236}">
                  <a16:creationId xmlns:a16="http://schemas.microsoft.com/office/drawing/2014/main" id="{54BE490D-2F0E-4402-A1B0-6C350A070334}"/>
                </a:ext>
              </a:extLst>
            </p:cNvPr>
            <p:cNvSpPr/>
            <p:nvPr/>
          </p:nvSpPr>
          <p:spPr>
            <a:xfrm rot="5400000">
              <a:off x="83039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82" name="任意多边形: 形状 681">
              <a:extLst>
                <a:ext uri="{FF2B5EF4-FFF2-40B4-BE49-F238E27FC236}">
                  <a16:creationId xmlns:a16="http://schemas.microsoft.com/office/drawing/2014/main" id="{5F7E95A4-E5E9-4B88-98D2-56D4E485DA0D}"/>
                </a:ext>
              </a:extLst>
            </p:cNvPr>
            <p:cNvSpPr/>
            <p:nvPr/>
          </p:nvSpPr>
          <p:spPr>
            <a:xfrm rot="5400000">
              <a:off x="90786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83" name="任意多边形: 形状 682">
              <a:extLst>
                <a:ext uri="{FF2B5EF4-FFF2-40B4-BE49-F238E27FC236}">
                  <a16:creationId xmlns:a16="http://schemas.microsoft.com/office/drawing/2014/main" id="{92982C3D-9572-42D3-8482-B07AD7BC9AC3}"/>
                </a:ext>
              </a:extLst>
            </p:cNvPr>
            <p:cNvSpPr/>
            <p:nvPr/>
          </p:nvSpPr>
          <p:spPr>
            <a:xfrm rot="5400000">
              <a:off x="98533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84" name="任意多边形: 形状 683">
              <a:extLst>
                <a:ext uri="{FF2B5EF4-FFF2-40B4-BE49-F238E27FC236}">
                  <a16:creationId xmlns:a16="http://schemas.microsoft.com/office/drawing/2014/main" id="{C0A2BAA0-3FF1-427B-88C1-0131E0DDB28A}"/>
                </a:ext>
              </a:extLst>
            </p:cNvPr>
            <p:cNvSpPr/>
            <p:nvPr/>
          </p:nvSpPr>
          <p:spPr>
            <a:xfrm rot="5400000">
              <a:off x="106280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85" name="任意多边形: 形状 684">
              <a:extLst>
                <a:ext uri="{FF2B5EF4-FFF2-40B4-BE49-F238E27FC236}">
                  <a16:creationId xmlns:a16="http://schemas.microsoft.com/office/drawing/2014/main" id="{00A92C18-B39A-4E30-A432-D39847FFAFA6}"/>
                </a:ext>
              </a:extLst>
            </p:cNvPr>
            <p:cNvSpPr/>
            <p:nvPr/>
          </p:nvSpPr>
          <p:spPr>
            <a:xfrm rot="5400000">
              <a:off x="11402757" y="56687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86" name="任意多边形: 形状 685">
              <a:extLst>
                <a:ext uri="{FF2B5EF4-FFF2-40B4-BE49-F238E27FC236}">
                  <a16:creationId xmlns:a16="http://schemas.microsoft.com/office/drawing/2014/main" id="{37EA037E-3DCD-4A17-A8C7-A210BD159E04}"/>
                </a:ext>
              </a:extLst>
            </p:cNvPr>
            <p:cNvSpPr/>
            <p:nvPr/>
          </p:nvSpPr>
          <p:spPr>
            <a:xfrm rot="5400000">
              <a:off x="556957" y="63418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87" name="任意多边形: 形状 686">
              <a:extLst>
                <a:ext uri="{FF2B5EF4-FFF2-40B4-BE49-F238E27FC236}">
                  <a16:creationId xmlns:a16="http://schemas.microsoft.com/office/drawing/2014/main" id="{88608D80-DF2B-4544-BD91-AE8DABCA85DF}"/>
                </a:ext>
              </a:extLst>
            </p:cNvPr>
            <p:cNvSpPr/>
            <p:nvPr/>
          </p:nvSpPr>
          <p:spPr>
            <a:xfrm rot="5400000">
              <a:off x="1331657" y="63418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88" name="任意多边形: 形状 687">
              <a:extLst>
                <a:ext uri="{FF2B5EF4-FFF2-40B4-BE49-F238E27FC236}">
                  <a16:creationId xmlns:a16="http://schemas.microsoft.com/office/drawing/2014/main" id="{37EF9461-5188-40F6-BC1C-940DBB21950A}"/>
                </a:ext>
              </a:extLst>
            </p:cNvPr>
            <p:cNvSpPr/>
            <p:nvPr/>
          </p:nvSpPr>
          <p:spPr>
            <a:xfrm rot="5400000">
              <a:off x="2106357" y="63418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89" name="任意多边形: 形状 688">
              <a:extLst>
                <a:ext uri="{FF2B5EF4-FFF2-40B4-BE49-F238E27FC236}">
                  <a16:creationId xmlns:a16="http://schemas.microsoft.com/office/drawing/2014/main" id="{A3E26BA9-8799-422A-B835-C2369C136DD6}"/>
                </a:ext>
              </a:extLst>
            </p:cNvPr>
            <p:cNvSpPr/>
            <p:nvPr/>
          </p:nvSpPr>
          <p:spPr>
            <a:xfrm rot="5400000">
              <a:off x="2881057" y="63418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90" name="任意多边形: 形状 689">
              <a:extLst>
                <a:ext uri="{FF2B5EF4-FFF2-40B4-BE49-F238E27FC236}">
                  <a16:creationId xmlns:a16="http://schemas.microsoft.com/office/drawing/2014/main" id="{9873E772-CADC-4AB2-B842-2598248FC564}"/>
                </a:ext>
              </a:extLst>
            </p:cNvPr>
            <p:cNvSpPr/>
            <p:nvPr/>
          </p:nvSpPr>
          <p:spPr>
            <a:xfrm rot="5400000">
              <a:off x="3655757" y="63418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91" name="任意多边形: 形状 690">
              <a:extLst>
                <a:ext uri="{FF2B5EF4-FFF2-40B4-BE49-F238E27FC236}">
                  <a16:creationId xmlns:a16="http://schemas.microsoft.com/office/drawing/2014/main" id="{FF93EB75-2FC2-41C7-B885-6160FA040A0C}"/>
                </a:ext>
              </a:extLst>
            </p:cNvPr>
            <p:cNvSpPr/>
            <p:nvPr/>
          </p:nvSpPr>
          <p:spPr>
            <a:xfrm rot="5400000">
              <a:off x="4430457" y="63418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92" name="任意多边形: 形状 691">
              <a:extLst>
                <a:ext uri="{FF2B5EF4-FFF2-40B4-BE49-F238E27FC236}">
                  <a16:creationId xmlns:a16="http://schemas.microsoft.com/office/drawing/2014/main" id="{16F430DD-7584-4A8E-82C4-BD4EAB089E70}"/>
                </a:ext>
              </a:extLst>
            </p:cNvPr>
            <p:cNvSpPr/>
            <p:nvPr/>
          </p:nvSpPr>
          <p:spPr>
            <a:xfrm rot="5400000">
              <a:off x="5205157" y="63418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93" name="任意多边形: 形状 692">
              <a:extLst>
                <a:ext uri="{FF2B5EF4-FFF2-40B4-BE49-F238E27FC236}">
                  <a16:creationId xmlns:a16="http://schemas.microsoft.com/office/drawing/2014/main" id="{D32548F4-5952-4262-9CE6-6F3C952DF8FE}"/>
                </a:ext>
              </a:extLst>
            </p:cNvPr>
            <p:cNvSpPr/>
            <p:nvPr/>
          </p:nvSpPr>
          <p:spPr>
            <a:xfrm rot="5400000">
              <a:off x="5979857" y="63418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94" name="任意多边形: 形状 693">
              <a:extLst>
                <a:ext uri="{FF2B5EF4-FFF2-40B4-BE49-F238E27FC236}">
                  <a16:creationId xmlns:a16="http://schemas.microsoft.com/office/drawing/2014/main" id="{DF1D4046-9425-4FE9-A48F-3D29D3C154E2}"/>
                </a:ext>
              </a:extLst>
            </p:cNvPr>
            <p:cNvSpPr/>
            <p:nvPr/>
          </p:nvSpPr>
          <p:spPr>
            <a:xfrm rot="5400000">
              <a:off x="6754557" y="63418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95" name="任意多边形: 形状 694">
              <a:extLst>
                <a:ext uri="{FF2B5EF4-FFF2-40B4-BE49-F238E27FC236}">
                  <a16:creationId xmlns:a16="http://schemas.microsoft.com/office/drawing/2014/main" id="{5A31BEBF-DDD5-4C2D-833E-F7013E3E59C7}"/>
                </a:ext>
              </a:extLst>
            </p:cNvPr>
            <p:cNvSpPr/>
            <p:nvPr/>
          </p:nvSpPr>
          <p:spPr>
            <a:xfrm rot="5400000">
              <a:off x="7529257" y="63418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96" name="任意多边形: 形状 695">
              <a:extLst>
                <a:ext uri="{FF2B5EF4-FFF2-40B4-BE49-F238E27FC236}">
                  <a16:creationId xmlns:a16="http://schemas.microsoft.com/office/drawing/2014/main" id="{81E4C160-3EFB-4E15-BD8E-551D957A69F2}"/>
                </a:ext>
              </a:extLst>
            </p:cNvPr>
            <p:cNvSpPr/>
            <p:nvPr/>
          </p:nvSpPr>
          <p:spPr>
            <a:xfrm rot="5400000">
              <a:off x="8303957" y="63418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97" name="任意多边形: 形状 696">
              <a:extLst>
                <a:ext uri="{FF2B5EF4-FFF2-40B4-BE49-F238E27FC236}">
                  <a16:creationId xmlns:a16="http://schemas.microsoft.com/office/drawing/2014/main" id="{B1D5D255-E770-4538-AE8B-1D3DD31B0F3E}"/>
                </a:ext>
              </a:extLst>
            </p:cNvPr>
            <p:cNvSpPr/>
            <p:nvPr/>
          </p:nvSpPr>
          <p:spPr>
            <a:xfrm rot="5400000">
              <a:off x="9078657" y="63418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98" name="任意多边形: 形状 697">
              <a:extLst>
                <a:ext uri="{FF2B5EF4-FFF2-40B4-BE49-F238E27FC236}">
                  <a16:creationId xmlns:a16="http://schemas.microsoft.com/office/drawing/2014/main" id="{2FD07028-C94C-49AB-AAF1-80857B0E8F57}"/>
                </a:ext>
              </a:extLst>
            </p:cNvPr>
            <p:cNvSpPr/>
            <p:nvPr/>
          </p:nvSpPr>
          <p:spPr>
            <a:xfrm rot="5400000">
              <a:off x="9853357" y="63418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699" name="任意多边形: 形状 698">
              <a:extLst>
                <a:ext uri="{FF2B5EF4-FFF2-40B4-BE49-F238E27FC236}">
                  <a16:creationId xmlns:a16="http://schemas.microsoft.com/office/drawing/2014/main" id="{2EF671AE-46C6-488D-A72D-2A7455BF77D1}"/>
                </a:ext>
              </a:extLst>
            </p:cNvPr>
            <p:cNvSpPr/>
            <p:nvPr/>
          </p:nvSpPr>
          <p:spPr>
            <a:xfrm rot="5400000">
              <a:off x="10628057" y="63418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700" name="任意多边形: 形状 699">
              <a:extLst>
                <a:ext uri="{FF2B5EF4-FFF2-40B4-BE49-F238E27FC236}">
                  <a16:creationId xmlns:a16="http://schemas.microsoft.com/office/drawing/2014/main" id="{93490D63-4A56-4671-ADD5-03036D42C180}"/>
                </a:ext>
              </a:extLst>
            </p:cNvPr>
            <p:cNvSpPr/>
            <p:nvPr/>
          </p:nvSpPr>
          <p:spPr>
            <a:xfrm rot="5400000">
              <a:off x="11402757" y="6341807"/>
              <a:ext cx="232286" cy="232286"/>
            </a:xfrm>
            <a:custGeom>
              <a:avLst/>
              <a:gdLst>
                <a:gd name="connsiteX0" fmla="*/ 0 w 651357"/>
                <a:gd name="connsiteY0" fmla="*/ 337507 h 651357"/>
                <a:gd name="connsiteX1" fmla="*/ 0 w 651357"/>
                <a:gd name="connsiteY1" fmla="*/ 313850 h 651357"/>
                <a:gd name="connsiteX2" fmla="*/ 46838 w 651357"/>
                <a:gd name="connsiteY2" fmla="*/ 267012 h 651357"/>
                <a:gd name="connsiteX3" fmla="*/ 267012 w 651357"/>
                <a:gd name="connsiteY3" fmla="*/ 267012 h 651357"/>
                <a:gd name="connsiteX4" fmla="*/ 267012 w 651357"/>
                <a:gd name="connsiteY4" fmla="*/ 46838 h 651357"/>
                <a:gd name="connsiteX5" fmla="*/ 313850 w 651357"/>
                <a:gd name="connsiteY5" fmla="*/ 0 h 651357"/>
                <a:gd name="connsiteX6" fmla="*/ 337507 w 651357"/>
                <a:gd name="connsiteY6" fmla="*/ 0 h 651357"/>
                <a:gd name="connsiteX7" fmla="*/ 384345 w 651357"/>
                <a:gd name="connsiteY7" fmla="*/ 46838 h 651357"/>
                <a:gd name="connsiteX8" fmla="*/ 384345 w 651357"/>
                <a:gd name="connsiteY8" fmla="*/ 267012 h 651357"/>
                <a:gd name="connsiteX9" fmla="*/ 604519 w 651357"/>
                <a:gd name="connsiteY9" fmla="*/ 267012 h 651357"/>
                <a:gd name="connsiteX10" fmla="*/ 651357 w 651357"/>
                <a:gd name="connsiteY10" fmla="*/ 313850 h 651357"/>
                <a:gd name="connsiteX11" fmla="*/ 651357 w 651357"/>
                <a:gd name="connsiteY11" fmla="*/ 337507 h 651357"/>
                <a:gd name="connsiteX12" fmla="*/ 604519 w 651357"/>
                <a:gd name="connsiteY12" fmla="*/ 384345 h 651357"/>
                <a:gd name="connsiteX13" fmla="*/ 384345 w 651357"/>
                <a:gd name="connsiteY13" fmla="*/ 384345 h 651357"/>
                <a:gd name="connsiteX14" fmla="*/ 384345 w 651357"/>
                <a:gd name="connsiteY14" fmla="*/ 604519 h 651357"/>
                <a:gd name="connsiteX15" fmla="*/ 337507 w 651357"/>
                <a:gd name="connsiteY15" fmla="*/ 651357 h 651357"/>
                <a:gd name="connsiteX16" fmla="*/ 313850 w 651357"/>
                <a:gd name="connsiteY16" fmla="*/ 651357 h 651357"/>
                <a:gd name="connsiteX17" fmla="*/ 267012 w 651357"/>
                <a:gd name="connsiteY17" fmla="*/ 604519 h 651357"/>
                <a:gd name="connsiteX18" fmla="*/ 267012 w 651357"/>
                <a:gd name="connsiteY18" fmla="*/ 384345 h 651357"/>
                <a:gd name="connsiteX19" fmla="*/ 46838 w 651357"/>
                <a:gd name="connsiteY19" fmla="*/ 384345 h 651357"/>
                <a:gd name="connsiteX20" fmla="*/ 0 w 651357"/>
                <a:gd name="connsiteY20" fmla="*/ 337507 h 65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51357" h="651357">
                  <a:moveTo>
                    <a:pt x="0" y="337507"/>
                  </a:moveTo>
                  <a:lnTo>
                    <a:pt x="0" y="313850"/>
                  </a:lnTo>
                  <a:cubicBezTo>
                    <a:pt x="0" y="287982"/>
                    <a:pt x="20970" y="267012"/>
                    <a:pt x="46838" y="267012"/>
                  </a:cubicBezTo>
                  <a:lnTo>
                    <a:pt x="267012" y="267012"/>
                  </a:lnTo>
                  <a:lnTo>
                    <a:pt x="267012" y="46838"/>
                  </a:lnTo>
                  <a:cubicBezTo>
                    <a:pt x="267012" y="20970"/>
                    <a:pt x="287982" y="0"/>
                    <a:pt x="313850" y="0"/>
                  </a:cubicBezTo>
                  <a:lnTo>
                    <a:pt x="337507" y="0"/>
                  </a:lnTo>
                  <a:cubicBezTo>
                    <a:pt x="363375" y="0"/>
                    <a:pt x="384345" y="20970"/>
                    <a:pt x="384345" y="46838"/>
                  </a:cubicBezTo>
                  <a:lnTo>
                    <a:pt x="384345" y="267012"/>
                  </a:lnTo>
                  <a:lnTo>
                    <a:pt x="604519" y="267012"/>
                  </a:lnTo>
                  <a:cubicBezTo>
                    <a:pt x="630387" y="267012"/>
                    <a:pt x="651357" y="287982"/>
                    <a:pt x="651357" y="313850"/>
                  </a:cubicBezTo>
                  <a:lnTo>
                    <a:pt x="651357" y="337507"/>
                  </a:lnTo>
                  <a:cubicBezTo>
                    <a:pt x="651357" y="363375"/>
                    <a:pt x="630387" y="384345"/>
                    <a:pt x="604519" y="384345"/>
                  </a:cubicBezTo>
                  <a:lnTo>
                    <a:pt x="384345" y="384345"/>
                  </a:lnTo>
                  <a:lnTo>
                    <a:pt x="384345" y="604519"/>
                  </a:lnTo>
                  <a:cubicBezTo>
                    <a:pt x="384345" y="630387"/>
                    <a:pt x="363375" y="651357"/>
                    <a:pt x="337507" y="651357"/>
                  </a:cubicBezTo>
                  <a:lnTo>
                    <a:pt x="313850" y="651357"/>
                  </a:lnTo>
                  <a:cubicBezTo>
                    <a:pt x="287982" y="651357"/>
                    <a:pt x="267012" y="630387"/>
                    <a:pt x="267012" y="604519"/>
                  </a:cubicBezTo>
                  <a:lnTo>
                    <a:pt x="267012" y="384345"/>
                  </a:lnTo>
                  <a:lnTo>
                    <a:pt x="46838" y="384345"/>
                  </a:lnTo>
                  <a:cubicBezTo>
                    <a:pt x="20970" y="384345"/>
                    <a:pt x="0" y="363375"/>
                    <a:pt x="0" y="33750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</p:grp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5645726" y="2606724"/>
            <a:ext cx="5873174" cy="1211996"/>
          </a:xfrm>
        </p:spPr>
        <p:txBody>
          <a:bodyPr anchor="b">
            <a:normAutofit/>
          </a:bodyPr>
          <a:lstStyle>
            <a:lvl1pPr algn="r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zh-CN" altLang="en-US" sz="4000" b="0" i="1" kern="1200" dirty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645726" y="5286104"/>
            <a:ext cx="5873174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645726" y="5582375"/>
            <a:ext cx="5873174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645726" y="3848451"/>
            <a:ext cx="5873174" cy="459946"/>
          </a:xfrm>
          <a:prstGeom prst="rect">
            <a:avLst/>
          </a:prstGeom>
          <a:noFill/>
        </p:spPr>
        <p:txBody>
          <a:bodyPr/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lick to edit Master subtitle style</a:t>
            </a:r>
          </a:p>
        </p:txBody>
      </p:sp>
      <p:grpSp>
        <p:nvGrpSpPr>
          <p:cNvPr id="9" name="组合 8">
            <a:extLst>
              <a:ext uri="{FF2B5EF4-FFF2-40B4-BE49-F238E27FC236}">
                <a16:creationId xmlns:a16="http://schemas.microsoft.com/office/drawing/2014/main" id="{C429CA29-6966-4258-8BE8-83F762483384}"/>
              </a:ext>
            </a:extLst>
          </p:cNvPr>
          <p:cNvGrpSpPr/>
          <p:nvPr userDrawn="1"/>
        </p:nvGrpSpPr>
        <p:grpSpPr>
          <a:xfrm>
            <a:off x="-34105" y="1110719"/>
            <a:ext cx="12231025" cy="5747281"/>
            <a:chOff x="-34105" y="1110719"/>
            <a:chExt cx="12231025" cy="5747281"/>
          </a:xfrm>
        </p:grpSpPr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6EAD5D93-9408-42E5-B709-F6C6E90B8629}"/>
                </a:ext>
              </a:extLst>
            </p:cNvPr>
            <p:cNvGrpSpPr/>
            <p:nvPr userDrawn="1"/>
          </p:nvGrpSpPr>
          <p:grpSpPr>
            <a:xfrm>
              <a:off x="343821" y="1110719"/>
              <a:ext cx="5541962" cy="5375275"/>
              <a:chOff x="343821" y="1110719"/>
              <a:chExt cx="5541962" cy="5375275"/>
            </a:xfrm>
          </p:grpSpPr>
          <p:sp>
            <p:nvSpPr>
              <p:cNvPr id="299" name="任意多边形: 形状 298">
                <a:extLst>
                  <a:ext uri="{FF2B5EF4-FFF2-40B4-BE49-F238E27FC236}">
                    <a16:creationId xmlns:a16="http://schemas.microsoft.com/office/drawing/2014/main" id="{A486F8E6-8F22-468F-89A5-03A5AFEA79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821" y="1337731"/>
                <a:ext cx="5334000" cy="4027488"/>
              </a:xfrm>
              <a:custGeom>
                <a:avLst/>
                <a:gdLst>
                  <a:gd name="T0" fmla="*/ 1494 w 1617"/>
                  <a:gd name="T1" fmla="*/ 759 h 1222"/>
                  <a:gd name="T2" fmla="*/ 1296 w 1617"/>
                  <a:gd name="T3" fmla="*/ 1222 h 1222"/>
                  <a:gd name="T4" fmla="*/ 481 w 1617"/>
                  <a:gd name="T5" fmla="*/ 1222 h 1222"/>
                  <a:gd name="T6" fmla="*/ 223 w 1617"/>
                  <a:gd name="T7" fmla="*/ 583 h 1222"/>
                  <a:gd name="T8" fmla="*/ 577 w 1617"/>
                  <a:gd name="T9" fmla="*/ 410 h 1222"/>
                  <a:gd name="T10" fmla="*/ 647 w 1617"/>
                  <a:gd name="T11" fmla="*/ 410 h 1222"/>
                  <a:gd name="T12" fmla="*/ 1021 w 1617"/>
                  <a:gd name="T13" fmla="*/ 22 h 1222"/>
                  <a:gd name="T14" fmla="*/ 1323 w 1617"/>
                  <a:gd name="T15" fmla="*/ 39 h 1222"/>
                  <a:gd name="T16" fmla="*/ 1494 w 1617"/>
                  <a:gd name="T17" fmla="*/ 759 h 1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17" h="1222">
                    <a:moveTo>
                      <a:pt x="1494" y="759"/>
                    </a:moveTo>
                    <a:cubicBezTo>
                      <a:pt x="1416" y="1007"/>
                      <a:pt x="1296" y="1222"/>
                      <a:pt x="1296" y="1222"/>
                    </a:cubicBezTo>
                    <a:cubicBezTo>
                      <a:pt x="481" y="1222"/>
                      <a:pt x="481" y="1222"/>
                      <a:pt x="481" y="1222"/>
                    </a:cubicBezTo>
                    <a:cubicBezTo>
                      <a:pt x="481" y="1222"/>
                      <a:pt x="0" y="900"/>
                      <a:pt x="223" y="583"/>
                    </a:cubicBezTo>
                    <a:cubicBezTo>
                      <a:pt x="347" y="407"/>
                      <a:pt x="472" y="409"/>
                      <a:pt x="577" y="410"/>
                    </a:cubicBezTo>
                    <a:cubicBezTo>
                      <a:pt x="602" y="411"/>
                      <a:pt x="625" y="411"/>
                      <a:pt x="647" y="410"/>
                    </a:cubicBezTo>
                    <a:cubicBezTo>
                      <a:pt x="737" y="402"/>
                      <a:pt x="770" y="94"/>
                      <a:pt x="1021" y="22"/>
                    </a:cubicBezTo>
                    <a:cubicBezTo>
                      <a:pt x="1098" y="0"/>
                      <a:pt x="1196" y="0"/>
                      <a:pt x="1323" y="39"/>
                    </a:cubicBezTo>
                    <a:cubicBezTo>
                      <a:pt x="1617" y="129"/>
                      <a:pt x="1586" y="467"/>
                      <a:pt x="1494" y="759"/>
                    </a:cubicBezTo>
                  </a:path>
                </a:pathLst>
              </a:custGeom>
              <a:solidFill>
                <a:srgbClr val="C7DB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02" name="椭圆 301">
                <a:extLst>
                  <a:ext uri="{FF2B5EF4-FFF2-40B4-BE49-F238E27FC236}">
                    <a16:creationId xmlns:a16="http://schemas.microsoft.com/office/drawing/2014/main" id="{19D5A036-DD0B-46E5-A868-C08388ECD9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25433" y="2653769"/>
                <a:ext cx="260350" cy="203200"/>
              </a:xfrm>
              <a:prstGeom prst="ellipse">
                <a:avLst/>
              </a:prstGeom>
              <a:solidFill>
                <a:srgbClr val="C7DB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04" name="任意多边形: 形状 303">
                <a:extLst>
                  <a:ext uri="{FF2B5EF4-FFF2-40B4-BE49-F238E27FC236}">
                    <a16:creationId xmlns:a16="http://schemas.microsoft.com/office/drawing/2014/main" id="{FE53DEF2-E2E5-42E3-A8E9-80AA357FC3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521" y="4253969"/>
                <a:ext cx="608013" cy="890588"/>
              </a:xfrm>
              <a:custGeom>
                <a:avLst/>
                <a:gdLst>
                  <a:gd name="T0" fmla="*/ 21 w 184"/>
                  <a:gd name="T1" fmla="*/ 11 h 270"/>
                  <a:gd name="T2" fmla="*/ 97 w 184"/>
                  <a:gd name="T3" fmla="*/ 132 h 270"/>
                  <a:gd name="T4" fmla="*/ 179 w 184"/>
                  <a:gd name="T5" fmla="*/ 258 h 270"/>
                  <a:gd name="T6" fmla="*/ 54 w 184"/>
                  <a:gd name="T7" fmla="*/ 162 h 270"/>
                  <a:gd name="T8" fmla="*/ 21 w 184"/>
                  <a:gd name="T9" fmla="*/ 11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4" h="270">
                    <a:moveTo>
                      <a:pt x="21" y="11"/>
                    </a:moveTo>
                    <a:cubicBezTo>
                      <a:pt x="42" y="0"/>
                      <a:pt x="62" y="71"/>
                      <a:pt x="97" y="132"/>
                    </a:cubicBezTo>
                    <a:cubicBezTo>
                      <a:pt x="133" y="194"/>
                      <a:pt x="184" y="246"/>
                      <a:pt x="179" y="258"/>
                    </a:cubicBezTo>
                    <a:cubicBezTo>
                      <a:pt x="174" y="270"/>
                      <a:pt x="98" y="225"/>
                      <a:pt x="54" y="162"/>
                    </a:cubicBezTo>
                    <a:cubicBezTo>
                      <a:pt x="12" y="101"/>
                      <a:pt x="0" y="22"/>
                      <a:pt x="21" y="11"/>
                    </a:cubicBezTo>
                    <a:close/>
                  </a:path>
                </a:pathLst>
              </a:custGeom>
              <a:solidFill>
                <a:srgbClr val="C7DB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05" name="任意多边形: 形状 304">
                <a:extLst>
                  <a:ext uri="{FF2B5EF4-FFF2-40B4-BE49-F238E27FC236}">
                    <a16:creationId xmlns:a16="http://schemas.microsoft.com/office/drawing/2014/main" id="{4C6EF3A4-5BE9-43C6-8B74-EFFC3AAA02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45983" y="4307944"/>
                <a:ext cx="533400" cy="925513"/>
              </a:xfrm>
              <a:custGeom>
                <a:avLst/>
                <a:gdLst>
                  <a:gd name="T0" fmla="*/ 140 w 162"/>
                  <a:gd name="T1" fmla="*/ 9 h 281"/>
                  <a:gd name="T2" fmla="*/ 76 w 162"/>
                  <a:gd name="T3" fmla="*/ 137 h 281"/>
                  <a:gd name="T4" fmla="*/ 6 w 162"/>
                  <a:gd name="T5" fmla="*/ 270 h 281"/>
                  <a:gd name="T6" fmla="*/ 110 w 162"/>
                  <a:gd name="T7" fmla="*/ 150 h 281"/>
                  <a:gd name="T8" fmla="*/ 140 w 162"/>
                  <a:gd name="T9" fmla="*/ 9 h 2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2" h="281">
                    <a:moveTo>
                      <a:pt x="140" y="9"/>
                    </a:moveTo>
                    <a:cubicBezTo>
                      <a:pt x="118" y="0"/>
                      <a:pt x="105" y="72"/>
                      <a:pt x="76" y="137"/>
                    </a:cubicBezTo>
                    <a:cubicBezTo>
                      <a:pt x="46" y="201"/>
                      <a:pt x="0" y="259"/>
                      <a:pt x="6" y="270"/>
                    </a:cubicBezTo>
                    <a:cubicBezTo>
                      <a:pt x="12" y="281"/>
                      <a:pt x="72" y="217"/>
                      <a:pt x="110" y="150"/>
                    </a:cubicBezTo>
                    <a:cubicBezTo>
                      <a:pt x="147" y="85"/>
                      <a:pt x="162" y="17"/>
                      <a:pt x="140" y="9"/>
                    </a:cubicBezTo>
                    <a:close/>
                  </a:path>
                </a:pathLst>
              </a:custGeom>
              <a:solidFill>
                <a:srgbClr val="C7DB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06" name="任意多边形: 形状 305">
                <a:extLst>
                  <a:ext uri="{FF2B5EF4-FFF2-40B4-BE49-F238E27FC236}">
                    <a16:creationId xmlns:a16="http://schemas.microsoft.com/office/drawing/2014/main" id="{874DBD7B-E594-4DFB-AF21-0B559F5D92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42808" y="1110719"/>
                <a:ext cx="722313" cy="800100"/>
              </a:xfrm>
              <a:custGeom>
                <a:avLst/>
                <a:gdLst>
                  <a:gd name="T0" fmla="*/ 17 w 219"/>
                  <a:gd name="T1" fmla="*/ 17 h 243"/>
                  <a:gd name="T2" fmla="*/ 110 w 219"/>
                  <a:gd name="T3" fmla="*/ 126 h 243"/>
                  <a:gd name="T4" fmla="*/ 206 w 219"/>
                  <a:gd name="T5" fmla="*/ 242 h 243"/>
                  <a:gd name="T6" fmla="*/ 135 w 219"/>
                  <a:gd name="T7" fmla="*/ 99 h 243"/>
                  <a:gd name="T8" fmla="*/ 17 w 219"/>
                  <a:gd name="T9" fmla="*/ 17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9" h="243">
                    <a:moveTo>
                      <a:pt x="17" y="17"/>
                    </a:moveTo>
                    <a:cubicBezTo>
                      <a:pt x="0" y="34"/>
                      <a:pt x="62" y="74"/>
                      <a:pt x="110" y="126"/>
                    </a:cubicBezTo>
                    <a:cubicBezTo>
                      <a:pt x="158" y="178"/>
                      <a:pt x="193" y="243"/>
                      <a:pt x="206" y="242"/>
                    </a:cubicBezTo>
                    <a:cubicBezTo>
                      <a:pt x="219" y="240"/>
                      <a:pt x="183" y="160"/>
                      <a:pt x="135" y="99"/>
                    </a:cubicBezTo>
                    <a:cubicBezTo>
                      <a:pt x="90" y="41"/>
                      <a:pt x="34" y="0"/>
                      <a:pt x="17" y="17"/>
                    </a:cubicBezTo>
                    <a:close/>
                  </a:path>
                </a:pathLst>
              </a:custGeom>
              <a:solidFill>
                <a:srgbClr val="C7DB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07" name="任意多边形: 形状 306">
                <a:extLst>
                  <a:ext uri="{FF2B5EF4-FFF2-40B4-BE49-F238E27FC236}">
                    <a16:creationId xmlns:a16="http://schemas.microsoft.com/office/drawing/2014/main" id="{73E554C1-FDC5-470D-94A3-CA2CCA63A1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2283" y="5346169"/>
                <a:ext cx="979488" cy="38100"/>
              </a:xfrm>
              <a:custGeom>
                <a:avLst/>
                <a:gdLst>
                  <a:gd name="T0" fmla="*/ 293 w 297"/>
                  <a:gd name="T1" fmla="*/ 0 h 12"/>
                  <a:gd name="T2" fmla="*/ 297 w 297"/>
                  <a:gd name="T3" fmla="*/ 12 h 12"/>
                  <a:gd name="T4" fmla="*/ 6 w 297"/>
                  <a:gd name="T5" fmla="*/ 12 h 12"/>
                  <a:gd name="T6" fmla="*/ 0 w 297"/>
                  <a:gd name="T7" fmla="*/ 6 h 12"/>
                  <a:gd name="T8" fmla="*/ 6 w 297"/>
                  <a:gd name="T9" fmla="*/ 0 h 12"/>
                  <a:gd name="T10" fmla="*/ 293 w 297"/>
                  <a:gd name="T1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97" h="12">
                    <a:moveTo>
                      <a:pt x="293" y="0"/>
                    </a:moveTo>
                    <a:cubicBezTo>
                      <a:pt x="294" y="4"/>
                      <a:pt x="295" y="8"/>
                      <a:pt x="297" y="12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9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lnTo>
                      <a:pt x="293" y="0"/>
                    </a:lnTo>
                    <a:close/>
                  </a:path>
                </a:pathLst>
              </a:custGeom>
              <a:solidFill>
                <a:srgbClr val="C7DB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08" name="任意多边形: 形状 307">
                <a:extLst>
                  <a:ext uri="{FF2B5EF4-FFF2-40B4-BE49-F238E27FC236}">
                    <a16:creationId xmlns:a16="http://schemas.microsoft.com/office/drawing/2014/main" id="{6EFE4631-57E7-435E-9FF9-152C5BA1FC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7708" y="5346169"/>
                <a:ext cx="3238500" cy="38100"/>
              </a:xfrm>
              <a:custGeom>
                <a:avLst/>
                <a:gdLst>
                  <a:gd name="T0" fmla="*/ 982 w 982"/>
                  <a:gd name="T1" fmla="*/ 6 h 12"/>
                  <a:gd name="T2" fmla="*/ 976 w 982"/>
                  <a:gd name="T3" fmla="*/ 12 h 12"/>
                  <a:gd name="T4" fmla="*/ 3 w 982"/>
                  <a:gd name="T5" fmla="*/ 12 h 12"/>
                  <a:gd name="T6" fmla="*/ 0 w 982"/>
                  <a:gd name="T7" fmla="*/ 0 h 12"/>
                  <a:gd name="T8" fmla="*/ 976 w 982"/>
                  <a:gd name="T9" fmla="*/ 0 h 12"/>
                  <a:gd name="T10" fmla="*/ 982 w 982"/>
                  <a:gd name="T11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82" h="12">
                    <a:moveTo>
                      <a:pt x="982" y="6"/>
                    </a:moveTo>
                    <a:cubicBezTo>
                      <a:pt x="982" y="9"/>
                      <a:pt x="979" y="12"/>
                      <a:pt x="976" y="12"/>
                    </a:cubicBezTo>
                    <a:cubicBezTo>
                      <a:pt x="3" y="12"/>
                      <a:pt x="3" y="12"/>
                      <a:pt x="3" y="12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976" y="0"/>
                      <a:pt x="976" y="0"/>
                      <a:pt x="976" y="0"/>
                    </a:cubicBezTo>
                    <a:cubicBezTo>
                      <a:pt x="979" y="0"/>
                      <a:pt x="982" y="3"/>
                      <a:pt x="982" y="6"/>
                    </a:cubicBezTo>
                  </a:path>
                </a:pathLst>
              </a:custGeom>
              <a:solidFill>
                <a:srgbClr val="C7DB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09" name="椭圆 308">
                <a:extLst>
                  <a:ext uri="{FF2B5EF4-FFF2-40B4-BE49-F238E27FC236}">
                    <a16:creationId xmlns:a16="http://schemas.microsoft.com/office/drawing/2014/main" id="{771741EE-27C8-4D54-A4FB-7D5040D5B6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53933" y="2890306"/>
                <a:ext cx="303213" cy="2413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0" name="椭圆 309">
                <a:extLst>
                  <a:ext uri="{FF2B5EF4-FFF2-40B4-BE49-F238E27FC236}">
                    <a16:creationId xmlns:a16="http://schemas.microsoft.com/office/drawing/2014/main" id="{59507CE9-5000-467D-B31A-072B79BC99B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07933" y="2969681"/>
                <a:ext cx="211138" cy="168275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1" name="任意多边形: 形状 310">
                <a:extLst>
                  <a:ext uri="{FF2B5EF4-FFF2-40B4-BE49-F238E27FC236}">
                    <a16:creationId xmlns:a16="http://schemas.microsoft.com/office/drawing/2014/main" id="{4363B286-B50A-4748-A069-ACB042D737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17421" y="3052231"/>
                <a:ext cx="547688" cy="760413"/>
              </a:xfrm>
              <a:custGeom>
                <a:avLst/>
                <a:gdLst>
                  <a:gd name="T0" fmla="*/ 166 w 166"/>
                  <a:gd name="T1" fmla="*/ 0 h 231"/>
                  <a:gd name="T2" fmla="*/ 166 w 166"/>
                  <a:gd name="T3" fmla="*/ 185 h 231"/>
                  <a:gd name="T4" fmla="*/ 120 w 166"/>
                  <a:gd name="T5" fmla="*/ 231 h 231"/>
                  <a:gd name="T6" fmla="*/ 46 w 166"/>
                  <a:gd name="T7" fmla="*/ 231 h 231"/>
                  <a:gd name="T8" fmla="*/ 24 w 166"/>
                  <a:gd name="T9" fmla="*/ 226 h 231"/>
                  <a:gd name="T10" fmla="*/ 0 w 166"/>
                  <a:gd name="T11" fmla="*/ 185 h 231"/>
                  <a:gd name="T12" fmla="*/ 0 w 166"/>
                  <a:gd name="T13" fmla="*/ 0 h 231"/>
                  <a:gd name="T14" fmla="*/ 166 w 166"/>
                  <a:gd name="T15" fmla="*/ 0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6" h="231">
                    <a:moveTo>
                      <a:pt x="166" y="0"/>
                    </a:moveTo>
                    <a:cubicBezTo>
                      <a:pt x="166" y="185"/>
                      <a:pt x="166" y="185"/>
                      <a:pt x="166" y="185"/>
                    </a:cubicBezTo>
                    <a:cubicBezTo>
                      <a:pt x="166" y="211"/>
                      <a:pt x="145" y="231"/>
                      <a:pt x="120" y="231"/>
                    </a:cubicBezTo>
                    <a:cubicBezTo>
                      <a:pt x="46" y="231"/>
                      <a:pt x="46" y="231"/>
                      <a:pt x="46" y="231"/>
                    </a:cubicBezTo>
                    <a:cubicBezTo>
                      <a:pt x="38" y="231"/>
                      <a:pt x="31" y="229"/>
                      <a:pt x="24" y="226"/>
                    </a:cubicBezTo>
                    <a:cubicBezTo>
                      <a:pt x="10" y="218"/>
                      <a:pt x="0" y="203"/>
                      <a:pt x="0" y="185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66" y="0"/>
                      <a:pt x="166" y="0"/>
                      <a:pt x="166" y="0"/>
                    </a:cubicBezTo>
                  </a:path>
                </a:pathLst>
              </a:custGeom>
              <a:solidFill>
                <a:srgbClr val="5699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2" name="任意多边形: 形状 311">
                <a:extLst>
                  <a:ext uri="{FF2B5EF4-FFF2-40B4-BE49-F238E27FC236}">
                    <a16:creationId xmlns:a16="http://schemas.microsoft.com/office/drawing/2014/main" id="{AC7B21C0-FACC-458B-A401-F2A2AEEDD2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2721" y="3255431"/>
                <a:ext cx="241300" cy="354013"/>
              </a:xfrm>
              <a:custGeom>
                <a:avLst/>
                <a:gdLst>
                  <a:gd name="T0" fmla="*/ 42 w 73"/>
                  <a:gd name="T1" fmla="*/ 107 h 107"/>
                  <a:gd name="T2" fmla="*/ 0 w 73"/>
                  <a:gd name="T3" fmla="*/ 107 h 107"/>
                  <a:gd name="T4" fmla="*/ 0 w 73"/>
                  <a:gd name="T5" fmla="*/ 0 h 107"/>
                  <a:gd name="T6" fmla="*/ 42 w 73"/>
                  <a:gd name="T7" fmla="*/ 0 h 107"/>
                  <a:gd name="T8" fmla="*/ 73 w 73"/>
                  <a:gd name="T9" fmla="*/ 32 h 107"/>
                  <a:gd name="T10" fmla="*/ 73 w 73"/>
                  <a:gd name="T11" fmla="*/ 76 h 107"/>
                  <a:gd name="T12" fmla="*/ 42 w 73"/>
                  <a:gd name="T13" fmla="*/ 107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3" h="107">
                    <a:moveTo>
                      <a:pt x="42" y="107"/>
                    </a:moveTo>
                    <a:cubicBezTo>
                      <a:pt x="0" y="107"/>
                      <a:pt x="0" y="107"/>
                      <a:pt x="0" y="10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59" y="0"/>
                      <a:pt x="73" y="14"/>
                      <a:pt x="73" y="32"/>
                    </a:cubicBezTo>
                    <a:cubicBezTo>
                      <a:pt x="73" y="76"/>
                      <a:pt x="73" y="76"/>
                      <a:pt x="73" y="76"/>
                    </a:cubicBezTo>
                    <a:cubicBezTo>
                      <a:pt x="73" y="93"/>
                      <a:pt x="59" y="107"/>
                      <a:pt x="42" y="107"/>
                    </a:cubicBezTo>
                    <a:close/>
                  </a:path>
                </a:pathLst>
              </a:custGeom>
              <a:noFill/>
              <a:ln w="52388" cap="flat">
                <a:solidFill>
                  <a:srgbClr val="5699E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3" name="任意多边形: 形状 312">
                <a:extLst>
                  <a:ext uri="{FF2B5EF4-FFF2-40B4-BE49-F238E27FC236}">
                    <a16:creationId xmlns:a16="http://schemas.microsoft.com/office/drawing/2014/main" id="{FBFED5FE-4C9A-450C-B9AB-711667B6F9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0771" y="2568044"/>
                <a:ext cx="88900" cy="282575"/>
              </a:xfrm>
              <a:custGeom>
                <a:avLst/>
                <a:gdLst>
                  <a:gd name="T0" fmla="*/ 22 w 27"/>
                  <a:gd name="T1" fmla="*/ 0 h 86"/>
                  <a:gd name="T2" fmla="*/ 20 w 27"/>
                  <a:gd name="T3" fmla="*/ 2 h 86"/>
                  <a:gd name="T4" fmla="*/ 20 w 27"/>
                  <a:gd name="T5" fmla="*/ 2 h 86"/>
                  <a:gd name="T6" fmla="*/ 13 w 27"/>
                  <a:gd name="T7" fmla="*/ 21 h 86"/>
                  <a:gd name="T8" fmla="*/ 4 w 27"/>
                  <a:gd name="T9" fmla="*/ 40 h 86"/>
                  <a:gd name="T10" fmla="*/ 1 w 27"/>
                  <a:gd name="T11" fmla="*/ 46 h 86"/>
                  <a:gd name="T12" fmla="*/ 0 w 27"/>
                  <a:gd name="T13" fmla="*/ 50 h 86"/>
                  <a:gd name="T14" fmla="*/ 0 w 27"/>
                  <a:gd name="T15" fmla="*/ 54 h 86"/>
                  <a:gd name="T16" fmla="*/ 3 w 27"/>
                  <a:gd name="T17" fmla="*/ 68 h 86"/>
                  <a:gd name="T18" fmla="*/ 20 w 27"/>
                  <a:gd name="T19" fmla="*/ 85 h 86"/>
                  <a:gd name="T20" fmla="*/ 21 w 27"/>
                  <a:gd name="T21" fmla="*/ 86 h 86"/>
                  <a:gd name="T22" fmla="*/ 22 w 27"/>
                  <a:gd name="T23" fmla="*/ 86 h 86"/>
                  <a:gd name="T24" fmla="*/ 23 w 27"/>
                  <a:gd name="T25" fmla="*/ 83 h 86"/>
                  <a:gd name="T26" fmla="*/ 23 w 27"/>
                  <a:gd name="T27" fmla="*/ 83 h 86"/>
                  <a:gd name="T28" fmla="*/ 18 w 27"/>
                  <a:gd name="T29" fmla="*/ 62 h 86"/>
                  <a:gd name="T30" fmla="*/ 17 w 27"/>
                  <a:gd name="T31" fmla="*/ 55 h 86"/>
                  <a:gd name="T32" fmla="*/ 18 w 27"/>
                  <a:gd name="T33" fmla="*/ 53 h 86"/>
                  <a:gd name="T34" fmla="*/ 18 w 27"/>
                  <a:gd name="T35" fmla="*/ 52 h 86"/>
                  <a:gd name="T36" fmla="*/ 20 w 27"/>
                  <a:gd name="T37" fmla="*/ 47 h 86"/>
                  <a:gd name="T38" fmla="*/ 26 w 27"/>
                  <a:gd name="T39" fmla="*/ 25 h 86"/>
                  <a:gd name="T40" fmla="*/ 27 w 27"/>
                  <a:gd name="T41" fmla="*/ 13 h 86"/>
                  <a:gd name="T42" fmla="*/ 24 w 27"/>
                  <a:gd name="T43" fmla="*/ 1 h 86"/>
                  <a:gd name="T44" fmla="*/ 22 w 27"/>
                  <a:gd name="T45" fmla="*/ 0 h 86"/>
                  <a:gd name="T46" fmla="*/ 22 w 27"/>
                  <a:gd name="T47" fmla="*/ 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7" h="86">
                    <a:moveTo>
                      <a:pt x="22" y="0"/>
                    </a:moveTo>
                    <a:cubicBezTo>
                      <a:pt x="21" y="0"/>
                      <a:pt x="20" y="0"/>
                      <a:pt x="20" y="2"/>
                    </a:cubicBezTo>
                    <a:cubicBezTo>
                      <a:pt x="20" y="2"/>
                      <a:pt x="20" y="2"/>
                      <a:pt x="20" y="2"/>
                    </a:cubicBezTo>
                    <a:cubicBezTo>
                      <a:pt x="19" y="9"/>
                      <a:pt x="16" y="15"/>
                      <a:pt x="13" y="21"/>
                    </a:cubicBezTo>
                    <a:cubicBezTo>
                      <a:pt x="10" y="27"/>
                      <a:pt x="7" y="34"/>
                      <a:pt x="4" y="40"/>
                    </a:cubicBezTo>
                    <a:cubicBezTo>
                      <a:pt x="1" y="46"/>
                      <a:pt x="1" y="46"/>
                      <a:pt x="1" y="46"/>
                    </a:cubicBezTo>
                    <a:cubicBezTo>
                      <a:pt x="1" y="47"/>
                      <a:pt x="1" y="48"/>
                      <a:pt x="0" y="50"/>
                    </a:cubicBezTo>
                    <a:cubicBezTo>
                      <a:pt x="0" y="51"/>
                      <a:pt x="0" y="53"/>
                      <a:pt x="0" y="54"/>
                    </a:cubicBezTo>
                    <a:cubicBezTo>
                      <a:pt x="0" y="59"/>
                      <a:pt x="1" y="64"/>
                      <a:pt x="3" y="68"/>
                    </a:cubicBezTo>
                    <a:cubicBezTo>
                      <a:pt x="7" y="75"/>
                      <a:pt x="13" y="81"/>
                      <a:pt x="20" y="85"/>
                    </a:cubicBezTo>
                    <a:cubicBezTo>
                      <a:pt x="21" y="86"/>
                      <a:pt x="21" y="86"/>
                      <a:pt x="21" y="86"/>
                    </a:cubicBezTo>
                    <a:cubicBezTo>
                      <a:pt x="21" y="86"/>
                      <a:pt x="22" y="86"/>
                      <a:pt x="22" y="86"/>
                    </a:cubicBezTo>
                    <a:cubicBezTo>
                      <a:pt x="23" y="85"/>
                      <a:pt x="24" y="84"/>
                      <a:pt x="23" y="83"/>
                    </a:cubicBezTo>
                    <a:cubicBezTo>
                      <a:pt x="23" y="83"/>
                      <a:pt x="23" y="83"/>
                      <a:pt x="23" y="83"/>
                    </a:cubicBezTo>
                    <a:cubicBezTo>
                      <a:pt x="22" y="75"/>
                      <a:pt x="19" y="68"/>
                      <a:pt x="18" y="62"/>
                    </a:cubicBezTo>
                    <a:cubicBezTo>
                      <a:pt x="17" y="59"/>
                      <a:pt x="17" y="57"/>
                      <a:pt x="17" y="55"/>
                    </a:cubicBezTo>
                    <a:cubicBezTo>
                      <a:pt x="18" y="54"/>
                      <a:pt x="17" y="54"/>
                      <a:pt x="18" y="53"/>
                    </a:cubicBezTo>
                    <a:cubicBezTo>
                      <a:pt x="18" y="53"/>
                      <a:pt x="18" y="53"/>
                      <a:pt x="18" y="52"/>
                    </a:cubicBezTo>
                    <a:cubicBezTo>
                      <a:pt x="20" y="47"/>
                      <a:pt x="20" y="47"/>
                      <a:pt x="20" y="47"/>
                    </a:cubicBezTo>
                    <a:cubicBezTo>
                      <a:pt x="23" y="40"/>
                      <a:pt x="25" y="33"/>
                      <a:pt x="26" y="25"/>
                    </a:cubicBezTo>
                    <a:cubicBezTo>
                      <a:pt x="27" y="21"/>
                      <a:pt x="27" y="17"/>
                      <a:pt x="27" y="13"/>
                    </a:cubicBezTo>
                    <a:cubicBezTo>
                      <a:pt x="27" y="9"/>
                      <a:pt x="26" y="4"/>
                      <a:pt x="24" y="1"/>
                    </a:cubicBezTo>
                    <a:cubicBezTo>
                      <a:pt x="23" y="0"/>
                      <a:pt x="23" y="0"/>
                      <a:pt x="22" y="0"/>
                    </a:cubicBezTo>
                    <a:cubicBezTo>
                      <a:pt x="22" y="0"/>
                      <a:pt x="22" y="0"/>
                      <a:pt x="22" y="0"/>
                    </a:cubicBezTo>
                  </a:path>
                </a:pathLst>
              </a:custGeom>
              <a:solidFill>
                <a:srgbClr val="9AC1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4" name="任意多边形: 形状 313">
                <a:extLst>
                  <a:ext uri="{FF2B5EF4-FFF2-40B4-BE49-F238E27FC236}">
                    <a16:creationId xmlns:a16="http://schemas.microsoft.com/office/drawing/2014/main" id="{F171AF8B-CB86-4BE7-823D-73E1FD2E64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7621" y="2649006"/>
                <a:ext cx="85725" cy="247650"/>
              </a:xfrm>
              <a:custGeom>
                <a:avLst/>
                <a:gdLst>
                  <a:gd name="T0" fmla="*/ 5 w 26"/>
                  <a:gd name="T1" fmla="*/ 0 h 75"/>
                  <a:gd name="T2" fmla="*/ 4 w 26"/>
                  <a:gd name="T3" fmla="*/ 1 h 75"/>
                  <a:gd name="T4" fmla="*/ 0 w 26"/>
                  <a:gd name="T5" fmla="*/ 11 h 75"/>
                  <a:gd name="T6" fmla="*/ 1 w 26"/>
                  <a:gd name="T7" fmla="*/ 22 h 75"/>
                  <a:gd name="T8" fmla="*/ 6 w 26"/>
                  <a:gd name="T9" fmla="*/ 42 h 75"/>
                  <a:gd name="T10" fmla="*/ 8 w 26"/>
                  <a:gd name="T11" fmla="*/ 46 h 75"/>
                  <a:gd name="T12" fmla="*/ 8 w 26"/>
                  <a:gd name="T13" fmla="*/ 47 h 75"/>
                  <a:gd name="T14" fmla="*/ 8 w 26"/>
                  <a:gd name="T15" fmla="*/ 48 h 75"/>
                  <a:gd name="T16" fmla="*/ 8 w 26"/>
                  <a:gd name="T17" fmla="*/ 54 h 75"/>
                  <a:gd name="T18" fmla="*/ 4 w 26"/>
                  <a:gd name="T19" fmla="*/ 72 h 75"/>
                  <a:gd name="T20" fmla="*/ 4 w 26"/>
                  <a:gd name="T21" fmla="*/ 72 h 75"/>
                  <a:gd name="T22" fmla="*/ 4 w 26"/>
                  <a:gd name="T23" fmla="*/ 74 h 75"/>
                  <a:gd name="T24" fmla="*/ 6 w 26"/>
                  <a:gd name="T25" fmla="*/ 75 h 75"/>
                  <a:gd name="T26" fmla="*/ 7 w 26"/>
                  <a:gd name="T27" fmla="*/ 75 h 75"/>
                  <a:gd name="T28" fmla="*/ 23 w 26"/>
                  <a:gd name="T29" fmla="*/ 60 h 75"/>
                  <a:gd name="T30" fmla="*/ 26 w 26"/>
                  <a:gd name="T31" fmla="*/ 47 h 75"/>
                  <a:gd name="T32" fmla="*/ 25 w 26"/>
                  <a:gd name="T33" fmla="*/ 43 h 75"/>
                  <a:gd name="T34" fmla="*/ 24 w 26"/>
                  <a:gd name="T35" fmla="*/ 39 h 75"/>
                  <a:gd name="T36" fmla="*/ 22 w 26"/>
                  <a:gd name="T37" fmla="*/ 35 h 75"/>
                  <a:gd name="T38" fmla="*/ 14 w 26"/>
                  <a:gd name="T39" fmla="*/ 18 h 75"/>
                  <a:gd name="T40" fmla="*/ 7 w 26"/>
                  <a:gd name="T41" fmla="*/ 2 h 75"/>
                  <a:gd name="T42" fmla="*/ 7 w 26"/>
                  <a:gd name="T43" fmla="*/ 1 h 75"/>
                  <a:gd name="T44" fmla="*/ 6 w 26"/>
                  <a:gd name="T45" fmla="*/ 0 h 75"/>
                  <a:gd name="T46" fmla="*/ 5 w 26"/>
                  <a:gd name="T47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6" h="75">
                    <a:moveTo>
                      <a:pt x="5" y="0"/>
                    </a:moveTo>
                    <a:cubicBezTo>
                      <a:pt x="5" y="0"/>
                      <a:pt x="4" y="0"/>
                      <a:pt x="4" y="1"/>
                    </a:cubicBezTo>
                    <a:cubicBezTo>
                      <a:pt x="2" y="4"/>
                      <a:pt x="1" y="8"/>
                      <a:pt x="0" y="11"/>
                    </a:cubicBezTo>
                    <a:cubicBezTo>
                      <a:pt x="0" y="15"/>
                      <a:pt x="0" y="19"/>
                      <a:pt x="1" y="22"/>
                    </a:cubicBezTo>
                    <a:cubicBezTo>
                      <a:pt x="2" y="29"/>
                      <a:pt x="4" y="36"/>
                      <a:pt x="6" y="42"/>
                    </a:cubicBezTo>
                    <a:cubicBezTo>
                      <a:pt x="8" y="46"/>
                      <a:pt x="8" y="46"/>
                      <a:pt x="8" y="46"/>
                    </a:cubicBezTo>
                    <a:cubicBezTo>
                      <a:pt x="8" y="46"/>
                      <a:pt x="8" y="46"/>
                      <a:pt x="8" y="47"/>
                    </a:cubicBezTo>
                    <a:cubicBezTo>
                      <a:pt x="8" y="48"/>
                      <a:pt x="8" y="48"/>
                      <a:pt x="8" y="48"/>
                    </a:cubicBezTo>
                    <a:cubicBezTo>
                      <a:pt x="8" y="49"/>
                      <a:pt x="8" y="52"/>
                      <a:pt x="8" y="54"/>
                    </a:cubicBezTo>
                    <a:cubicBezTo>
                      <a:pt x="7" y="59"/>
                      <a:pt x="5" y="65"/>
                      <a:pt x="4" y="72"/>
                    </a:cubicBezTo>
                    <a:cubicBezTo>
                      <a:pt x="4" y="72"/>
                      <a:pt x="4" y="72"/>
                      <a:pt x="4" y="72"/>
                    </a:cubicBezTo>
                    <a:cubicBezTo>
                      <a:pt x="4" y="73"/>
                      <a:pt x="4" y="73"/>
                      <a:pt x="4" y="74"/>
                    </a:cubicBezTo>
                    <a:cubicBezTo>
                      <a:pt x="4" y="74"/>
                      <a:pt x="5" y="75"/>
                      <a:pt x="6" y="75"/>
                    </a:cubicBezTo>
                    <a:cubicBezTo>
                      <a:pt x="6" y="75"/>
                      <a:pt x="7" y="75"/>
                      <a:pt x="7" y="75"/>
                    </a:cubicBezTo>
                    <a:cubicBezTo>
                      <a:pt x="14" y="71"/>
                      <a:pt x="19" y="66"/>
                      <a:pt x="23" y="60"/>
                    </a:cubicBezTo>
                    <a:cubicBezTo>
                      <a:pt x="24" y="56"/>
                      <a:pt x="26" y="52"/>
                      <a:pt x="26" y="47"/>
                    </a:cubicBezTo>
                    <a:cubicBezTo>
                      <a:pt x="26" y="46"/>
                      <a:pt x="26" y="45"/>
                      <a:pt x="25" y="43"/>
                    </a:cubicBezTo>
                    <a:cubicBezTo>
                      <a:pt x="25" y="42"/>
                      <a:pt x="25" y="40"/>
                      <a:pt x="24" y="39"/>
                    </a:cubicBezTo>
                    <a:cubicBezTo>
                      <a:pt x="22" y="35"/>
                      <a:pt x="22" y="35"/>
                      <a:pt x="22" y="35"/>
                    </a:cubicBezTo>
                    <a:cubicBezTo>
                      <a:pt x="20" y="29"/>
                      <a:pt x="17" y="24"/>
                      <a:pt x="14" y="18"/>
                    </a:cubicBezTo>
                    <a:cubicBezTo>
                      <a:pt x="12" y="13"/>
                      <a:pt x="9" y="8"/>
                      <a:pt x="7" y="2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7" y="1"/>
                      <a:pt x="7" y="0"/>
                      <a:pt x="6" y="0"/>
                    </a:cubicBezTo>
                    <a:cubicBezTo>
                      <a:pt x="6" y="0"/>
                      <a:pt x="6" y="0"/>
                      <a:pt x="5" y="0"/>
                    </a:cubicBezTo>
                  </a:path>
                </a:pathLst>
              </a:custGeom>
              <a:solidFill>
                <a:srgbClr val="9AC1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5" name="任意多边形: 形状 314">
                <a:extLst>
                  <a:ext uri="{FF2B5EF4-FFF2-40B4-BE49-F238E27FC236}">
                    <a16:creationId xmlns:a16="http://schemas.microsoft.com/office/drawing/2014/main" id="{D685F089-746A-4C80-A437-D868D52A0B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6008" y="3518956"/>
                <a:ext cx="119063" cy="293688"/>
              </a:xfrm>
              <a:custGeom>
                <a:avLst/>
                <a:gdLst>
                  <a:gd name="T0" fmla="*/ 12 w 36"/>
                  <a:gd name="T1" fmla="*/ 0 h 89"/>
                  <a:gd name="T2" fmla="*/ 0 w 36"/>
                  <a:gd name="T3" fmla="*/ 89 h 89"/>
                  <a:gd name="T4" fmla="*/ 7 w 36"/>
                  <a:gd name="T5" fmla="*/ 89 h 89"/>
                  <a:gd name="T6" fmla="*/ 26 w 36"/>
                  <a:gd name="T7" fmla="*/ 89 h 89"/>
                  <a:gd name="T8" fmla="*/ 30 w 36"/>
                  <a:gd name="T9" fmla="*/ 38 h 89"/>
                  <a:gd name="T10" fmla="*/ 12 w 36"/>
                  <a:gd name="T11" fmla="*/ 0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6" h="89">
                    <a:moveTo>
                      <a:pt x="12" y="0"/>
                    </a:moveTo>
                    <a:cubicBezTo>
                      <a:pt x="23" y="17"/>
                      <a:pt x="2" y="82"/>
                      <a:pt x="0" y="89"/>
                    </a:cubicBezTo>
                    <a:cubicBezTo>
                      <a:pt x="2" y="89"/>
                      <a:pt x="4" y="89"/>
                      <a:pt x="7" y="89"/>
                    </a:cubicBezTo>
                    <a:cubicBezTo>
                      <a:pt x="26" y="89"/>
                      <a:pt x="26" y="89"/>
                      <a:pt x="26" y="89"/>
                    </a:cubicBezTo>
                    <a:cubicBezTo>
                      <a:pt x="25" y="78"/>
                      <a:pt x="26" y="60"/>
                      <a:pt x="30" y="38"/>
                    </a:cubicBezTo>
                    <a:cubicBezTo>
                      <a:pt x="36" y="7"/>
                      <a:pt x="19" y="1"/>
                      <a:pt x="12" y="0"/>
                    </a:cubicBezTo>
                  </a:path>
                </a:pathLst>
              </a:custGeom>
              <a:solidFill>
                <a:srgbClr val="427BE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6" name="任意多边形: 形状 315">
                <a:extLst>
                  <a:ext uri="{FF2B5EF4-FFF2-40B4-BE49-F238E27FC236}">
                    <a16:creationId xmlns:a16="http://schemas.microsoft.com/office/drawing/2014/main" id="{3EF9043E-4C46-4CF8-BD52-7F627CA8C8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1546" y="3487206"/>
                <a:ext cx="412750" cy="506413"/>
              </a:xfrm>
              <a:custGeom>
                <a:avLst/>
                <a:gdLst>
                  <a:gd name="T0" fmla="*/ 0 w 125"/>
                  <a:gd name="T1" fmla="*/ 110 h 154"/>
                  <a:gd name="T2" fmla="*/ 52 w 125"/>
                  <a:gd name="T3" fmla="*/ 6 h 154"/>
                  <a:gd name="T4" fmla="*/ 43 w 125"/>
                  <a:gd name="T5" fmla="*/ 99 h 154"/>
                  <a:gd name="T6" fmla="*/ 125 w 125"/>
                  <a:gd name="T7" fmla="*/ 99 h 154"/>
                  <a:gd name="T8" fmla="*/ 92 w 125"/>
                  <a:gd name="T9" fmla="*/ 154 h 154"/>
                  <a:gd name="T10" fmla="*/ 0 w 125"/>
                  <a:gd name="T11" fmla="*/ 110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5" h="154">
                    <a:moveTo>
                      <a:pt x="0" y="110"/>
                    </a:moveTo>
                    <a:cubicBezTo>
                      <a:pt x="0" y="110"/>
                      <a:pt x="30" y="0"/>
                      <a:pt x="52" y="6"/>
                    </a:cubicBezTo>
                    <a:cubicBezTo>
                      <a:pt x="73" y="12"/>
                      <a:pt x="43" y="99"/>
                      <a:pt x="43" y="99"/>
                    </a:cubicBezTo>
                    <a:cubicBezTo>
                      <a:pt x="125" y="99"/>
                      <a:pt x="125" y="99"/>
                      <a:pt x="125" y="99"/>
                    </a:cubicBezTo>
                    <a:cubicBezTo>
                      <a:pt x="125" y="99"/>
                      <a:pt x="109" y="154"/>
                      <a:pt x="92" y="154"/>
                    </a:cubicBezTo>
                    <a:cubicBezTo>
                      <a:pt x="0" y="110"/>
                      <a:pt x="0" y="110"/>
                      <a:pt x="0" y="110"/>
                    </a:cubicBezTo>
                  </a:path>
                </a:pathLst>
              </a:custGeom>
              <a:solidFill>
                <a:srgbClr val="FFBEA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4" name="任意多边形: 形状 323">
                <a:extLst>
                  <a:ext uri="{FF2B5EF4-FFF2-40B4-BE49-F238E27FC236}">
                    <a16:creationId xmlns:a16="http://schemas.microsoft.com/office/drawing/2014/main" id="{8B51D665-D9FF-49B4-98B3-4065F58113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9458" y="3955519"/>
                <a:ext cx="1804988" cy="787400"/>
              </a:xfrm>
              <a:custGeom>
                <a:avLst/>
                <a:gdLst>
                  <a:gd name="T0" fmla="*/ 525 w 547"/>
                  <a:gd name="T1" fmla="*/ 0 h 239"/>
                  <a:gd name="T2" fmla="*/ 266 w 547"/>
                  <a:gd name="T3" fmla="*/ 210 h 239"/>
                  <a:gd name="T4" fmla="*/ 224 w 547"/>
                  <a:gd name="T5" fmla="*/ 215 h 239"/>
                  <a:gd name="T6" fmla="*/ 0 w 547"/>
                  <a:gd name="T7" fmla="*/ 133 h 239"/>
                  <a:gd name="T8" fmla="*/ 256 w 547"/>
                  <a:gd name="T9" fmla="*/ 239 h 239"/>
                  <a:gd name="T10" fmla="*/ 282 w 547"/>
                  <a:gd name="T11" fmla="*/ 237 h 239"/>
                  <a:gd name="T12" fmla="*/ 547 w 547"/>
                  <a:gd name="T13" fmla="*/ 10 h 239"/>
                  <a:gd name="T14" fmla="*/ 525 w 547"/>
                  <a:gd name="T15" fmla="*/ 0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47" h="239">
                    <a:moveTo>
                      <a:pt x="525" y="0"/>
                    </a:moveTo>
                    <a:cubicBezTo>
                      <a:pt x="525" y="0"/>
                      <a:pt x="387" y="184"/>
                      <a:pt x="266" y="210"/>
                    </a:cubicBezTo>
                    <a:cubicBezTo>
                      <a:pt x="252" y="213"/>
                      <a:pt x="238" y="215"/>
                      <a:pt x="224" y="215"/>
                    </a:cubicBezTo>
                    <a:cubicBezTo>
                      <a:pt x="114" y="215"/>
                      <a:pt x="0" y="133"/>
                      <a:pt x="0" y="133"/>
                    </a:cubicBezTo>
                    <a:cubicBezTo>
                      <a:pt x="0" y="133"/>
                      <a:pt x="119" y="239"/>
                      <a:pt x="256" y="239"/>
                    </a:cubicBezTo>
                    <a:cubicBezTo>
                      <a:pt x="265" y="239"/>
                      <a:pt x="274" y="238"/>
                      <a:pt x="282" y="237"/>
                    </a:cubicBezTo>
                    <a:cubicBezTo>
                      <a:pt x="478" y="218"/>
                      <a:pt x="547" y="10"/>
                      <a:pt x="547" y="10"/>
                    </a:cubicBezTo>
                    <a:cubicBezTo>
                      <a:pt x="525" y="0"/>
                      <a:pt x="525" y="0"/>
                      <a:pt x="525" y="0"/>
                    </a:cubicBezTo>
                  </a:path>
                </a:pathLst>
              </a:custGeom>
              <a:solidFill>
                <a:srgbClr val="241A6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5" name="任意多边形: 形状 324">
                <a:extLst>
                  <a:ext uri="{FF2B5EF4-FFF2-40B4-BE49-F238E27FC236}">
                    <a16:creationId xmlns:a16="http://schemas.microsoft.com/office/drawing/2014/main" id="{3D405A07-AB3B-4082-A5DD-BF06082EB8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2921" y="1453619"/>
                <a:ext cx="2090738" cy="2082800"/>
              </a:xfrm>
              <a:custGeom>
                <a:avLst/>
                <a:gdLst>
                  <a:gd name="T0" fmla="*/ 634 w 634"/>
                  <a:gd name="T1" fmla="*/ 524 h 632"/>
                  <a:gd name="T2" fmla="*/ 610 w 634"/>
                  <a:gd name="T3" fmla="*/ 557 h 632"/>
                  <a:gd name="T4" fmla="*/ 558 w 634"/>
                  <a:gd name="T5" fmla="*/ 632 h 632"/>
                  <a:gd name="T6" fmla="*/ 522 w 634"/>
                  <a:gd name="T7" fmla="*/ 585 h 632"/>
                  <a:gd name="T8" fmla="*/ 178 w 634"/>
                  <a:gd name="T9" fmla="*/ 486 h 632"/>
                  <a:gd name="T10" fmla="*/ 0 w 634"/>
                  <a:gd name="T11" fmla="*/ 39 h 632"/>
                  <a:gd name="T12" fmla="*/ 144 w 634"/>
                  <a:gd name="T13" fmla="*/ 0 h 632"/>
                  <a:gd name="T14" fmla="*/ 384 w 634"/>
                  <a:gd name="T15" fmla="*/ 411 h 632"/>
                  <a:gd name="T16" fmla="*/ 634 w 634"/>
                  <a:gd name="T17" fmla="*/ 524 h 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34" h="632">
                    <a:moveTo>
                      <a:pt x="634" y="524"/>
                    </a:moveTo>
                    <a:cubicBezTo>
                      <a:pt x="610" y="557"/>
                      <a:pt x="610" y="557"/>
                      <a:pt x="610" y="557"/>
                    </a:cubicBezTo>
                    <a:cubicBezTo>
                      <a:pt x="558" y="632"/>
                      <a:pt x="558" y="632"/>
                      <a:pt x="558" y="632"/>
                    </a:cubicBezTo>
                    <a:cubicBezTo>
                      <a:pt x="554" y="610"/>
                      <a:pt x="541" y="595"/>
                      <a:pt x="522" y="585"/>
                    </a:cubicBezTo>
                    <a:cubicBezTo>
                      <a:pt x="450" y="547"/>
                      <a:pt x="290" y="568"/>
                      <a:pt x="178" y="486"/>
                    </a:cubicBezTo>
                    <a:cubicBezTo>
                      <a:pt x="51" y="392"/>
                      <a:pt x="0" y="39"/>
                      <a:pt x="0" y="39"/>
                    </a:cubicBezTo>
                    <a:cubicBezTo>
                      <a:pt x="144" y="0"/>
                      <a:pt x="144" y="0"/>
                      <a:pt x="144" y="0"/>
                    </a:cubicBezTo>
                    <a:cubicBezTo>
                      <a:pt x="165" y="186"/>
                      <a:pt x="232" y="379"/>
                      <a:pt x="384" y="411"/>
                    </a:cubicBezTo>
                    <a:cubicBezTo>
                      <a:pt x="509" y="437"/>
                      <a:pt x="634" y="524"/>
                      <a:pt x="634" y="524"/>
                    </a:cubicBezTo>
                  </a:path>
                </a:pathLst>
              </a:custGeom>
              <a:solidFill>
                <a:srgbClr val="FF73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9" name="任意多边形: 形状 338">
                <a:extLst>
                  <a:ext uri="{FF2B5EF4-FFF2-40B4-BE49-F238E27FC236}">
                    <a16:creationId xmlns:a16="http://schemas.microsoft.com/office/drawing/2014/main" id="{B7C765C0-900F-4333-AFC4-99043DD3CB5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75621" y="1625069"/>
                <a:ext cx="488950" cy="61913"/>
              </a:xfrm>
              <a:custGeom>
                <a:avLst/>
                <a:gdLst>
                  <a:gd name="T0" fmla="*/ 0 w 148"/>
                  <a:gd name="T1" fmla="*/ 11 h 19"/>
                  <a:gd name="T2" fmla="*/ 0 w 148"/>
                  <a:gd name="T3" fmla="*/ 11 h 19"/>
                  <a:gd name="T4" fmla="*/ 2 w 148"/>
                  <a:gd name="T5" fmla="*/ 19 h 19"/>
                  <a:gd name="T6" fmla="*/ 2 w 148"/>
                  <a:gd name="T7" fmla="*/ 19 h 19"/>
                  <a:gd name="T8" fmla="*/ 0 w 148"/>
                  <a:gd name="T9" fmla="*/ 11 h 19"/>
                  <a:gd name="T10" fmla="*/ 147 w 148"/>
                  <a:gd name="T11" fmla="*/ 0 h 19"/>
                  <a:gd name="T12" fmla="*/ 148 w 148"/>
                  <a:gd name="T13" fmla="*/ 8 h 19"/>
                  <a:gd name="T14" fmla="*/ 148 w 148"/>
                  <a:gd name="T15" fmla="*/ 8 h 19"/>
                  <a:gd name="T16" fmla="*/ 147 w 148"/>
                  <a:gd name="T1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8" h="19">
                    <a:moveTo>
                      <a:pt x="0" y="11"/>
                    </a:moveTo>
                    <a:cubicBezTo>
                      <a:pt x="0" y="11"/>
                      <a:pt x="0" y="11"/>
                      <a:pt x="0" y="11"/>
                    </a:cubicBezTo>
                    <a:cubicBezTo>
                      <a:pt x="1" y="14"/>
                      <a:pt x="1" y="16"/>
                      <a:pt x="2" y="19"/>
                    </a:cubicBezTo>
                    <a:cubicBezTo>
                      <a:pt x="2" y="19"/>
                      <a:pt x="2" y="19"/>
                      <a:pt x="2" y="19"/>
                    </a:cubicBezTo>
                    <a:cubicBezTo>
                      <a:pt x="1" y="16"/>
                      <a:pt x="1" y="14"/>
                      <a:pt x="0" y="11"/>
                    </a:cubicBezTo>
                    <a:moveTo>
                      <a:pt x="147" y="0"/>
                    </a:moveTo>
                    <a:cubicBezTo>
                      <a:pt x="147" y="2"/>
                      <a:pt x="148" y="5"/>
                      <a:pt x="148" y="8"/>
                    </a:cubicBezTo>
                    <a:cubicBezTo>
                      <a:pt x="148" y="8"/>
                      <a:pt x="148" y="8"/>
                      <a:pt x="148" y="8"/>
                    </a:cubicBezTo>
                    <a:cubicBezTo>
                      <a:pt x="148" y="5"/>
                      <a:pt x="147" y="2"/>
                      <a:pt x="147" y="0"/>
                    </a:cubicBezTo>
                  </a:path>
                </a:pathLst>
              </a:custGeom>
              <a:solidFill>
                <a:srgbClr val="9C3F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40" name="任意多边形: 形状 339">
                <a:extLst>
                  <a:ext uri="{FF2B5EF4-FFF2-40B4-BE49-F238E27FC236}">
                    <a16:creationId xmlns:a16="http://schemas.microsoft.com/office/drawing/2014/main" id="{8FC0A95E-6044-4CCA-A475-A42A8FC55D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5621" y="1621894"/>
                <a:ext cx="488950" cy="65088"/>
              </a:xfrm>
              <a:custGeom>
                <a:avLst/>
                <a:gdLst>
                  <a:gd name="T0" fmla="*/ 147 w 148"/>
                  <a:gd name="T1" fmla="*/ 0 h 20"/>
                  <a:gd name="T2" fmla="*/ 0 w 148"/>
                  <a:gd name="T3" fmla="*/ 12 h 20"/>
                  <a:gd name="T4" fmla="*/ 2 w 148"/>
                  <a:gd name="T5" fmla="*/ 20 h 20"/>
                  <a:gd name="T6" fmla="*/ 148 w 148"/>
                  <a:gd name="T7" fmla="*/ 9 h 20"/>
                  <a:gd name="T8" fmla="*/ 147 w 148"/>
                  <a:gd name="T9" fmla="*/ 1 h 20"/>
                  <a:gd name="T10" fmla="*/ 147 w 148"/>
                  <a:gd name="T11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8" h="20">
                    <a:moveTo>
                      <a:pt x="147" y="0"/>
                    </a:moveTo>
                    <a:cubicBezTo>
                      <a:pt x="98" y="4"/>
                      <a:pt x="49" y="8"/>
                      <a:pt x="0" y="12"/>
                    </a:cubicBezTo>
                    <a:cubicBezTo>
                      <a:pt x="1" y="15"/>
                      <a:pt x="1" y="17"/>
                      <a:pt x="2" y="20"/>
                    </a:cubicBezTo>
                    <a:cubicBezTo>
                      <a:pt x="50" y="16"/>
                      <a:pt x="99" y="13"/>
                      <a:pt x="148" y="9"/>
                    </a:cubicBezTo>
                    <a:cubicBezTo>
                      <a:pt x="148" y="6"/>
                      <a:pt x="147" y="3"/>
                      <a:pt x="147" y="1"/>
                    </a:cubicBezTo>
                    <a:cubicBezTo>
                      <a:pt x="147" y="1"/>
                      <a:pt x="147" y="1"/>
                      <a:pt x="147" y="0"/>
                    </a:cubicBezTo>
                  </a:path>
                </a:pathLst>
              </a:custGeom>
              <a:solidFill>
                <a:srgbClr val="FF535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pic>
            <p:nvPicPr>
              <p:cNvPr id="387" name="图片 386">
                <a:extLst>
                  <a:ext uri="{FF2B5EF4-FFF2-40B4-BE49-F238E27FC236}">
                    <a16:creationId xmlns:a16="http://schemas.microsoft.com/office/drawing/2014/main" id="{1CA940A6-C938-43F5-B759-CD86AF56C060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2">
                <a:alphaModFix amt="77000"/>
              </a:blip>
              <a:srcRect l="64189"/>
              <a:stretch>
                <a:fillRect/>
              </a:stretch>
            </p:blipFill>
            <p:spPr>
              <a:xfrm rot="5400000" flipV="1">
                <a:off x="2906245" y="3128235"/>
                <a:ext cx="373333" cy="4839621"/>
              </a:xfrm>
              <a:prstGeom prst="rect">
                <a:avLst/>
              </a:prstGeom>
              <a:effectLst>
                <a:outerShdw blurRad="1270000" dir="5400000" algn="ctr" rotWithShape="0">
                  <a:srgbClr val="000000">
                    <a:alpha val="0"/>
                  </a:srgbClr>
                </a:outerShdw>
              </a:effectLst>
            </p:spPr>
          </p:pic>
          <p:sp>
            <p:nvSpPr>
              <p:cNvPr id="317" name="任意多边形: 形状 316">
                <a:extLst>
                  <a:ext uri="{FF2B5EF4-FFF2-40B4-BE49-F238E27FC236}">
                    <a16:creationId xmlns:a16="http://schemas.microsoft.com/office/drawing/2014/main" id="{F24AF409-025E-43B2-9407-3D0C3AB969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0208" y="5747806"/>
                <a:ext cx="969963" cy="738188"/>
              </a:xfrm>
              <a:custGeom>
                <a:avLst/>
                <a:gdLst>
                  <a:gd name="T0" fmla="*/ 294 w 294"/>
                  <a:gd name="T1" fmla="*/ 99 h 224"/>
                  <a:gd name="T2" fmla="*/ 223 w 294"/>
                  <a:gd name="T3" fmla="*/ 148 h 224"/>
                  <a:gd name="T4" fmla="*/ 88 w 294"/>
                  <a:gd name="T5" fmla="*/ 209 h 224"/>
                  <a:gd name="T6" fmla="*/ 0 w 294"/>
                  <a:gd name="T7" fmla="*/ 166 h 224"/>
                  <a:gd name="T8" fmla="*/ 0 w 294"/>
                  <a:gd name="T9" fmla="*/ 166 h 224"/>
                  <a:gd name="T10" fmla="*/ 0 w 294"/>
                  <a:gd name="T11" fmla="*/ 165 h 224"/>
                  <a:gd name="T12" fmla="*/ 111 w 294"/>
                  <a:gd name="T13" fmla="*/ 0 h 224"/>
                  <a:gd name="T14" fmla="*/ 144 w 294"/>
                  <a:gd name="T15" fmla="*/ 5 h 224"/>
                  <a:gd name="T16" fmla="*/ 208 w 294"/>
                  <a:gd name="T17" fmla="*/ 19 h 224"/>
                  <a:gd name="T18" fmla="*/ 294 w 294"/>
                  <a:gd name="T19" fmla="*/ 99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94" h="224">
                    <a:moveTo>
                      <a:pt x="294" y="99"/>
                    </a:moveTo>
                    <a:cubicBezTo>
                      <a:pt x="294" y="99"/>
                      <a:pt x="245" y="90"/>
                      <a:pt x="223" y="148"/>
                    </a:cubicBezTo>
                    <a:cubicBezTo>
                      <a:pt x="202" y="206"/>
                      <a:pt x="135" y="224"/>
                      <a:pt x="88" y="209"/>
                    </a:cubicBezTo>
                    <a:cubicBezTo>
                      <a:pt x="41" y="195"/>
                      <a:pt x="0" y="166"/>
                      <a:pt x="0" y="166"/>
                    </a:cubicBezTo>
                    <a:cubicBezTo>
                      <a:pt x="0" y="166"/>
                      <a:pt x="0" y="166"/>
                      <a:pt x="0" y="166"/>
                    </a:cubicBezTo>
                    <a:cubicBezTo>
                      <a:pt x="0" y="165"/>
                      <a:pt x="0" y="165"/>
                      <a:pt x="0" y="165"/>
                    </a:cubicBezTo>
                    <a:cubicBezTo>
                      <a:pt x="3" y="161"/>
                      <a:pt x="111" y="22"/>
                      <a:pt x="111" y="0"/>
                    </a:cubicBezTo>
                    <a:cubicBezTo>
                      <a:pt x="111" y="0"/>
                      <a:pt x="122" y="1"/>
                      <a:pt x="144" y="5"/>
                    </a:cubicBezTo>
                    <a:cubicBezTo>
                      <a:pt x="160" y="8"/>
                      <a:pt x="182" y="12"/>
                      <a:pt x="208" y="19"/>
                    </a:cubicBezTo>
                    <a:cubicBezTo>
                      <a:pt x="272" y="37"/>
                      <a:pt x="294" y="99"/>
                      <a:pt x="294" y="99"/>
                    </a:cubicBezTo>
                  </a:path>
                </a:pathLst>
              </a:custGeom>
              <a:solidFill>
                <a:srgbClr val="C7DB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00" name="任意多边形: 形状 299">
                <a:extLst>
                  <a:ext uri="{FF2B5EF4-FFF2-40B4-BE49-F238E27FC236}">
                    <a16:creationId xmlns:a16="http://schemas.microsoft.com/office/drawing/2014/main" id="{FDACA1E7-168D-4E76-954B-5BA6F403AA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5158" y="1410756"/>
                <a:ext cx="4165600" cy="3935413"/>
              </a:xfrm>
              <a:custGeom>
                <a:avLst/>
                <a:gdLst>
                  <a:gd name="T0" fmla="*/ 805 w 1263"/>
                  <a:gd name="T1" fmla="*/ 905 h 1194"/>
                  <a:gd name="T2" fmla="*/ 806 w 1263"/>
                  <a:gd name="T3" fmla="*/ 908 h 1194"/>
                  <a:gd name="T4" fmla="*/ 821 w 1263"/>
                  <a:gd name="T5" fmla="*/ 1031 h 1194"/>
                  <a:gd name="T6" fmla="*/ 832 w 1263"/>
                  <a:gd name="T7" fmla="*/ 1194 h 1194"/>
                  <a:gd name="T8" fmla="*/ 1135 w 1263"/>
                  <a:gd name="T9" fmla="*/ 1194 h 1194"/>
                  <a:gd name="T10" fmla="*/ 1263 w 1263"/>
                  <a:gd name="T11" fmla="*/ 923 h 1194"/>
                  <a:gd name="T12" fmla="*/ 1087 w 1263"/>
                  <a:gd name="T13" fmla="*/ 1009 h 1194"/>
                  <a:gd name="T14" fmla="*/ 1061 w 1263"/>
                  <a:gd name="T15" fmla="*/ 1011 h 1194"/>
                  <a:gd name="T16" fmla="*/ 805 w 1263"/>
                  <a:gd name="T17" fmla="*/ 905 h 1194"/>
                  <a:gd name="T18" fmla="*/ 124 w 1263"/>
                  <a:gd name="T19" fmla="*/ 484 h 1194"/>
                  <a:gd name="T20" fmla="*/ 59 w 1263"/>
                  <a:gd name="T21" fmla="*/ 561 h 1194"/>
                  <a:gd name="T22" fmla="*/ 0 w 1263"/>
                  <a:gd name="T23" fmla="*/ 738 h 1194"/>
                  <a:gd name="T24" fmla="*/ 238 w 1263"/>
                  <a:gd name="T25" fmla="*/ 1139 h 1194"/>
                  <a:gd name="T26" fmla="*/ 336 w 1263"/>
                  <a:gd name="T27" fmla="*/ 777 h 1194"/>
                  <a:gd name="T28" fmla="*/ 500 w 1263"/>
                  <a:gd name="T29" fmla="*/ 636 h 1194"/>
                  <a:gd name="T30" fmla="*/ 500 w 1263"/>
                  <a:gd name="T31" fmla="*/ 632 h 1194"/>
                  <a:gd name="T32" fmla="*/ 489 w 1263"/>
                  <a:gd name="T33" fmla="*/ 600 h 1194"/>
                  <a:gd name="T34" fmla="*/ 485 w 1263"/>
                  <a:gd name="T35" fmla="*/ 598 h 1194"/>
                  <a:gd name="T36" fmla="*/ 369 w 1263"/>
                  <a:gd name="T37" fmla="*/ 571 h 1194"/>
                  <a:gd name="T38" fmla="*/ 369 w 1263"/>
                  <a:gd name="T39" fmla="*/ 571 h 1194"/>
                  <a:gd name="T40" fmla="*/ 361 w 1263"/>
                  <a:gd name="T41" fmla="*/ 570 h 1194"/>
                  <a:gd name="T42" fmla="*/ 361 w 1263"/>
                  <a:gd name="T43" fmla="*/ 570 h 1194"/>
                  <a:gd name="T44" fmla="*/ 142 w 1263"/>
                  <a:gd name="T45" fmla="*/ 500 h 1194"/>
                  <a:gd name="T46" fmla="*/ 141 w 1263"/>
                  <a:gd name="T47" fmla="*/ 499 h 1194"/>
                  <a:gd name="T48" fmla="*/ 140 w 1263"/>
                  <a:gd name="T49" fmla="*/ 498 h 1194"/>
                  <a:gd name="T50" fmla="*/ 124 w 1263"/>
                  <a:gd name="T51" fmla="*/ 484 h 1194"/>
                  <a:gd name="T52" fmla="*/ 381 w 1263"/>
                  <a:gd name="T53" fmla="*/ 388 h 1194"/>
                  <a:gd name="T54" fmla="*/ 281 w 1263"/>
                  <a:gd name="T55" fmla="*/ 397 h 1194"/>
                  <a:gd name="T56" fmla="*/ 347 w 1263"/>
                  <a:gd name="T57" fmla="*/ 424 h 1194"/>
                  <a:gd name="T58" fmla="*/ 450 w 1263"/>
                  <a:gd name="T59" fmla="*/ 457 h 1194"/>
                  <a:gd name="T60" fmla="*/ 416 w 1263"/>
                  <a:gd name="T61" fmla="*/ 388 h 1194"/>
                  <a:gd name="T62" fmla="*/ 413 w 1263"/>
                  <a:gd name="T63" fmla="*/ 388 h 1194"/>
                  <a:gd name="T64" fmla="*/ 381 w 1263"/>
                  <a:gd name="T65" fmla="*/ 388 h 1194"/>
                  <a:gd name="T66" fmla="*/ 857 w 1263"/>
                  <a:gd name="T67" fmla="*/ 0 h 1194"/>
                  <a:gd name="T68" fmla="*/ 857 w 1263"/>
                  <a:gd name="T69" fmla="*/ 0 h 1194"/>
                  <a:gd name="T70" fmla="*/ 736 w 1263"/>
                  <a:gd name="T71" fmla="*/ 62 h 1194"/>
                  <a:gd name="T72" fmla="*/ 742 w 1263"/>
                  <a:gd name="T73" fmla="*/ 65 h 1194"/>
                  <a:gd name="T74" fmla="*/ 794 w 1263"/>
                  <a:gd name="T75" fmla="*/ 97 h 1194"/>
                  <a:gd name="T76" fmla="*/ 870 w 1263"/>
                  <a:gd name="T77" fmla="*/ 152 h 1194"/>
                  <a:gd name="T78" fmla="*/ 810 w 1263"/>
                  <a:gd name="T79" fmla="*/ 185 h 1194"/>
                  <a:gd name="T80" fmla="*/ 876 w 1263"/>
                  <a:gd name="T81" fmla="*/ 213 h 1194"/>
                  <a:gd name="T82" fmla="*/ 779 w 1263"/>
                  <a:gd name="T83" fmla="*/ 235 h 1194"/>
                  <a:gd name="T84" fmla="*/ 785 w 1263"/>
                  <a:gd name="T85" fmla="*/ 309 h 1194"/>
                  <a:gd name="T86" fmla="*/ 805 w 1263"/>
                  <a:gd name="T87" fmla="*/ 342 h 1194"/>
                  <a:gd name="T88" fmla="*/ 804 w 1263"/>
                  <a:gd name="T89" fmla="*/ 348 h 1194"/>
                  <a:gd name="T90" fmla="*/ 772 w 1263"/>
                  <a:gd name="T91" fmla="*/ 379 h 1194"/>
                  <a:gd name="T92" fmla="*/ 771 w 1263"/>
                  <a:gd name="T93" fmla="*/ 379 h 1194"/>
                  <a:gd name="T94" fmla="*/ 762 w 1263"/>
                  <a:gd name="T95" fmla="*/ 377 h 1194"/>
                  <a:gd name="T96" fmla="*/ 703 w 1263"/>
                  <a:gd name="T97" fmla="*/ 482 h 1194"/>
                  <a:gd name="T98" fmla="*/ 625 w 1263"/>
                  <a:gd name="T99" fmla="*/ 531 h 1194"/>
                  <a:gd name="T100" fmla="*/ 625 w 1263"/>
                  <a:gd name="T101" fmla="*/ 531 h 1194"/>
                  <a:gd name="T102" fmla="*/ 617 w 1263"/>
                  <a:gd name="T103" fmla="*/ 558 h 1194"/>
                  <a:gd name="T104" fmla="*/ 655 w 1263"/>
                  <a:gd name="T105" fmla="*/ 540 h 1194"/>
                  <a:gd name="T106" fmla="*/ 669 w 1263"/>
                  <a:gd name="T107" fmla="*/ 548 h 1194"/>
                  <a:gd name="T108" fmla="*/ 691 w 1263"/>
                  <a:gd name="T109" fmla="*/ 628 h 1194"/>
                  <a:gd name="T110" fmla="*/ 1055 w 1263"/>
                  <a:gd name="T111" fmla="*/ 851 h 1194"/>
                  <a:gd name="T112" fmla="*/ 1083 w 1263"/>
                  <a:gd name="T113" fmla="*/ 856 h 1194"/>
                  <a:gd name="T114" fmla="*/ 1233 w 1263"/>
                  <a:gd name="T115" fmla="*/ 725 h 1194"/>
                  <a:gd name="T116" fmla="*/ 1250 w 1263"/>
                  <a:gd name="T117" fmla="*/ 734 h 1194"/>
                  <a:gd name="T118" fmla="*/ 1252 w 1263"/>
                  <a:gd name="T119" fmla="*/ 725 h 1194"/>
                  <a:gd name="T120" fmla="*/ 971 w 1263"/>
                  <a:gd name="T121" fmla="*/ 402 h 1194"/>
                  <a:gd name="T122" fmla="*/ 857 w 1263"/>
                  <a:gd name="T123" fmla="*/ 0 h 1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263" h="1194">
                    <a:moveTo>
                      <a:pt x="805" y="905"/>
                    </a:moveTo>
                    <a:cubicBezTo>
                      <a:pt x="806" y="908"/>
                      <a:pt x="806" y="908"/>
                      <a:pt x="806" y="908"/>
                    </a:cubicBezTo>
                    <a:cubicBezTo>
                      <a:pt x="810" y="922"/>
                      <a:pt x="826" y="974"/>
                      <a:pt x="821" y="1031"/>
                    </a:cubicBezTo>
                    <a:cubicBezTo>
                      <a:pt x="817" y="1081"/>
                      <a:pt x="852" y="1145"/>
                      <a:pt x="832" y="1194"/>
                    </a:cubicBezTo>
                    <a:cubicBezTo>
                      <a:pt x="1135" y="1194"/>
                      <a:pt x="1135" y="1194"/>
                      <a:pt x="1135" y="1194"/>
                    </a:cubicBezTo>
                    <a:cubicBezTo>
                      <a:pt x="1149" y="1168"/>
                      <a:pt x="1206" y="1062"/>
                      <a:pt x="1263" y="923"/>
                    </a:cubicBezTo>
                    <a:cubicBezTo>
                      <a:pt x="1221" y="965"/>
                      <a:pt x="1164" y="1002"/>
                      <a:pt x="1087" y="1009"/>
                    </a:cubicBezTo>
                    <a:cubicBezTo>
                      <a:pt x="1079" y="1010"/>
                      <a:pt x="1070" y="1011"/>
                      <a:pt x="1061" y="1011"/>
                    </a:cubicBezTo>
                    <a:cubicBezTo>
                      <a:pt x="924" y="1011"/>
                      <a:pt x="805" y="905"/>
                      <a:pt x="805" y="905"/>
                    </a:cubicBezTo>
                    <a:moveTo>
                      <a:pt x="124" y="484"/>
                    </a:moveTo>
                    <a:cubicBezTo>
                      <a:pt x="102" y="505"/>
                      <a:pt x="81" y="530"/>
                      <a:pt x="59" y="561"/>
                    </a:cubicBezTo>
                    <a:cubicBezTo>
                      <a:pt x="17" y="620"/>
                      <a:pt x="0" y="680"/>
                      <a:pt x="0" y="738"/>
                    </a:cubicBezTo>
                    <a:cubicBezTo>
                      <a:pt x="0" y="907"/>
                      <a:pt x="145" y="1058"/>
                      <a:pt x="238" y="1139"/>
                    </a:cubicBezTo>
                    <a:cubicBezTo>
                      <a:pt x="214" y="997"/>
                      <a:pt x="268" y="867"/>
                      <a:pt x="336" y="777"/>
                    </a:cubicBezTo>
                    <a:cubicBezTo>
                      <a:pt x="394" y="701"/>
                      <a:pt x="463" y="656"/>
                      <a:pt x="500" y="636"/>
                    </a:cubicBezTo>
                    <a:cubicBezTo>
                      <a:pt x="500" y="634"/>
                      <a:pt x="500" y="633"/>
                      <a:pt x="500" y="632"/>
                    </a:cubicBezTo>
                    <a:cubicBezTo>
                      <a:pt x="499" y="630"/>
                      <a:pt x="489" y="620"/>
                      <a:pt x="489" y="600"/>
                    </a:cubicBezTo>
                    <a:cubicBezTo>
                      <a:pt x="488" y="600"/>
                      <a:pt x="486" y="599"/>
                      <a:pt x="485" y="598"/>
                    </a:cubicBezTo>
                    <a:cubicBezTo>
                      <a:pt x="457" y="583"/>
                      <a:pt x="416" y="577"/>
                      <a:pt x="369" y="571"/>
                    </a:cubicBezTo>
                    <a:cubicBezTo>
                      <a:pt x="369" y="571"/>
                      <a:pt x="369" y="571"/>
                      <a:pt x="369" y="571"/>
                    </a:cubicBezTo>
                    <a:cubicBezTo>
                      <a:pt x="366" y="570"/>
                      <a:pt x="364" y="570"/>
                      <a:pt x="361" y="570"/>
                    </a:cubicBezTo>
                    <a:cubicBezTo>
                      <a:pt x="361" y="570"/>
                      <a:pt x="361" y="570"/>
                      <a:pt x="361" y="570"/>
                    </a:cubicBezTo>
                    <a:cubicBezTo>
                      <a:pt x="290" y="560"/>
                      <a:pt x="207" y="547"/>
                      <a:pt x="142" y="500"/>
                    </a:cubicBezTo>
                    <a:cubicBezTo>
                      <a:pt x="141" y="499"/>
                      <a:pt x="141" y="499"/>
                      <a:pt x="141" y="499"/>
                    </a:cubicBezTo>
                    <a:cubicBezTo>
                      <a:pt x="140" y="499"/>
                      <a:pt x="140" y="498"/>
                      <a:pt x="140" y="498"/>
                    </a:cubicBezTo>
                    <a:cubicBezTo>
                      <a:pt x="134" y="494"/>
                      <a:pt x="129" y="489"/>
                      <a:pt x="124" y="484"/>
                    </a:cubicBezTo>
                    <a:moveTo>
                      <a:pt x="381" y="388"/>
                    </a:moveTo>
                    <a:cubicBezTo>
                      <a:pt x="349" y="388"/>
                      <a:pt x="315" y="390"/>
                      <a:pt x="281" y="397"/>
                    </a:cubicBezTo>
                    <a:cubicBezTo>
                      <a:pt x="301" y="410"/>
                      <a:pt x="323" y="419"/>
                      <a:pt x="347" y="424"/>
                    </a:cubicBezTo>
                    <a:cubicBezTo>
                      <a:pt x="382" y="431"/>
                      <a:pt x="417" y="444"/>
                      <a:pt x="450" y="457"/>
                    </a:cubicBezTo>
                    <a:cubicBezTo>
                      <a:pt x="436" y="437"/>
                      <a:pt x="424" y="414"/>
                      <a:pt x="416" y="388"/>
                    </a:cubicBezTo>
                    <a:cubicBezTo>
                      <a:pt x="415" y="388"/>
                      <a:pt x="414" y="388"/>
                      <a:pt x="413" y="388"/>
                    </a:cubicBezTo>
                    <a:cubicBezTo>
                      <a:pt x="403" y="388"/>
                      <a:pt x="392" y="388"/>
                      <a:pt x="381" y="388"/>
                    </a:cubicBezTo>
                    <a:moveTo>
                      <a:pt x="857" y="0"/>
                    </a:moveTo>
                    <a:cubicBezTo>
                      <a:pt x="857" y="0"/>
                      <a:pt x="857" y="0"/>
                      <a:pt x="857" y="0"/>
                    </a:cubicBezTo>
                    <a:cubicBezTo>
                      <a:pt x="810" y="14"/>
                      <a:pt x="770" y="36"/>
                      <a:pt x="736" y="62"/>
                    </a:cubicBezTo>
                    <a:cubicBezTo>
                      <a:pt x="738" y="63"/>
                      <a:pt x="740" y="64"/>
                      <a:pt x="742" y="65"/>
                    </a:cubicBezTo>
                    <a:cubicBezTo>
                      <a:pt x="761" y="76"/>
                      <a:pt x="778" y="87"/>
                      <a:pt x="794" y="97"/>
                    </a:cubicBezTo>
                    <a:cubicBezTo>
                      <a:pt x="839" y="127"/>
                      <a:pt x="870" y="152"/>
                      <a:pt x="870" y="152"/>
                    </a:cubicBezTo>
                    <a:cubicBezTo>
                      <a:pt x="865" y="179"/>
                      <a:pt x="810" y="185"/>
                      <a:pt x="810" y="185"/>
                    </a:cubicBezTo>
                    <a:cubicBezTo>
                      <a:pt x="821" y="200"/>
                      <a:pt x="876" y="213"/>
                      <a:pt x="876" y="213"/>
                    </a:cubicBezTo>
                    <a:cubicBezTo>
                      <a:pt x="846" y="225"/>
                      <a:pt x="813" y="232"/>
                      <a:pt x="779" y="235"/>
                    </a:cubicBezTo>
                    <a:cubicBezTo>
                      <a:pt x="785" y="266"/>
                      <a:pt x="786" y="290"/>
                      <a:pt x="785" y="309"/>
                    </a:cubicBezTo>
                    <a:cubicBezTo>
                      <a:pt x="796" y="315"/>
                      <a:pt x="805" y="327"/>
                      <a:pt x="805" y="342"/>
                    </a:cubicBezTo>
                    <a:cubicBezTo>
                      <a:pt x="805" y="344"/>
                      <a:pt x="805" y="346"/>
                      <a:pt x="804" y="348"/>
                    </a:cubicBezTo>
                    <a:cubicBezTo>
                      <a:pt x="802" y="365"/>
                      <a:pt x="788" y="378"/>
                      <a:pt x="772" y="379"/>
                    </a:cubicBezTo>
                    <a:cubicBezTo>
                      <a:pt x="771" y="379"/>
                      <a:pt x="771" y="379"/>
                      <a:pt x="771" y="379"/>
                    </a:cubicBezTo>
                    <a:cubicBezTo>
                      <a:pt x="768" y="379"/>
                      <a:pt x="764" y="378"/>
                      <a:pt x="762" y="377"/>
                    </a:cubicBezTo>
                    <a:cubicBezTo>
                      <a:pt x="750" y="419"/>
                      <a:pt x="729" y="455"/>
                      <a:pt x="703" y="482"/>
                    </a:cubicBezTo>
                    <a:cubicBezTo>
                      <a:pt x="681" y="506"/>
                      <a:pt x="654" y="523"/>
                      <a:pt x="625" y="531"/>
                    </a:cubicBezTo>
                    <a:cubicBezTo>
                      <a:pt x="625" y="531"/>
                      <a:pt x="625" y="531"/>
                      <a:pt x="625" y="531"/>
                    </a:cubicBezTo>
                    <a:cubicBezTo>
                      <a:pt x="621" y="539"/>
                      <a:pt x="619" y="548"/>
                      <a:pt x="617" y="558"/>
                    </a:cubicBezTo>
                    <a:cubicBezTo>
                      <a:pt x="632" y="550"/>
                      <a:pt x="645" y="540"/>
                      <a:pt x="655" y="540"/>
                    </a:cubicBezTo>
                    <a:cubicBezTo>
                      <a:pt x="660" y="540"/>
                      <a:pt x="665" y="542"/>
                      <a:pt x="669" y="548"/>
                    </a:cubicBezTo>
                    <a:cubicBezTo>
                      <a:pt x="683" y="566"/>
                      <a:pt x="714" y="603"/>
                      <a:pt x="691" y="628"/>
                    </a:cubicBezTo>
                    <a:cubicBezTo>
                      <a:pt x="844" y="658"/>
                      <a:pt x="962" y="823"/>
                      <a:pt x="1055" y="851"/>
                    </a:cubicBezTo>
                    <a:cubicBezTo>
                      <a:pt x="1064" y="854"/>
                      <a:pt x="1074" y="856"/>
                      <a:pt x="1083" y="856"/>
                    </a:cubicBezTo>
                    <a:cubicBezTo>
                      <a:pt x="1173" y="856"/>
                      <a:pt x="1233" y="725"/>
                      <a:pt x="1233" y="725"/>
                    </a:cubicBezTo>
                    <a:cubicBezTo>
                      <a:pt x="1250" y="734"/>
                      <a:pt x="1250" y="734"/>
                      <a:pt x="1250" y="734"/>
                    </a:cubicBezTo>
                    <a:cubicBezTo>
                      <a:pt x="1250" y="731"/>
                      <a:pt x="1251" y="728"/>
                      <a:pt x="1252" y="725"/>
                    </a:cubicBezTo>
                    <a:cubicBezTo>
                      <a:pt x="1085" y="686"/>
                      <a:pt x="939" y="564"/>
                      <a:pt x="971" y="402"/>
                    </a:cubicBezTo>
                    <a:cubicBezTo>
                      <a:pt x="1006" y="227"/>
                      <a:pt x="908" y="68"/>
                      <a:pt x="857" y="0"/>
                    </a:cubicBezTo>
                  </a:path>
                </a:pathLst>
              </a:custGeom>
              <a:solidFill>
                <a:srgbClr val="B8CCF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01" name="椭圆 300">
                <a:extLst>
                  <a:ext uri="{FF2B5EF4-FFF2-40B4-BE49-F238E27FC236}">
                    <a16:creationId xmlns:a16="http://schemas.microsoft.com/office/drawing/2014/main" id="{3CA5AD82-988B-41B7-B249-F1937BC88B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3158" y="1793344"/>
                <a:ext cx="517525" cy="407988"/>
              </a:xfrm>
              <a:prstGeom prst="ellipse">
                <a:avLst/>
              </a:prstGeom>
              <a:solidFill>
                <a:srgbClr val="C7DB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03" name="椭圆 302">
                <a:extLst>
                  <a:ext uri="{FF2B5EF4-FFF2-40B4-BE49-F238E27FC236}">
                    <a16:creationId xmlns:a16="http://schemas.microsoft.com/office/drawing/2014/main" id="{38DFE966-A7B0-4919-9D04-49BC7EE317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17196" y="1153581"/>
                <a:ext cx="266700" cy="207963"/>
              </a:xfrm>
              <a:prstGeom prst="ellipse">
                <a:avLst/>
              </a:prstGeom>
              <a:solidFill>
                <a:srgbClr val="C7DBF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8" name="任意多边形: 形状 317">
                <a:extLst>
                  <a:ext uri="{FF2B5EF4-FFF2-40B4-BE49-F238E27FC236}">
                    <a16:creationId xmlns:a16="http://schemas.microsoft.com/office/drawing/2014/main" id="{E127078F-C7E3-4CA2-B53E-99232F0544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0208" y="5747806"/>
                <a:ext cx="474663" cy="546100"/>
              </a:xfrm>
              <a:custGeom>
                <a:avLst/>
                <a:gdLst>
                  <a:gd name="T0" fmla="*/ 111 w 144"/>
                  <a:gd name="T1" fmla="*/ 0 h 166"/>
                  <a:gd name="T2" fmla="*/ 0 w 144"/>
                  <a:gd name="T3" fmla="*/ 165 h 166"/>
                  <a:gd name="T4" fmla="*/ 0 w 144"/>
                  <a:gd name="T5" fmla="*/ 166 h 166"/>
                  <a:gd name="T6" fmla="*/ 0 w 144"/>
                  <a:gd name="T7" fmla="*/ 166 h 166"/>
                  <a:gd name="T8" fmla="*/ 0 w 144"/>
                  <a:gd name="T9" fmla="*/ 165 h 166"/>
                  <a:gd name="T10" fmla="*/ 111 w 144"/>
                  <a:gd name="T11" fmla="*/ 0 h 166"/>
                  <a:gd name="T12" fmla="*/ 144 w 144"/>
                  <a:gd name="T13" fmla="*/ 5 h 166"/>
                  <a:gd name="T14" fmla="*/ 144 w 144"/>
                  <a:gd name="T15" fmla="*/ 5 h 166"/>
                  <a:gd name="T16" fmla="*/ 144 w 144"/>
                  <a:gd name="T17" fmla="*/ 5 h 166"/>
                  <a:gd name="T18" fmla="*/ 111 w 144"/>
                  <a:gd name="T19" fmla="*/ 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4" h="166">
                    <a:moveTo>
                      <a:pt x="111" y="0"/>
                    </a:moveTo>
                    <a:cubicBezTo>
                      <a:pt x="111" y="22"/>
                      <a:pt x="3" y="161"/>
                      <a:pt x="0" y="165"/>
                    </a:cubicBezTo>
                    <a:cubicBezTo>
                      <a:pt x="0" y="166"/>
                      <a:pt x="0" y="166"/>
                      <a:pt x="0" y="166"/>
                    </a:cubicBezTo>
                    <a:cubicBezTo>
                      <a:pt x="0" y="166"/>
                      <a:pt x="0" y="166"/>
                      <a:pt x="0" y="166"/>
                    </a:cubicBezTo>
                    <a:cubicBezTo>
                      <a:pt x="0" y="165"/>
                      <a:pt x="0" y="165"/>
                      <a:pt x="0" y="165"/>
                    </a:cubicBezTo>
                    <a:cubicBezTo>
                      <a:pt x="3" y="161"/>
                      <a:pt x="111" y="22"/>
                      <a:pt x="111" y="0"/>
                    </a:cubicBezTo>
                    <a:cubicBezTo>
                      <a:pt x="111" y="0"/>
                      <a:pt x="122" y="1"/>
                      <a:pt x="144" y="5"/>
                    </a:cubicBezTo>
                    <a:cubicBezTo>
                      <a:pt x="144" y="5"/>
                      <a:pt x="144" y="5"/>
                      <a:pt x="144" y="5"/>
                    </a:cubicBezTo>
                    <a:cubicBezTo>
                      <a:pt x="144" y="5"/>
                      <a:pt x="144" y="5"/>
                      <a:pt x="144" y="5"/>
                    </a:cubicBezTo>
                    <a:cubicBezTo>
                      <a:pt x="122" y="1"/>
                      <a:pt x="111" y="0"/>
                      <a:pt x="111" y="0"/>
                    </a:cubicBezTo>
                  </a:path>
                </a:pathLst>
              </a:custGeom>
              <a:solidFill>
                <a:srgbClr val="4327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9" name="任意多边形: 形状 318">
                <a:extLst>
                  <a:ext uri="{FF2B5EF4-FFF2-40B4-BE49-F238E27FC236}">
                    <a16:creationId xmlns:a16="http://schemas.microsoft.com/office/drawing/2014/main" id="{0DF0635B-2214-4723-AF6F-B96C8E6D84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0208" y="5747806"/>
                <a:ext cx="596900" cy="546100"/>
              </a:xfrm>
              <a:custGeom>
                <a:avLst/>
                <a:gdLst>
                  <a:gd name="T0" fmla="*/ 111 w 181"/>
                  <a:gd name="T1" fmla="*/ 0 h 166"/>
                  <a:gd name="T2" fmla="*/ 0 w 181"/>
                  <a:gd name="T3" fmla="*/ 165 h 166"/>
                  <a:gd name="T4" fmla="*/ 0 w 181"/>
                  <a:gd name="T5" fmla="*/ 166 h 166"/>
                  <a:gd name="T6" fmla="*/ 82 w 181"/>
                  <a:gd name="T7" fmla="*/ 152 h 166"/>
                  <a:gd name="T8" fmla="*/ 102 w 181"/>
                  <a:gd name="T9" fmla="*/ 153 h 166"/>
                  <a:gd name="T10" fmla="*/ 110 w 181"/>
                  <a:gd name="T11" fmla="*/ 153 h 166"/>
                  <a:gd name="T12" fmla="*/ 147 w 181"/>
                  <a:gd name="T13" fmla="*/ 97 h 166"/>
                  <a:gd name="T14" fmla="*/ 167 w 181"/>
                  <a:gd name="T15" fmla="*/ 50 h 166"/>
                  <a:gd name="T16" fmla="*/ 147 w 181"/>
                  <a:gd name="T17" fmla="*/ 15 h 166"/>
                  <a:gd name="T18" fmla="*/ 144 w 181"/>
                  <a:gd name="T19" fmla="*/ 5 h 166"/>
                  <a:gd name="T20" fmla="*/ 144 w 181"/>
                  <a:gd name="T21" fmla="*/ 5 h 166"/>
                  <a:gd name="T22" fmla="*/ 111 w 181"/>
                  <a:gd name="T23" fmla="*/ 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81" h="166">
                    <a:moveTo>
                      <a:pt x="111" y="0"/>
                    </a:moveTo>
                    <a:cubicBezTo>
                      <a:pt x="111" y="22"/>
                      <a:pt x="3" y="161"/>
                      <a:pt x="0" y="165"/>
                    </a:cubicBezTo>
                    <a:cubicBezTo>
                      <a:pt x="0" y="166"/>
                      <a:pt x="0" y="166"/>
                      <a:pt x="0" y="166"/>
                    </a:cubicBezTo>
                    <a:cubicBezTo>
                      <a:pt x="2" y="165"/>
                      <a:pt x="33" y="152"/>
                      <a:pt x="82" y="152"/>
                    </a:cubicBezTo>
                    <a:cubicBezTo>
                      <a:pt x="88" y="152"/>
                      <a:pt x="95" y="152"/>
                      <a:pt x="102" y="153"/>
                    </a:cubicBezTo>
                    <a:cubicBezTo>
                      <a:pt x="105" y="153"/>
                      <a:pt x="108" y="153"/>
                      <a:pt x="110" y="153"/>
                    </a:cubicBezTo>
                    <a:cubicBezTo>
                      <a:pt x="162" y="153"/>
                      <a:pt x="148" y="114"/>
                      <a:pt x="147" y="97"/>
                    </a:cubicBezTo>
                    <a:cubicBezTo>
                      <a:pt x="147" y="80"/>
                      <a:pt x="152" y="71"/>
                      <a:pt x="167" y="50"/>
                    </a:cubicBezTo>
                    <a:cubicBezTo>
                      <a:pt x="181" y="30"/>
                      <a:pt x="147" y="15"/>
                      <a:pt x="147" y="15"/>
                    </a:cubicBezTo>
                    <a:cubicBezTo>
                      <a:pt x="146" y="11"/>
                      <a:pt x="145" y="8"/>
                      <a:pt x="144" y="5"/>
                    </a:cubicBezTo>
                    <a:cubicBezTo>
                      <a:pt x="144" y="5"/>
                      <a:pt x="144" y="5"/>
                      <a:pt x="144" y="5"/>
                    </a:cubicBezTo>
                    <a:cubicBezTo>
                      <a:pt x="122" y="1"/>
                      <a:pt x="111" y="0"/>
                      <a:pt x="111" y="0"/>
                    </a:cubicBezTo>
                  </a:path>
                </a:pathLst>
              </a:custGeom>
              <a:solidFill>
                <a:srgbClr val="B2C5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0" name="任意多边形: 形状 319">
                <a:extLst>
                  <a:ext uri="{FF2B5EF4-FFF2-40B4-BE49-F238E27FC236}">
                    <a16:creationId xmlns:a16="http://schemas.microsoft.com/office/drawing/2014/main" id="{315DFC18-7326-4B98-9DC4-3D1D2E266F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59896" y="5652556"/>
                <a:ext cx="446088" cy="542925"/>
              </a:xfrm>
              <a:custGeom>
                <a:avLst/>
                <a:gdLst>
                  <a:gd name="T0" fmla="*/ 90 w 135"/>
                  <a:gd name="T1" fmla="*/ 0 h 165"/>
                  <a:gd name="T2" fmla="*/ 129 w 135"/>
                  <a:gd name="T3" fmla="*/ 60 h 165"/>
                  <a:gd name="T4" fmla="*/ 99 w 135"/>
                  <a:gd name="T5" fmla="*/ 60 h 165"/>
                  <a:gd name="T6" fmla="*/ 116 w 135"/>
                  <a:gd name="T7" fmla="*/ 122 h 165"/>
                  <a:gd name="T8" fmla="*/ 89 w 135"/>
                  <a:gd name="T9" fmla="*/ 93 h 165"/>
                  <a:gd name="T10" fmla="*/ 92 w 135"/>
                  <a:gd name="T11" fmla="*/ 158 h 165"/>
                  <a:gd name="T12" fmla="*/ 61 w 135"/>
                  <a:gd name="T13" fmla="*/ 99 h 165"/>
                  <a:gd name="T14" fmla="*/ 57 w 135"/>
                  <a:gd name="T15" fmla="*/ 153 h 165"/>
                  <a:gd name="T16" fmla="*/ 34 w 135"/>
                  <a:gd name="T17" fmla="*/ 98 h 165"/>
                  <a:gd name="T18" fmla="*/ 24 w 135"/>
                  <a:gd name="T19" fmla="*/ 147 h 165"/>
                  <a:gd name="T20" fmla="*/ 4 w 135"/>
                  <a:gd name="T21" fmla="*/ 17 h 165"/>
                  <a:gd name="T22" fmla="*/ 90 w 135"/>
                  <a:gd name="T2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5" h="165">
                    <a:moveTo>
                      <a:pt x="90" y="0"/>
                    </a:moveTo>
                    <a:cubicBezTo>
                      <a:pt x="90" y="0"/>
                      <a:pt x="135" y="44"/>
                      <a:pt x="129" y="60"/>
                    </a:cubicBezTo>
                    <a:cubicBezTo>
                      <a:pt x="122" y="77"/>
                      <a:pt x="99" y="60"/>
                      <a:pt x="99" y="60"/>
                    </a:cubicBezTo>
                    <a:cubicBezTo>
                      <a:pt x="99" y="60"/>
                      <a:pt x="123" y="113"/>
                      <a:pt x="116" y="122"/>
                    </a:cubicBezTo>
                    <a:cubicBezTo>
                      <a:pt x="109" y="131"/>
                      <a:pt x="89" y="93"/>
                      <a:pt x="89" y="93"/>
                    </a:cubicBezTo>
                    <a:cubicBezTo>
                      <a:pt x="89" y="93"/>
                      <a:pt x="103" y="152"/>
                      <a:pt x="92" y="158"/>
                    </a:cubicBezTo>
                    <a:cubicBezTo>
                      <a:pt x="81" y="165"/>
                      <a:pt x="61" y="99"/>
                      <a:pt x="61" y="99"/>
                    </a:cubicBezTo>
                    <a:cubicBezTo>
                      <a:pt x="61" y="99"/>
                      <a:pt x="68" y="151"/>
                      <a:pt x="57" y="153"/>
                    </a:cubicBezTo>
                    <a:cubicBezTo>
                      <a:pt x="46" y="155"/>
                      <a:pt x="34" y="98"/>
                      <a:pt x="34" y="98"/>
                    </a:cubicBezTo>
                    <a:cubicBezTo>
                      <a:pt x="34" y="98"/>
                      <a:pt x="38" y="144"/>
                      <a:pt x="24" y="147"/>
                    </a:cubicBezTo>
                    <a:cubicBezTo>
                      <a:pt x="11" y="149"/>
                      <a:pt x="0" y="60"/>
                      <a:pt x="4" y="17"/>
                    </a:cubicBezTo>
                    <a:lnTo>
                      <a:pt x="90" y="0"/>
                    </a:lnTo>
                    <a:close/>
                  </a:path>
                </a:pathLst>
              </a:custGeom>
              <a:solidFill>
                <a:srgbClr val="FFBEA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2" name="任意多边形: 形状 321">
                <a:extLst>
                  <a:ext uri="{FF2B5EF4-FFF2-40B4-BE49-F238E27FC236}">
                    <a16:creationId xmlns:a16="http://schemas.microsoft.com/office/drawing/2014/main" id="{FC7A66D9-9CA8-4561-A1B4-4D35652FFD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61508" y="4241269"/>
                <a:ext cx="279400" cy="1104900"/>
              </a:xfrm>
              <a:custGeom>
                <a:avLst/>
                <a:gdLst>
                  <a:gd name="T0" fmla="*/ 60 w 85"/>
                  <a:gd name="T1" fmla="*/ 0 h 335"/>
                  <a:gd name="T2" fmla="*/ 8 w 85"/>
                  <a:gd name="T3" fmla="*/ 171 h 335"/>
                  <a:gd name="T4" fmla="*/ 23 w 85"/>
                  <a:gd name="T5" fmla="*/ 335 h 335"/>
                  <a:gd name="T6" fmla="*/ 85 w 85"/>
                  <a:gd name="T7" fmla="*/ 335 h 335"/>
                  <a:gd name="T8" fmla="*/ 60 w 85"/>
                  <a:gd name="T9" fmla="*/ 0 h 3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5" h="335">
                    <a:moveTo>
                      <a:pt x="60" y="0"/>
                    </a:moveTo>
                    <a:cubicBezTo>
                      <a:pt x="60" y="0"/>
                      <a:pt x="16" y="88"/>
                      <a:pt x="8" y="171"/>
                    </a:cubicBezTo>
                    <a:cubicBezTo>
                      <a:pt x="0" y="254"/>
                      <a:pt x="23" y="335"/>
                      <a:pt x="23" y="335"/>
                    </a:cubicBezTo>
                    <a:cubicBezTo>
                      <a:pt x="85" y="335"/>
                      <a:pt x="85" y="335"/>
                      <a:pt x="85" y="335"/>
                    </a:cubicBezTo>
                    <a:cubicBezTo>
                      <a:pt x="23" y="243"/>
                      <a:pt x="60" y="0"/>
                      <a:pt x="60" y="0"/>
                    </a:cubicBezTo>
                  </a:path>
                </a:pathLst>
              </a:custGeom>
              <a:solidFill>
                <a:srgbClr val="241A6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3" name="任意多边形: 形状 322">
                <a:extLst>
                  <a:ext uri="{FF2B5EF4-FFF2-40B4-BE49-F238E27FC236}">
                    <a16:creationId xmlns:a16="http://schemas.microsoft.com/office/drawing/2014/main" id="{C5BF4182-3742-45DE-9C57-E93B670168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45621" y="4204756"/>
                <a:ext cx="339725" cy="1117600"/>
              </a:xfrm>
              <a:custGeom>
                <a:avLst/>
                <a:gdLst>
                  <a:gd name="T0" fmla="*/ 58 w 103"/>
                  <a:gd name="T1" fmla="*/ 339 h 339"/>
                  <a:gd name="T2" fmla="*/ 103 w 103"/>
                  <a:gd name="T3" fmla="*/ 0 h 3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03" h="339">
                    <a:moveTo>
                      <a:pt x="58" y="339"/>
                    </a:moveTo>
                    <a:cubicBezTo>
                      <a:pt x="58" y="339"/>
                      <a:pt x="0" y="151"/>
                      <a:pt x="103" y="0"/>
                    </a:cubicBezTo>
                  </a:path>
                </a:pathLst>
              </a:custGeom>
              <a:noFill/>
              <a:ln w="12700" cap="flat">
                <a:solidFill>
                  <a:srgbClr val="463EA3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6" name="任意多边形: 形状 325">
                <a:extLst>
                  <a:ext uri="{FF2B5EF4-FFF2-40B4-BE49-F238E27FC236}">
                    <a16:creationId xmlns:a16="http://schemas.microsoft.com/office/drawing/2014/main" id="{97D72680-D1F6-4B64-AC8D-AE95E6950B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5671" y="3209394"/>
                <a:ext cx="233363" cy="177800"/>
              </a:xfrm>
              <a:custGeom>
                <a:avLst/>
                <a:gdLst>
                  <a:gd name="T0" fmla="*/ 43 w 71"/>
                  <a:gd name="T1" fmla="*/ 0 h 54"/>
                  <a:gd name="T2" fmla="*/ 12 w 71"/>
                  <a:gd name="T3" fmla="*/ 52 h 54"/>
                  <a:gd name="T4" fmla="*/ 16 w 71"/>
                  <a:gd name="T5" fmla="*/ 54 h 54"/>
                  <a:gd name="T6" fmla="*/ 22 w 71"/>
                  <a:gd name="T7" fmla="*/ 27 h 54"/>
                  <a:gd name="T8" fmla="*/ 44 w 71"/>
                  <a:gd name="T9" fmla="*/ 12 h 54"/>
                  <a:gd name="T10" fmla="*/ 71 w 71"/>
                  <a:gd name="T11" fmla="*/ 17 h 54"/>
                  <a:gd name="T12" fmla="*/ 71 w 71"/>
                  <a:gd name="T13" fmla="*/ 5 h 54"/>
                  <a:gd name="T14" fmla="*/ 71 w 71"/>
                  <a:gd name="T15" fmla="*/ 5 h 54"/>
                  <a:gd name="T16" fmla="*/ 43 w 71"/>
                  <a:gd name="T1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1" h="54">
                    <a:moveTo>
                      <a:pt x="43" y="0"/>
                    </a:moveTo>
                    <a:cubicBezTo>
                      <a:pt x="0" y="0"/>
                      <a:pt x="12" y="52"/>
                      <a:pt x="12" y="52"/>
                    </a:cubicBezTo>
                    <a:cubicBezTo>
                      <a:pt x="13" y="53"/>
                      <a:pt x="15" y="54"/>
                      <a:pt x="16" y="54"/>
                    </a:cubicBezTo>
                    <a:cubicBezTo>
                      <a:pt x="16" y="47"/>
                      <a:pt x="17" y="37"/>
                      <a:pt x="22" y="27"/>
                    </a:cubicBezTo>
                    <a:cubicBezTo>
                      <a:pt x="26" y="16"/>
                      <a:pt x="34" y="12"/>
                      <a:pt x="44" y="12"/>
                    </a:cubicBezTo>
                    <a:cubicBezTo>
                      <a:pt x="52" y="12"/>
                      <a:pt x="61" y="15"/>
                      <a:pt x="71" y="17"/>
                    </a:cubicBezTo>
                    <a:cubicBezTo>
                      <a:pt x="71" y="13"/>
                      <a:pt x="71" y="9"/>
                      <a:pt x="71" y="5"/>
                    </a:cubicBezTo>
                    <a:cubicBezTo>
                      <a:pt x="71" y="5"/>
                      <a:pt x="71" y="5"/>
                      <a:pt x="71" y="5"/>
                    </a:cubicBezTo>
                    <a:cubicBezTo>
                      <a:pt x="60" y="1"/>
                      <a:pt x="50" y="0"/>
                      <a:pt x="43" y="0"/>
                    </a:cubicBezTo>
                  </a:path>
                </a:pathLst>
              </a:custGeom>
              <a:solidFill>
                <a:srgbClr val="FF535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7" name="任意多边形: 形状 326">
                <a:extLst>
                  <a:ext uri="{FF2B5EF4-FFF2-40B4-BE49-F238E27FC236}">
                    <a16:creationId xmlns:a16="http://schemas.microsoft.com/office/drawing/2014/main" id="{EA3045AB-2799-4A40-ADDA-B1A488C08C0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9121" y="1855256"/>
                <a:ext cx="474663" cy="134938"/>
              </a:xfrm>
              <a:custGeom>
                <a:avLst/>
                <a:gdLst>
                  <a:gd name="T0" fmla="*/ 0 w 144"/>
                  <a:gd name="T1" fmla="*/ 32 h 41"/>
                  <a:gd name="T2" fmla="*/ 0 w 144"/>
                  <a:gd name="T3" fmla="*/ 32 h 41"/>
                  <a:gd name="T4" fmla="*/ 2 w 144"/>
                  <a:gd name="T5" fmla="*/ 41 h 41"/>
                  <a:gd name="T6" fmla="*/ 2 w 144"/>
                  <a:gd name="T7" fmla="*/ 41 h 41"/>
                  <a:gd name="T8" fmla="*/ 0 w 144"/>
                  <a:gd name="T9" fmla="*/ 32 h 41"/>
                  <a:gd name="T10" fmla="*/ 142 w 144"/>
                  <a:gd name="T11" fmla="*/ 0 h 41"/>
                  <a:gd name="T12" fmla="*/ 142 w 144"/>
                  <a:gd name="T13" fmla="*/ 0 h 41"/>
                  <a:gd name="T14" fmla="*/ 144 w 144"/>
                  <a:gd name="T15" fmla="*/ 9 h 41"/>
                  <a:gd name="T16" fmla="*/ 144 w 144"/>
                  <a:gd name="T17" fmla="*/ 8 h 41"/>
                  <a:gd name="T18" fmla="*/ 142 w 144"/>
                  <a:gd name="T19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4" h="41">
                    <a:moveTo>
                      <a:pt x="0" y="32"/>
                    </a:moveTo>
                    <a:cubicBezTo>
                      <a:pt x="0" y="32"/>
                      <a:pt x="0" y="32"/>
                      <a:pt x="0" y="32"/>
                    </a:cubicBezTo>
                    <a:cubicBezTo>
                      <a:pt x="0" y="35"/>
                      <a:pt x="1" y="38"/>
                      <a:pt x="2" y="41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1" y="38"/>
                      <a:pt x="0" y="35"/>
                      <a:pt x="0" y="32"/>
                    </a:cubicBezTo>
                    <a:moveTo>
                      <a:pt x="142" y="0"/>
                    </a:moveTo>
                    <a:cubicBezTo>
                      <a:pt x="142" y="0"/>
                      <a:pt x="142" y="0"/>
                      <a:pt x="142" y="0"/>
                    </a:cubicBezTo>
                    <a:cubicBezTo>
                      <a:pt x="142" y="3"/>
                      <a:pt x="143" y="6"/>
                      <a:pt x="144" y="9"/>
                    </a:cubicBezTo>
                    <a:cubicBezTo>
                      <a:pt x="144" y="8"/>
                      <a:pt x="144" y="8"/>
                      <a:pt x="144" y="8"/>
                    </a:cubicBezTo>
                    <a:cubicBezTo>
                      <a:pt x="143" y="6"/>
                      <a:pt x="142" y="3"/>
                      <a:pt x="142" y="0"/>
                    </a:cubicBezTo>
                  </a:path>
                </a:pathLst>
              </a:custGeom>
              <a:solidFill>
                <a:srgbClr val="9C3F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8" name="任意多边形: 形状 327">
                <a:extLst>
                  <a:ext uri="{FF2B5EF4-FFF2-40B4-BE49-F238E27FC236}">
                    <a16:creationId xmlns:a16="http://schemas.microsoft.com/office/drawing/2014/main" id="{632E7DD3-1620-4A18-966D-0FE4DBE52A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9121" y="1855256"/>
                <a:ext cx="474663" cy="134938"/>
              </a:xfrm>
              <a:custGeom>
                <a:avLst/>
                <a:gdLst>
                  <a:gd name="T0" fmla="*/ 142 w 144"/>
                  <a:gd name="T1" fmla="*/ 0 h 41"/>
                  <a:gd name="T2" fmla="*/ 0 w 144"/>
                  <a:gd name="T3" fmla="*/ 32 h 41"/>
                  <a:gd name="T4" fmla="*/ 2 w 144"/>
                  <a:gd name="T5" fmla="*/ 41 h 41"/>
                  <a:gd name="T6" fmla="*/ 144 w 144"/>
                  <a:gd name="T7" fmla="*/ 9 h 41"/>
                  <a:gd name="T8" fmla="*/ 142 w 144"/>
                  <a:gd name="T9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4" h="41">
                    <a:moveTo>
                      <a:pt x="142" y="0"/>
                    </a:moveTo>
                    <a:cubicBezTo>
                      <a:pt x="94" y="9"/>
                      <a:pt x="47" y="20"/>
                      <a:pt x="0" y="32"/>
                    </a:cubicBezTo>
                    <a:cubicBezTo>
                      <a:pt x="0" y="35"/>
                      <a:pt x="1" y="38"/>
                      <a:pt x="2" y="41"/>
                    </a:cubicBezTo>
                    <a:cubicBezTo>
                      <a:pt x="48" y="28"/>
                      <a:pt x="96" y="17"/>
                      <a:pt x="144" y="9"/>
                    </a:cubicBezTo>
                    <a:cubicBezTo>
                      <a:pt x="143" y="6"/>
                      <a:pt x="142" y="3"/>
                      <a:pt x="142" y="0"/>
                    </a:cubicBezTo>
                  </a:path>
                </a:pathLst>
              </a:custGeom>
              <a:solidFill>
                <a:srgbClr val="FF535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9" name="任意多边形: 形状 328">
                <a:extLst>
                  <a:ext uri="{FF2B5EF4-FFF2-40B4-BE49-F238E27FC236}">
                    <a16:creationId xmlns:a16="http://schemas.microsoft.com/office/drawing/2014/main" id="{9AB2B043-5609-456A-B140-CB09358D7E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81983" y="2079094"/>
                <a:ext cx="496888" cy="85725"/>
              </a:xfrm>
              <a:custGeom>
                <a:avLst/>
                <a:gdLst>
                  <a:gd name="T0" fmla="*/ 0 w 151"/>
                  <a:gd name="T1" fmla="*/ 18 h 26"/>
                  <a:gd name="T2" fmla="*/ 0 w 151"/>
                  <a:gd name="T3" fmla="*/ 18 h 26"/>
                  <a:gd name="T4" fmla="*/ 2 w 151"/>
                  <a:gd name="T5" fmla="*/ 26 h 26"/>
                  <a:gd name="T6" fmla="*/ 2 w 151"/>
                  <a:gd name="T7" fmla="*/ 26 h 26"/>
                  <a:gd name="T8" fmla="*/ 0 w 151"/>
                  <a:gd name="T9" fmla="*/ 18 h 26"/>
                  <a:gd name="T10" fmla="*/ 148 w 151"/>
                  <a:gd name="T11" fmla="*/ 0 h 26"/>
                  <a:gd name="T12" fmla="*/ 148 w 151"/>
                  <a:gd name="T13" fmla="*/ 0 h 26"/>
                  <a:gd name="T14" fmla="*/ 151 w 151"/>
                  <a:gd name="T15" fmla="*/ 8 h 26"/>
                  <a:gd name="T16" fmla="*/ 151 w 151"/>
                  <a:gd name="T17" fmla="*/ 8 h 26"/>
                  <a:gd name="T18" fmla="*/ 148 w 151"/>
                  <a:gd name="T19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1" h="26">
                    <a:moveTo>
                      <a:pt x="0" y="18"/>
                    </a:moveTo>
                    <a:cubicBezTo>
                      <a:pt x="0" y="18"/>
                      <a:pt x="0" y="18"/>
                      <a:pt x="0" y="18"/>
                    </a:cubicBezTo>
                    <a:cubicBezTo>
                      <a:pt x="1" y="21"/>
                      <a:pt x="2" y="24"/>
                      <a:pt x="2" y="26"/>
                    </a:cubicBezTo>
                    <a:cubicBezTo>
                      <a:pt x="2" y="26"/>
                      <a:pt x="2" y="26"/>
                      <a:pt x="2" y="26"/>
                    </a:cubicBezTo>
                    <a:cubicBezTo>
                      <a:pt x="2" y="24"/>
                      <a:pt x="1" y="21"/>
                      <a:pt x="0" y="18"/>
                    </a:cubicBezTo>
                    <a:moveTo>
                      <a:pt x="148" y="0"/>
                    </a:moveTo>
                    <a:cubicBezTo>
                      <a:pt x="148" y="0"/>
                      <a:pt x="148" y="0"/>
                      <a:pt x="148" y="0"/>
                    </a:cubicBezTo>
                    <a:cubicBezTo>
                      <a:pt x="149" y="3"/>
                      <a:pt x="150" y="6"/>
                      <a:pt x="151" y="8"/>
                    </a:cubicBezTo>
                    <a:cubicBezTo>
                      <a:pt x="151" y="8"/>
                      <a:pt x="151" y="8"/>
                      <a:pt x="151" y="8"/>
                    </a:cubicBezTo>
                    <a:cubicBezTo>
                      <a:pt x="150" y="6"/>
                      <a:pt x="149" y="3"/>
                      <a:pt x="148" y="0"/>
                    </a:cubicBezTo>
                  </a:path>
                </a:pathLst>
              </a:custGeom>
              <a:solidFill>
                <a:srgbClr val="9C3F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0" name="任意多边形: 形状 329">
                <a:extLst>
                  <a:ext uri="{FF2B5EF4-FFF2-40B4-BE49-F238E27FC236}">
                    <a16:creationId xmlns:a16="http://schemas.microsoft.com/office/drawing/2014/main" id="{E1AB6D41-8012-4A54-BA70-B3642DF198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1983" y="2079094"/>
                <a:ext cx="496888" cy="85725"/>
              </a:xfrm>
              <a:custGeom>
                <a:avLst/>
                <a:gdLst>
                  <a:gd name="T0" fmla="*/ 148 w 151"/>
                  <a:gd name="T1" fmla="*/ 0 h 26"/>
                  <a:gd name="T2" fmla="*/ 0 w 151"/>
                  <a:gd name="T3" fmla="*/ 18 h 26"/>
                  <a:gd name="T4" fmla="*/ 2 w 151"/>
                  <a:gd name="T5" fmla="*/ 26 h 26"/>
                  <a:gd name="T6" fmla="*/ 151 w 151"/>
                  <a:gd name="T7" fmla="*/ 8 h 26"/>
                  <a:gd name="T8" fmla="*/ 148 w 151"/>
                  <a:gd name="T9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1" h="26">
                    <a:moveTo>
                      <a:pt x="148" y="0"/>
                    </a:moveTo>
                    <a:cubicBezTo>
                      <a:pt x="98" y="1"/>
                      <a:pt x="49" y="7"/>
                      <a:pt x="0" y="18"/>
                    </a:cubicBezTo>
                    <a:cubicBezTo>
                      <a:pt x="1" y="21"/>
                      <a:pt x="2" y="24"/>
                      <a:pt x="2" y="26"/>
                    </a:cubicBezTo>
                    <a:cubicBezTo>
                      <a:pt x="51" y="15"/>
                      <a:pt x="101" y="9"/>
                      <a:pt x="151" y="8"/>
                    </a:cubicBezTo>
                    <a:cubicBezTo>
                      <a:pt x="150" y="6"/>
                      <a:pt x="149" y="3"/>
                      <a:pt x="148" y="0"/>
                    </a:cubicBezTo>
                  </a:path>
                </a:pathLst>
              </a:custGeom>
              <a:solidFill>
                <a:srgbClr val="FF535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1" name="任意多边形: 形状 330">
                <a:extLst>
                  <a:ext uri="{FF2B5EF4-FFF2-40B4-BE49-F238E27FC236}">
                    <a16:creationId xmlns:a16="http://schemas.microsoft.com/office/drawing/2014/main" id="{2579935B-CD5D-4D66-AF04-714B00F6BD6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0408" y="2290231"/>
                <a:ext cx="487363" cy="171450"/>
              </a:xfrm>
              <a:custGeom>
                <a:avLst/>
                <a:gdLst>
                  <a:gd name="T0" fmla="*/ 0 w 148"/>
                  <a:gd name="T1" fmla="*/ 49 h 52"/>
                  <a:gd name="T2" fmla="*/ 0 w 148"/>
                  <a:gd name="T3" fmla="*/ 49 h 52"/>
                  <a:gd name="T4" fmla="*/ 1 w 148"/>
                  <a:gd name="T5" fmla="*/ 52 h 52"/>
                  <a:gd name="T6" fmla="*/ 0 w 148"/>
                  <a:gd name="T7" fmla="*/ 49 h 52"/>
                  <a:gd name="T8" fmla="*/ 144 w 148"/>
                  <a:gd name="T9" fmla="*/ 0 h 52"/>
                  <a:gd name="T10" fmla="*/ 144 w 148"/>
                  <a:gd name="T11" fmla="*/ 0 h 52"/>
                  <a:gd name="T12" fmla="*/ 148 w 148"/>
                  <a:gd name="T13" fmla="*/ 7 h 52"/>
                  <a:gd name="T14" fmla="*/ 148 w 148"/>
                  <a:gd name="T15" fmla="*/ 7 h 52"/>
                  <a:gd name="T16" fmla="*/ 144 w 148"/>
                  <a:gd name="T17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8" h="52">
                    <a:moveTo>
                      <a:pt x="0" y="49"/>
                    </a:moveTo>
                    <a:cubicBezTo>
                      <a:pt x="0" y="49"/>
                      <a:pt x="0" y="49"/>
                      <a:pt x="0" y="49"/>
                    </a:cubicBezTo>
                    <a:cubicBezTo>
                      <a:pt x="0" y="50"/>
                      <a:pt x="0" y="51"/>
                      <a:pt x="1" y="52"/>
                    </a:cubicBezTo>
                    <a:cubicBezTo>
                      <a:pt x="0" y="51"/>
                      <a:pt x="0" y="50"/>
                      <a:pt x="0" y="49"/>
                    </a:cubicBezTo>
                    <a:moveTo>
                      <a:pt x="144" y="0"/>
                    </a:moveTo>
                    <a:cubicBezTo>
                      <a:pt x="144" y="0"/>
                      <a:pt x="144" y="0"/>
                      <a:pt x="144" y="0"/>
                    </a:cubicBezTo>
                    <a:cubicBezTo>
                      <a:pt x="145" y="2"/>
                      <a:pt x="147" y="5"/>
                      <a:pt x="148" y="7"/>
                    </a:cubicBezTo>
                    <a:cubicBezTo>
                      <a:pt x="148" y="7"/>
                      <a:pt x="148" y="7"/>
                      <a:pt x="148" y="7"/>
                    </a:cubicBezTo>
                    <a:cubicBezTo>
                      <a:pt x="147" y="5"/>
                      <a:pt x="145" y="2"/>
                      <a:pt x="144" y="0"/>
                    </a:cubicBezTo>
                  </a:path>
                </a:pathLst>
              </a:custGeom>
              <a:solidFill>
                <a:srgbClr val="9C3F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2" name="任意多边形: 形状 331">
                <a:extLst>
                  <a:ext uri="{FF2B5EF4-FFF2-40B4-BE49-F238E27FC236}">
                    <a16:creationId xmlns:a16="http://schemas.microsoft.com/office/drawing/2014/main" id="{9E83ED46-EADB-4F77-BB14-A7D866A204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0408" y="2290231"/>
                <a:ext cx="487363" cy="188913"/>
              </a:xfrm>
              <a:custGeom>
                <a:avLst/>
                <a:gdLst>
                  <a:gd name="T0" fmla="*/ 144 w 148"/>
                  <a:gd name="T1" fmla="*/ 0 h 57"/>
                  <a:gd name="T2" fmla="*/ 0 w 148"/>
                  <a:gd name="T3" fmla="*/ 49 h 57"/>
                  <a:gd name="T4" fmla="*/ 1 w 148"/>
                  <a:gd name="T5" fmla="*/ 52 h 57"/>
                  <a:gd name="T6" fmla="*/ 3 w 148"/>
                  <a:gd name="T7" fmla="*/ 57 h 57"/>
                  <a:gd name="T8" fmla="*/ 148 w 148"/>
                  <a:gd name="T9" fmla="*/ 7 h 57"/>
                  <a:gd name="T10" fmla="*/ 144 w 148"/>
                  <a:gd name="T11" fmla="*/ 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8" h="57">
                    <a:moveTo>
                      <a:pt x="144" y="0"/>
                    </a:moveTo>
                    <a:cubicBezTo>
                      <a:pt x="95" y="13"/>
                      <a:pt x="45" y="27"/>
                      <a:pt x="0" y="49"/>
                    </a:cubicBezTo>
                    <a:cubicBezTo>
                      <a:pt x="0" y="50"/>
                      <a:pt x="0" y="51"/>
                      <a:pt x="1" y="52"/>
                    </a:cubicBezTo>
                    <a:cubicBezTo>
                      <a:pt x="1" y="54"/>
                      <a:pt x="2" y="55"/>
                      <a:pt x="3" y="57"/>
                    </a:cubicBezTo>
                    <a:cubicBezTo>
                      <a:pt x="49" y="35"/>
                      <a:pt x="98" y="20"/>
                      <a:pt x="148" y="7"/>
                    </a:cubicBezTo>
                    <a:cubicBezTo>
                      <a:pt x="147" y="5"/>
                      <a:pt x="145" y="2"/>
                      <a:pt x="144" y="0"/>
                    </a:cubicBezTo>
                  </a:path>
                </a:pathLst>
              </a:custGeom>
              <a:solidFill>
                <a:srgbClr val="FF535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3" name="任意多边形: 形状 332">
                <a:extLst>
                  <a:ext uri="{FF2B5EF4-FFF2-40B4-BE49-F238E27FC236}">
                    <a16:creationId xmlns:a16="http://schemas.microsoft.com/office/drawing/2014/main" id="{7180D242-BB49-4128-9298-C8B987312A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31383" y="3064931"/>
                <a:ext cx="96838" cy="303213"/>
              </a:xfrm>
              <a:custGeom>
                <a:avLst/>
                <a:gdLst>
                  <a:gd name="T0" fmla="*/ 23 w 29"/>
                  <a:gd name="T1" fmla="*/ 0 h 92"/>
                  <a:gd name="T2" fmla="*/ 0 w 29"/>
                  <a:gd name="T3" fmla="*/ 89 h 92"/>
                  <a:gd name="T4" fmla="*/ 8 w 29"/>
                  <a:gd name="T5" fmla="*/ 92 h 92"/>
                  <a:gd name="T6" fmla="*/ 29 w 29"/>
                  <a:gd name="T7" fmla="*/ 5 h 92"/>
                  <a:gd name="T8" fmla="*/ 23 w 29"/>
                  <a:gd name="T9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92">
                    <a:moveTo>
                      <a:pt x="23" y="0"/>
                    </a:moveTo>
                    <a:cubicBezTo>
                      <a:pt x="11" y="28"/>
                      <a:pt x="4" y="58"/>
                      <a:pt x="0" y="89"/>
                    </a:cubicBezTo>
                    <a:cubicBezTo>
                      <a:pt x="3" y="90"/>
                      <a:pt x="6" y="91"/>
                      <a:pt x="8" y="92"/>
                    </a:cubicBezTo>
                    <a:cubicBezTo>
                      <a:pt x="11" y="62"/>
                      <a:pt x="18" y="33"/>
                      <a:pt x="29" y="5"/>
                    </a:cubicBezTo>
                    <a:cubicBezTo>
                      <a:pt x="27" y="3"/>
                      <a:pt x="25" y="2"/>
                      <a:pt x="23" y="0"/>
                    </a:cubicBezTo>
                  </a:path>
                </a:pathLst>
              </a:custGeom>
              <a:solidFill>
                <a:srgbClr val="FF535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4" name="任意多边形: 形状 333">
                <a:extLst>
                  <a:ext uri="{FF2B5EF4-FFF2-40B4-BE49-F238E27FC236}">
                    <a16:creationId xmlns:a16="http://schemas.microsoft.com/office/drawing/2014/main" id="{EB44D6F6-36CF-4345-A261-3C2BD1637C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61433" y="2474381"/>
                <a:ext cx="15875" cy="23813"/>
              </a:xfrm>
              <a:custGeom>
                <a:avLst/>
                <a:gdLst>
                  <a:gd name="T0" fmla="*/ 1 w 5"/>
                  <a:gd name="T1" fmla="*/ 0 h 7"/>
                  <a:gd name="T2" fmla="*/ 0 w 5"/>
                  <a:gd name="T3" fmla="*/ 0 h 7"/>
                  <a:gd name="T4" fmla="*/ 5 w 5"/>
                  <a:gd name="T5" fmla="*/ 7 h 7"/>
                  <a:gd name="T6" fmla="*/ 5 w 5"/>
                  <a:gd name="T7" fmla="*/ 6 h 7"/>
                  <a:gd name="T8" fmla="*/ 1 w 5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7">
                    <a:moveTo>
                      <a:pt x="1" y="0"/>
                    </a:moveTo>
                    <a:cubicBezTo>
                      <a:pt x="1" y="0"/>
                      <a:pt x="0" y="0"/>
                      <a:pt x="0" y="0"/>
                    </a:cubicBezTo>
                    <a:cubicBezTo>
                      <a:pt x="2" y="2"/>
                      <a:pt x="4" y="4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4" y="4"/>
                      <a:pt x="2" y="2"/>
                      <a:pt x="1" y="0"/>
                    </a:cubicBezTo>
                  </a:path>
                </a:pathLst>
              </a:custGeom>
              <a:solidFill>
                <a:srgbClr val="9C3F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5" name="任意多边形: 形状 334">
                <a:extLst>
                  <a:ext uri="{FF2B5EF4-FFF2-40B4-BE49-F238E27FC236}">
                    <a16:creationId xmlns:a16="http://schemas.microsoft.com/office/drawing/2014/main" id="{7E46B3DC-876D-484F-AF47-ABF6B6EC16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93121" y="2474381"/>
                <a:ext cx="484188" cy="268288"/>
              </a:xfrm>
              <a:custGeom>
                <a:avLst/>
                <a:gdLst>
                  <a:gd name="T0" fmla="*/ 142 w 147"/>
                  <a:gd name="T1" fmla="*/ 0 h 81"/>
                  <a:gd name="T2" fmla="*/ 25 w 147"/>
                  <a:gd name="T3" fmla="*/ 57 h 81"/>
                  <a:gd name="T4" fmla="*/ 0 w 147"/>
                  <a:gd name="T5" fmla="*/ 74 h 81"/>
                  <a:gd name="T6" fmla="*/ 4 w 147"/>
                  <a:gd name="T7" fmla="*/ 81 h 81"/>
                  <a:gd name="T8" fmla="*/ 35 w 147"/>
                  <a:gd name="T9" fmla="*/ 60 h 81"/>
                  <a:gd name="T10" fmla="*/ 147 w 147"/>
                  <a:gd name="T11" fmla="*/ 7 h 81"/>
                  <a:gd name="T12" fmla="*/ 142 w 147"/>
                  <a:gd name="T13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7" h="81">
                    <a:moveTo>
                      <a:pt x="142" y="0"/>
                    </a:moveTo>
                    <a:cubicBezTo>
                      <a:pt x="105" y="21"/>
                      <a:pt x="62" y="34"/>
                      <a:pt x="25" y="57"/>
                    </a:cubicBezTo>
                    <a:cubicBezTo>
                      <a:pt x="17" y="62"/>
                      <a:pt x="8" y="68"/>
                      <a:pt x="0" y="74"/>
                    </a:cubicBezTo>
                    <a:cubicBezTo>
                      <a:pt x="1" y="76"/>
                      <a:pt x="3" y="79"/>
                      <a:pt x="4" y="81"/>
                    </a:cubicBezTo>
                    <a:cubicBezTo>
                      <a:pt x="14" y="74"/>
                      <a:pt x="24" y="67"/>
                      <a:pt x="35" y="60"/>
                    </a:cubicBezTo>
                    <a:cubicBezTo>
                      <a:pt x="71" y="39"/>
                      <a:pt x="111" y="27"/>
                      <a:pt x="147" y="7"/>
                    </a:cubicBezTo>
                    <a:cubicBezTo>
                      <a:pt x="146" y="4"/>
                      <a:pt x="144" y="2"/>
                      <a:pt x="142" y="0"/>
                    </a:cubicBezTo>
                  </a:path>
                </a:pathLst>
              </a:custGeom>
              <a:solidFill>
                <a:srgbClr val="FF535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6" name="任意多边形: 形状 335">
                <a:extLst>
                  <a:ext uri="{FF2B5EF4-FFF2-40B4-BE49-F238E27FC236}">
                    <a16:creationId xmlns:a16="http://schemas.microsoft.com/office/drawing/2014/main" id="{470DD376-B381-4530-879B-A7250FC3F0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75783" y="3288769"/>
                <a:ext cx="25400" cy="3175"/>
              </a:xfrm>
              <a:custGeom>
                <a:avLst/>
                <a:gdLst>
                  <a:gd name="T0" fmla="*/ 0 w 8"/>
                  <a:gd name="T1" fmla="*/ 0 h 1"/>
                  <a:gd name="T2" fmla="*/ 0 w 8"/>
                  <a:gd name="T3" fmla="*/ 0 h 1"/>
                  <a:gd name="T4" fmla="*/ 8 w 8"/>
                  <a:gd name="T5" fmla="*/ 1 h 1"/>
                  <a:gd name="T6" fmla="*/ 8 w 8"/>
                  <a:gd name="T7" fmla="*/ 1 h 1"/>
                  <a:gd name="T8" fmla="*/ 0 w 8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3" y="0"/>
                      <a:pt x="5" y="0"/>
                      <a:pt x="8" y="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5" y="0"/>
                      <a:pt x="3" y="0"/>
                      <a:pt x="0" y="0"/>
                    </a:cubicBezTo>
                  </a:path>
                </a:pathLst>
              </a:custGeom>
              <a:solidFill>
                <a:srgbClr val="BFB7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7" name="任意多边形: 形状 336">
                <a:extLst>
                  <a:ext uri="{FF2B5EF4-FFF2-40B4-BE49-F238E27FC236}">
                    <a16:creationId xmlns:a16="http://schemas.microsoft.com/office/drawing/2014/main" id="{54B9F313-68FD-4B9E-94F1-2C00040FCB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75783" y="2899831"/>
                <a:ext cx="276225" cy="392113"/>
              </a:xfrm>
              <a:custGeom>
                <a:avLst/>
                <a:gdLst>
                  <a:gd name="T0" fmla="*/ 76 w 84"/>
                  <a:gd name="T1" fmla="*/ 0 h 119"/>
                  <a:gd name="T2" fmla="*/ 0 w 84"/>
                  <a:gd name="T3" fmla="*/ 118 h 119"/>
                  <a:gd name="T4" fmla="*/ 8 w 84"/>
                  <a:gd name="T5" fmla="*/ 119 h 119"/>
                  <a:gd name="T6" fmla="*/ 84 w 84"/>
                  <a:gd name="T7" fmla="*/ 3 h 119"/>
                  <a:gd name="T8" fmla="*/ 76 w 84"/>
                  <a:gd name="T9" fmla="*/ 0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4" h="119">
                    <a:moveTo>
                      <a:pt x="76" y="0"/>
                    </a:moveTo>
                    <a:cubicBezTo>
                      <a:pt x="45" y="36"/>
                      <a:pt x="17" y="75"/>
                      <a:pt x="0" y="118"/>
                    </a:cubicBezTo>
                    <a:cubicBezTo>
                      <a:pt x="3" y="118"/>
                      <a:pt x="5" y="118"/>
                      <a:pt x="8" y="119"/>
                    </a:cubicBezTo>
                    <a:cubicBezTo>
                      <a:pt x="26" y="77"/>
                      <a:pt x="54" y="39"/>
                      <a:pt x="84" y="3"/>
                    </a:cubicBezTo>
                    <a:cubicBezTo>
                      <a:pt x="81" y="2"/>
                      <a:pt x="78" y="1"/>
                      <a:pt x="76" y="0"/>
                    </a:cubicBezTo>
                  </a:path>
                </a:pathLst>
              </a:custGeom>
              <a:solidFill>
                <a:srgbClr val="FF535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8" name="任意多边形: 形状 337">
                <a:extLst>
                  <a:ext uri="{FF2B5EF4-FFF2-40B4-BE49-F238E27FC236}">
                    <a16:creationId xmlns:a16="http://schemas.microsoft.com/office/drawing/2014/main" id="{D107FF4A-2678-4703-9765-97547C9874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2408" y="2810931"/>
                <a:ext cx="336550" cy="425450"/>
              </a:xfrm>
              <a:custGeom>
                <a:avLst/>
                <a:gdLst>
                  <a:gd name="T0" fmla="*/ 92 w 102"/>
                  <a:gd name="T1" fmla="*/ 0 h 129"/>
                  <a:gd name="T2" fmla="*/ 37 w 102"/>
                  <a:gd name="T3" fmla="*/ 59 h 129"/>
                  <a:gd name="T4" fmla="*/ 0 w 102"/>
                  <a:gd name="T5" fmla="*/ 127 h 129"/>
                  <a:gd name="T6" fmla="*/ 8 w 102"/>
                  <a:gd name="T7" fmla="*/ 129 h 129"/>
                  <a:gd name="T8" fmla="*/ 52 w 102"/>
                  <a:gd name="T9" fmla="*/ 53 h 129"/>
                  <a:gd name="T10" fmla="*/ 102 w 102"/>
                  <a:gd name="T11" fmla="*/ 2 h 129"/>
                  <a:gd name="T12" fmla="*/ 92 w 102"/>
                  <a:gd name="T13" fmla="*/ 0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2" h="129">
                    <a:moveTo>
                      <a:pt x="92" y="0"/>
                    </a:moveTo>
                    <a:cubicBezTo>
                      <a:pt x="71" y="17"/>
                      <a:pt x="53" y="37"/>
                      <a:pt x="37" y="59"/>
                    </a:cubicBezTo>
                    <a:cubicBezTo>
                      <a:pt x="22" y="79"/>
                      <a:pt x="6" y="102"/>
                      <a:pt x="0" y="127"/>
                    </a:cubicBezTo>
                    <a:cubicBezTo>
                      <a:pt x="3" y="127"/>
                      <a:pt x="5" y="128"/>
                      <a:pt x="8" y="129"/>
                    </a:cubicBezTo>
                    <a:cubicBezTo>
                      <a:pt x="14" y="101"/>
                      <a:pt x="35" y="74"/>
                      <a:pt x="52" y="53"/>
                    </a:cubicBezTo>
                    <a:cubicBezTo>
                      <a:pt x="67" y="34"/>
                      <a:pt x="84" y="17"/>
                      <a:pt x="102" y="2"/>
                    </a:cubicBezTo>
                    <a:cubicBezTo>
                      <a:pt x="99" y="1"/>
                      <a:pt x="95" y="1"/>
                      <a:pt x="92" y="0"/>
                    </a:cubicBezTo>
                  </a:path>
                </a:pathLst>
              </a:custGeom>
              <a:solidFill>
                <a:srgbClr val="FF535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41" name="任意多边形: 形状 340">
                <a:extLst>
                  <a:ext uri="{FF2B5EF4-FFF2-40B4-BE49-F238E27FC236}">
                    <a16:creationId xmlns:a16="http://schemas.microsoft.com/office/drawing/2014/main" id="{23FEE22A-980D-480C-BF64-B0BD22BE7D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1933" y="2675994"/>
                <a:ext cx="20638" cy="15875"/>
              </a:xfrm>
              <a:custGeom>
                <a:avLst/>
                <a:gdLst>
                  <a:gd name="T0" fmla="*/ 0 w 6"/>
                  <a:gd name="T1" fmla="*/ 0 h 5"/>
                  <a:gd name="T2" fmla="*/ 0 w 6"/>
                  <a:gd name="T3" fmla="*/ 0 h 5"/>
                  <a:gd name="T4" fmla="*/ 6 w 6"/>
                  <a:gd name="T5" fmla="*/ 5 h 5"/>
                  <a:gd name="T6" fmla="*/ 0 w 6"/>
                  <a:gd name="T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5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2" y="2"/>
                      <a:pt x="4" y="4"/>
                      <a:pt x="6" y="5"/>
                    </a:cubicBezTo>
                    <a:cubicBezTo>
                      <a:pt x="4" y="4"/>
                      <a:pt x="2" y="2"/>
                      <a:pt x="0" y="0"/>
                    </a:cubicBezTo>
                  </a:path>
                </a:pathLst>
              </a:custGeom>
              <a:solidFill>
                <a:srgbClr val="9C3F3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42" name="任意多边形: 形状 341">
                <a:extLst>
                  <a:ext uri="{FF2B5EF4-FFF2-40B4-BE49-F238E27FC236}">
                    <a16:creationId xmlns:a16="http://schemas.microsoft.com/office/drawing/2014/main" id="{6ECAC8ED-DAFF-4389-8B80-A20746A34C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7121" y="3052231"/>
                <a:ext cx="6350" cy="6350"/>
              </a:xfrm>
              <a:custGeom>
                <a:avLst/>
                <a:gdLst>
                  <a:gd name="T0" fmla="*/ 0 w 2"/>
                  <a:gd name="T1" fmla="*/ 0 h 2"/>
                  <a:gd name="T2" fmla="*/ 1 w 2"/>
                  <a:gd name="T3" fmla="*/ 1 h 2"/>
                  <a:gd name="T4" fmla="*/ 2 w 2"/>
                  <a:gd name="T5" fmla="*/ 2 h 2"/>
                  <a:gd name="T6" fmla="*/ 1 w 2"/>
                  <a:gd name="T7" fmla="*/ 1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cubicBezTo>
                      <a:pt x="0" y="0"/>
                      <a:pt x="0" y="1"/>
                      <a:pt x="1" y="1"/>
                    </a:cubicBezTo>
                    <a:cubicBezTo>
                      <a:pt x="1" y="1"/>
                      <a:pt x="1" y="1"/>
                      <a:pt x="2" y="2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0"/>
                      <a:pt x="0" y="0"/>
                    </a:cubicBezTo>
                  </a:path>
                </a:pathLst>
              </a:custGeom>
              <a:solidFill>
                <a:srgbClr val="BFB7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43" name="任意多边形: 形状 342">
                <a:extLst>
                  <a:ext uri="{FF2B5EF4-FFF2-40B4-BE49-F238E27FC236}">
                    <a16:creationId xmlns:a16="http://schemas.microsoft.com/office/drawing/2014/main" id="{9D443186-80E4-4937-8E2E-0D181EE588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6008" y="2675994"/>
                <a:ext cx="439738" cy="385763"/>
              </a:xfrm>
              <a:custGeom>
                <a:avLst/>
                <a:gdLst>
                  <a:gd name="T0" fmla="*/ 126 w 133"/>
                  <a:gd name="T1" fmla="*/ 0 h 117"/>
                  <a:gd name="T2" fmla="*/ 0 w 133"/>
                  <a:gd name="T3" fmla="*/ 112 h 117"/>
                  <a:gd name="T4" fmla="*/ 3 w 133"/>
                  <a:gd name="T5" fmla="*/ 114 h 117"/>
                  <a:gd name="T6" fmla="*/ 4 w 133"/>
                  <a:gd name="T7" fmla="*/ 115 h 117"/>
                  <a:gd name="T8" fmla="*/ 5 w 133"/>
                  <a:gd name="T9" fmla="*/ 116 h 117"/>
                  <a:gd name="T10" fmla="*/ 7 w 133"/>
                  <a:gd name="T11" fmla="*/ 117 h 117"/>
                  <a:gd name="T12" fmla="*/ 133 w 133"/>
                  <a:gd name="T13" fmla="*/ 6 h 117"/>
                  <a:gd name="T14" fmla="*/ 132 w 133"/>
                  <a:gd name="T15" fmla="*/ 5 h 117"/>
                  <a:gd name="T16" fmla="*/ 126 w 133"/>
                  <a:gd name="T17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3" h="117">
                    <a:moveTo>
                      <a:pt x="126" y="0"/>
                    </a:moveTo>
                    <a:cubicBezTo>
                      <a:pt x="77" y="30"/>
                      <a:pt x="35" y="67"/>
                      <a:pt x="0" y="112"/>
                    </a:cubicBezTo>
                    <a:cubicBezTo>
                      <a:pt x="1" y="113"/>
                      <a:pt x="2" y="113"/>
                      <a:pt x="3" y="114"/>
                    </a:cubicBezTo>
                    <a:cubicBezTo>
                      <a:pt x="3" y="114"/>
                      <a:pt x="3" y="115"/>
                      <a:pt x="4" y="115"/>
                    </a:cubicBezTo>
                    <a:cubicBezTo>
                      <a:pt x="4" y="115"/>
                      <a:pt x="4" y="115"/>
                      <a:pt x="5" y="116"/>
                    </a:cubicBezTo>
                    <a:cubicBezTo>
                      <a:pt x="5" y="116"/>
                      <a:pt x="6" y="116"/>
                      <a:pt x="7" y="117"/>
                    </a:cubicBezTo>
                    <a:cubicBezTo>
                      <a:pt x="41" y="72"/>
                      <a:pt x="84" y="35"/>
                      <a:pt x="133" y="6"/>
                    </a:cubicBezTo>
                    <a:cubicBezTo>
                      <a:pt x="133" y="6"/>
                      <a:pt x="133" y="5"/>
                      <a:pt x="132" y="5"/>
                    </a:cubicBezTo>
                    <a:cubicBezTo>
                      <a:pt x="130" y="4"/>
                      <a:pt x="128" y="2"/>
                      <a:pt x="126" y="0"/>
                    </a:cubicBezTo>
                  </a:path>
                </a:pathLst>
              </a:custGeom>
              <a:solidFill>
                <a:srgbClr val="FF535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44" name="任意多边形: 形状 343">
                <a:extLst>
                  <a:ext uri="{FF2B5EF4-FFF2-40B4-BE49-F238E27FC236}">
                    <a16:creationId xmlns:a16="http://schemas.microsoft.com/office/drawing/2014/main" id="{58E3000B-9840-4F18-A471-94A51E564F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3471" y="3095094"/>
                <a:ext cx="349250" cy="434975"/>
              </a:xfrm>
              <a:custGeom>
                <a:avLst/>
                <a:gdLst>
                  <a:gd name="T0" fmla="*/ 99 w 106"/>
                  <a:gd name="T1" fmla="*/ 102 h 132"/>
                  <a:gd name="T2" fmla="*/ 104 w 106"/>
                  <a:gd name="T3" fmla="*/ 111 h 132"/>
                  <a:gd name="T4" fmla="*/ 103 w 106"/>
                  <a:gd name="T5" fmla="*/ 112 h 132"/>
                  <a:gd name="T6" fmla="*/ 78 w 106"/>
                  <a:gd name="T7" fmla="*/ 127 h 132"/>
                  <a:gd name="T8" fmla="*/ 58 w 106"/>
                  <a:gd name="T9" fmla="*/ 131 h 132"/>
                  <a:gd name="T10" fmla="*/ 0 w 106"/>
                  <a:gd name="T11" fmla="*/ 111 h 132"/>
                  <a:gd name="T12" fmla="*/ 14 w 106"/>
                  <a:gd name="T13" fmla="*/ 18 h 132"/>
                  <a:gd name="T14" fmla="*/ 14 w 106"/>
                  <a:gd name="T15" fmla="*/ 16 h 132"/>
                  <a:gd name="T16" fmla="*/ 14 w 106"/>
                  <a:gd name="T17" fmla="*/ 16 h 132"/>
                  <a:gd name="T18" fmla="*/ 14 w 106"/>
                  <a:gd name="T19" fmla="*/ 16 h 132"/>
                  <a:gd name="T20" fmla="*/ 12 w 106"/>
                  <a:gd name="T21" fmla="*/ 0 h 132"/>
                  <a:gd name="T22" fmla="*/ 77 w 106"/>
                  <a:gd name="T23" fmla="*/ 3 h 132"/>
                  <a:gd name="T24" fmla="*/ 97 w 106"/>
                  <a:gd name="T25" fmla="*/ 4 h 132"/>
                  <a:gd name="T26" fmla="*/ 97 w 106"/>
                  <a:gd name="T27" fmla="*/ 4 h 132"/>
                  <a:gd name="T28" fmla="*/ 100 w 106"/>
                  <a:gd name="T29" fmla="*/ 4 h 132"/>
                  <a:gd name="T30" fmla="*/ 106 w 106"/>
                  <a:gd name="T31" fmla="*/ 5 h 132"/>
                  <a:gd name="T32" fmla="*/ 106 w 106"/>
                  <a:gd name="T33" fmla="*/ 5 h 132"/>
                  <a:gd name="T34" fmla="*/ 102 w 106"/>
                  <a:gd name="T35" fmla="*/ 12 h 132"/>
                  <a:gd name="T36" fmla="*/ 92 w 106"/>
                  <a:gd name="T37" fmla="*/ 88 h 132"/>
                  <a:gd name="T38" fmla="*/ 99 w 106"/>
                  <a:gd name="T39" fmla="*/ 102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06" h="132">
                    <a:moveTo>
                      <a:pt x="99" y="102"/>
                    </a:moveTo>
                    <a:cubicBezTo>
                      <a:pt x="101" y="106"/>
                      <a:pt x="103" y="110"/>
                      <a:pt x="104" y="111"/>
                    </a:cubicBezTo>
                    <a:cubicBezTo>
                      <a:pt x="104" y="111"/>
                      <a:pt x="104" y="112"/>
                      <a:pt x="103" y="112"/>
                    </a:cubicBezTo>
                    <a:cubicBezTo>
                      <a:pt x="93" y="119"/>
                      <a:pt x="86" y="124"/>
                      <a:pt x="78" y="127"/>
                    </a:cubicBezTo>
                    <a:cubicBezTo>
                      <a:pt x="72" y="129"/>
                      <a:pt x="66" y="130"/>
                      <a:pt x="58" y="131"/>
                    </a:cubicBezTo>
                    <a:cubicBezTo>
                      <a:pt x="36" y="132"/>
                      <a:pt x="15" y="129"/>
                      <a:pt x="0" y="111"/>
                    </a:cubicBezTo>
                    <a:cubicBezTo>
                      <a:pt x="21" y="90"/>
                      <a:pt x="19" y="46"/>
                      <a:pt x="14" y="18"/>
                    </a:cubicBezTo>
                    <a:cubicBezTo>
                      <a:pt x="14" y="17"/>
                      <a:pt x="14" y="16"/>
                      <a:pt x="14" y="16"/>
                    </a:cubicBezTo>
                    <a:cubicBezTo>
                      <a:pt x="14" y="16"/>
                      <a:pt x="14" y="16"/>
                      <a:pt x="14" y="16"/>
                    </a:cubicBezTo>
                    <a:cubicBezTo>
                      <a:pt x="14" y="16"/>
                      <a:pt x="14" y="16"/>
                      <a:pt x="14" y="16"/>
                    </a:cubicBezTo>
                    <a:cubicBezTo>
                      <a:pt x="13" y="10"/>
                      <a:pt x="12" y="5"/>
                      <a:pt x="12" y="0"/>
                    </a:cubicBezTo>
                    <a:cubicBezTo>
                      <a:pt x="30" y="0"/>
                      <a:pt x="61" y="2"/>
                      <a:pt x="77" y="3"/>
                    </a:cubicBezTo>
                    <a:cubicBezTo>
                      <a:pt x="87" y="3"/>
                      <a:pt x="91" y="4"/>
                      <a:pt x="97" y="4"/>
                    </a:cubicBezTo>
                    <a:cubicBezTo>
                      <a:pt x="97" y="4"/>
                      <a:pt x="97" y="4"/>
                      <a:pt x="97" y="4"/>
                    </a:cubicBezTo>
                    <a:cubicBezTo>
                      <a:pt x="98" y="4"/>
                      <a:pt x="99" y="4"/>
                      <a:pt x="100" y="4"/>
                    </a:cubicBezTo>
                    <a:cubicBezTo>
                      <a:pt x="102" y="4"/>
                      <a:pt x="104" y="4"/>
                      <a:pt x="106" y="5"/>
                    </a:cubicBezTo>
                    <a:cubicBezTo>
                      <a:pt x="106" y="5"/>
                      <a:pt x="106" y="5"/>
                      <a:pt x="106" y="5"/>
                    </a:cubicBezTo>
                    <a:cubicBezTo>
                      <a:pt x="105" y="7"/>
                      <a:pt x="103" y="9"/>
                      <a:pt x="102" y="12"/>
                    </a:cubicBezTo>
                    <a:cubicBezTo>
                      <a:pt x="91" y="29"/>
                      <a:pt x="84" y="68"/>
                      <a:pt x="92" y="88"/>
                    </a:cubicBezTo>
                    <a:cubicBezTo>
                      <a:pt x="93" y="91"/>
                      <a:pt x="96" y="97"/>
                      <a:pt x="99" y="102"/>
                    </a:cubicBezTo>
                  </a:path>
                </a:pathLst>
              </a:custGeom>
              <a:solidFill>
                <a:srgbClr val="FFBEA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45" name="任意多边形: 形状 344">
                <a:extLst>
                  <a:ext uri="{FF2B5EF4-FFF2-40B4-BE49-F238E27FC236}">
                    <a16:creationId xmlns:a16="http://schemas.microsoft.com/office/drawing/2014/main" id="{0DA3EB0D-A5F1-485D-A17B-D7B4E07B5B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2046" y="3095094"/>
                <a:ext cx="320675" cy="358775"/>
              </a:xfrm>
              <a:custGeom>
                <a:avLst/>
                <a:gdLst>
                  <a:gd name="T0" fmla="*/ 97 w 97"/>
                  <a:gd name="T1" fmla="*/ 4 h 109"/>
                  <a:gd name="T2" fmla="*/ 97 w 97"/>
                  <a:gd name="T3" fmla="*/ 5 h 109"/>
                  <a:gd name="T4" fmla="*/ 93 w 97"/>
                  <a:gd name="T5" fmla="*/ 12 h 109"/>
                  <a:gd name="T6" fmla="*/ 83 w 97"/>
                  <a:gd name="T7" fmla="*/ 88 h 109"/>
                  <a:gd name="T8" fmla="*/ 90 w 97"/>
                  <a:gd name="T9" fmla="*/ 102 h 109"/>
                  <a:gd name="T10" fmla="*/ 5 w 97"/>
                  <a:gd name="T11" fmla="*/ 16 h 109"/>
                  <a:gd name="T12" fmla="*/ 5 w 97"/>
                  <a:gd name="T13" fmla="*/ 16 h 109"/>
                  <a:gd name="T14" fmla="*/ 5 w 97"/>
                  <a:gd name="T15" fmla="*/ 16 h 109"/>
                  <a:gd name="T16" fmla="*/ 5 w 97"/>
                  <a:gd name="T17" fmla="*/ 16 h 109"/>
                  <a:gd name="T18" fmla="*/ 5 w 97"/>
                  <a:gd name="T19" fmla="*/ 16 h 109"/>
                  <a:gd name="T20" fmla="*/ 2 w 97"/>
                  <a:gd name="T21" fmla="*/ 0 h 109"/>
                  <a:gd name="T22" fmla="*/ 3 w 97"/>
                  <a:gd name="T23" fmla="*/ 0 h 109"/>
                  <a:gd name="T24" fmla="*/ 88 w 97"/>
                  <a:gd name="T25" fmla="*/ 4 h 109"/>
                  <a:gd name="T26" fmla="*/ 88 w 97"/>
                  <a:gd name="T27" fmla="*/ 4 h 109"/>
                  <a:gd name="T28" fmla="*/ 91 w 97"/>
                  <a:gd name="T29" fmla="*/ 4 h 109"/>
                  <a:gd name="T30" fmla="*/ 97 w 97"/>
                  <a:gd name="T31" fmla="*/ 4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7" h="109">
                    <a:moveTo>
                      <a:pt x="97" y="4"/>
                    </a:moveTo>
                    <a:cubicBezTo>
                      <a:pt x="97" y="5"/>
                      <a:pt x="97" y="5"/>
                      <a:pt x="97" y="5"/>
                    </a:cubicBezTo>
                    <a:cubicBezTo>
                      <a:pt x="95" y="7"/>
                      <a:pt x="94" y="9"/>
                      <a:pt x="93" y="12"/>
                    </a:cubicBezTo>
                    <a:cubicBezTo>
                      <a:pt x="82" y="29"/>
                      <a:pt x="75" y="68"/>
                      <a:pt x="83" y="88"/>
                    </a:cubicBezTo>
                    <a:cubicBezTo>
                      <a:pt x="84" y="91"/>
                      <a:pt x="87" y="97"/>
                      <a:pt x="90" y="102"/>
                    </a:cubicBezTo>
                    <a:cubicBezTo>
                      <a:pt x="46" y="109"/>
                      <a:pt x="26" y="49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1" y="11"/>
                      <a:pt x="0" y="6"/>
                      <a:pt x="2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1" y="1"/>
                      <a:pt x="59" y="2"/>
                      <a:pt x="88" y="4"/>
                    </a:cubicBezTo>
                    <a:cubicBezTo>
                      <a:pt x="88" y="4"/>
                      <a:pt x="88" y="4"/>
                      <a:pt x="88" y="4"/>
                    </a:cubicBezTo>
                    <a:cubicBezTo>
                      <a:pt x="89" y="4"/>
                      <a:pt x="90" y="4"/>
                      <a:pt x="91" y="4"/>
                    </a:cubicBezTo>
                    <a:cubicBezTo>
                      <a:pt x="93" y="4"/>
                      <a:pt x="95" y="4"/>
                      <a:pt x="97" y="4"/>
                    </a:cubicBezTo>
                  </a:path>
                </a:pathLst>
              </a:custGeom>
              <a:solidFill>
                <a:srgbClr val="FFA5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46" name="任意多边形: 形状 345">
                <a:extLst>
                  <a:ext uri="{FF2B5EF4-FFF2-40B4-BE49-F238E27FC236}">
                    <a16:creationId xmlns:a16="http://schemas.microsoft.com/office/drawing/2014/main" id="{32F6686A-7D3A-444C-9F57-9388B15951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5621" y="2418819"/>
                <a:ext cx="223838" cy="241300"/>
              </a:xfrm>
              <a:custGeom>
                <a:avLst/>
                <a:gdLst>
                  <a:gd name="T0" fmla="*/ 68 w 68"/>
                  <a:gd name="T1" fmla="*/ 36 h 73"/>
                  <a:gd name="T2" fmla="*/ 67 w 68"/>
                  <a:gd name="T3" fmla="*/ 42 h 73"/>
                  <a:gd name="T4" fmla="*/ 35 w 68"/>
                  <a:gd name="T5" fmla="*/ 73 h 73"/>
                  <a:gd name="T6" fmla="*/ 0 w 68"/>
                  <a:gd name="T7" fmla="*/ 37 h 73"/>
                  <a:gd name="T8" fmla="*/ 33 w 68"/>
                  <a:gd name="T9" fmla="*/ 0 h 73"/>
                  <a:gd name="T10" fmla="*/ 33 w 68"/>
                  <a:gd name="T11" fmla="*/ 0 h 73"/>
                  <a:gd name="T12" fmla="*/ 68 w 68"/>
                  <a:gd name="T13" fmla="*/ 36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8" h="73">
                    <a:moveTo>
                      <a:pt x="68" y="36"/>
                    </a:moveTo>
                    <a:cubicBezTo>
                      <a:pt x="68" y="38"/>
                      <a:pt x="68" y="40"/>
                      <a:pt x="67" y="42"/>
                    </a:cubicBezTo>
                    <a:cubicBezTo>
                      <a:pt x="65" y="59"/>
                      <a:pt x="51" y="72"/>
                      <a:pt x="35" y="73"/>
                    </a:cubicBezTo>
                    <a:cubicBezTo>
                      <a:pt x="16" y="73"/>
                      <a:pt x="0" y="57"/>
                      <a:pt x="0" y="37"/>
                    </a:cubicBezTo>
                    <a:cubicBezTo>
                      <a:pt x="0" y="17"/>
                      <a:pt x="14" y="0"/>
                      <a:pt x="33" y="0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52" y="0"/>
                      <a:pt x="67" y="16"/>
                      <a:pt x="68" y="36"/>
                    </a:cubicBezTo>
                  </a:path>
                </a:pathLst>
              </a:custGeom>
              <a:solidFill>
                <a:srgbClr val="FFBEA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47" name="任意多边形: 形状 346">
                <a:extLst>
                  <a:ext uri="{FF2B5EF4-FFF2-40B4-BE49-F238E27FC236}">
                    <a16:creationId xmlns:a16="http://schemas.microsoft.com/office/drawing/2014/main" id="{DF0AE8C1-4837-4155-A06D-1273BCB2E1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1183" y="2479144"/>
                <a:ext cx="112713" cy="120650"/>
              </a:xfrm>
              <a:custGeom>
                <a:avLst/>
                <a:gdLst>
                  <a:gd name="T0" fmla="*/ 34 w 34"/>
                  <a:gd name="T1" fmla="*/ 18 h 37"/>
                  <a:gd name="T2" fmla="*/ 17 w 34"/>
                  <a:gd name="T3" fmla="*/ 36 h 37"/>
                  <a:gd name="T4" fmla="*/ 0 w 34"/>
                  <a:gd name="T5" fmla="*/ 19 h 37"/>
                  <a:gd name="T6" fmla="*/ 17 w 34"/>
                  <a:gd name="T7" fmla="*/ 0 h 37"/>
                  <a:gd name="T8" fmla="*/ 34 w 34"/>
                  <a:gd name="T9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37">
                    <a:moveTo>
                      <a:pt x="34" y="18"/>
                    </a:moveTo>
                    <a:cubicBezTo>
                      <a:pt x="34" y="28"/>
                      <a:pt x="26" y="36"/>
                      <a:pt x="17" y="36"/>
                    </a:cubicBezTo>
                    <a:cubicBezTo>
                      <a:pt x="8" y="37"/>
                      <a:pt x="0" y="29"/>
                      <a:pt x="0" y="19"/>
                    </a:cubicBezTo>
                    <a:cubicBezTo>
                      <a:pt x="0" y="9"/>
                      <a:pt x="7" y="1"/>
                      <a:pt x="17" y="0"/>
                    </a:cubicBezTo>
                    <a:cubicBezTo>
                      <a:pt x="26" y="0"/>
                      <a:pt x="33" y="8"/>
                      <a:pt x="34" y="18"/>
                    </a:cubicBezTo>
                  </a:path>
                </a:pathLst>
              </a:custGeom>
              <a:solidFill>
                <a:srgbClr val="FFA5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48" name="任意多边形: 形状 347">
                <a:extLst>
                  <a:ext uri="{FF2B5EF4-FFF2-40B4-BE49-F238E27FC236}">
                    <a16:creationId xmlns:a16="http://schemas.microsoft.com/office/drawing/2014/main" id="{20D6864D-ABED-4652-B98B-5F0CA4A7E3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8171" y="2537881"/>
                <a:ext cx="138113" cy="122238"/>
              </a:xfrm>
              <a:custGeom>
                <a:avLst/>
                <a:gdLst>
                  <a:gd name="T0" fmla="*/ 26 w 42"/>
                  <a:gd name="T1" fmla="*/ 0 h 37"/>
                  <a:gd name="T2" fmla="*/ 9 w 42"/>
                  <a:gd name="T3" fmla="*/ 18 h 37"/>
                  <a:gd name="T4" fmla="*/ 1 w 42"/>
                  <a:gd name="T5" fmla="*/ 30 h 37"/>
                  <a:gd name="T6" fmla="*/ 0 w 42"/>
                  <a:gd name="T7" fmla="*/ 35 h 37"/>
                  <a:gd name="T8" fmla="*/ 9 w 42"/>
                  <a:gd name="T9" fmla="*/ 37 h 37"/>
                  <a:gd name="T10" fmla="*/ 10 w 42"/>
                  <a:gd name="T11" fmla="*/ 37 h 37"/>
                  <a:gd name="T12" fmla="*/ 42 w 42"/>
                  <a:gd name="T13" fmla="*/ 6 h 37"/>
                  <a:gd name="T14" fmla="*/ 26 w 42"/>
                  <a:gd name="T15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2" h="37">
                    <a:moveTo>
                      <a:pt x="26" y="0"/>
                    </a:moveTo>
                    <a:cubicBezTo>
                      <a:pt x="26" y="10"/>
                      <a:pt x="19" y="18"/>
                      <a:pt x="9" y="18"/>
                    </a:cubicBezTo>
                    <a:cubicBezTo>
                      <a:pt x="7" y="23"/>
                      <a:pt x="4" y="27"/>
                      <a:pt x="1" y="30"/>
                    </a:cubicBezTo>
                    <a:cubicBezTo>
                      <a:pt x="0" y="32"/>
                      <a:pt x="0" y="34"/>
                      <a:pt x="0" y="35"/>
                    </a:cubicBezTo>
                    <a:cubicBezTo>
                      <a:pt x="2" y="36"/>
                      <a:pt x="6" y="37"/>
                      <a:pt x="9" y="37"/>
                    </a:cubicBezTo>
                    <a:cubicBezTo>
                      <a:pt x="9" y="37"/>
                      <a:pt x="9" y="37"/>
                      <a:pt x="10" y="37"/>
                    </a:cubicBezTo>
                    <a:cubicBezTo>
                      <a:pt x="26" y="36"/>
                      <a:pt x="40" y="23"/>
                      <a:pt x="42" y="6"/>
                    </a:cubicBezTo>
                    <a:cubicBezTo>
                      <a:pt x="36" y="5"/>
                      <a:pt x="30" y="3"/>
                      <a:pt x="26" y="0"/>
                    </a:cubicBezTo>
                  </a:path>
                </a:pathLst>
              </a:custGeom>
              <a:solidFill>
                <a:srgbClr val="FFA6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49" name="任意多边形: 形状 348">
                <a:extLst>
                  <a:ext uri="{FF2B5EF4-FFF2-40B4-BE49-F238E27FC236}">
                    <a16:creationId xmlns:a16="http://schemas.microsoft.com/office/drawing/2014/main" id="{1EB3ABE7-B8CD-4662-AED9-6F62174DA3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8333" y="2517244"/>
                <a:ext cx="55563" cy="79375"/>
              </a:xfrm>
              <a:custGeom>
                <a:avLst/>
                <a:gdLst>
                  <a:gd name="T0" fmla="*/ 10 w 17"/>
                  <a:gd name="T1" fmla="*/ 0 h 24"/>
                  <a:gd name="T2" fmla="*/ 0 w 17"/>
                  <a:gd name="T3" fmla="*/ 24 h 24"/>
                  <a:gd name="T4" fmla="*/ 17 w 17"/>
                  <a:gd name="T5" fmla="*/ 6 h 24"/>
                  <a:gd name="T6" fmla="*/ 10 w 17"/>
                  <a:gd name="T7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" h="24">
                    <a:moveTo>
                      <a:pt x="10" y="0"/>
                    </a:moveTo>
                    <a:cubicBezTo>
                      <a:pt x="7" y="10"/>
                      <a:pt x="4" y="18"/>
                      <a:pt x="0" y="24"/>
                    </a:cubicBezTo>
                    <a:cubicBezTo>
                      <a:pt x="10" y="24"/>
                      <a:pt x="17" y="16"/>
                      <a:pt x="17" y="6"/>
                    </a:cubicBezTo>
                    <a:cubicBezTo>
                      <a:pt x="14" y="4"/>
                      <a:pt x="12" y="2"/>
                      <a:pt x="10" y="0"/>
                    </a:cubicBezTo>
                  </a:path>
                </a:pathLst>
              </a:custGeom>
              <a:solidFill>
                <a:srgbClr val="FF88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50" name="任意多边形: 形状 349">
                <a:extLst>
                  <a:ext uri="{FF2B5EF4-FFF2-40B4-BE49-F238E27FC236}">
                    <a16:creationId xmlns:a16="http://schemas.microsoft.com/office/drawing/2014/main" id="{42080DC9-B3A2-45A7-B63A-6BEA3CB727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75783" y="2385481"/>
                <a:ext cx="250825" cy="260350"/>
              </a:xfrm>
              <a:custGeom>
                <a:avLst/>
                <a:gdLst>
                  <a:gd name="T0" fmla="*/ 64 w 76"/>
                  <a:gd name="T1" fmla="*/ 16 h 79"/>
                  <a:gd name="T2" fmla="*/ 59 w 76"/>
                  <a:gd name="T3" fmla="*/ 67 h 79"/>
                  <a:gd name="T4" fmla="*/ 12 w 76"/>
                  <a:gd name="T5" fmla="*/ 62 h 79"/>
                  <a:gd name="T6" fmla="*/ 16 w 76"/>
                  <a:gd name="T7" fmla="*/ 11 h 79"/>
                  <a:gd name="T8" fmla="*/ 17 w 76"/>
                  <a:gd name="T9" fmla="*/ 10 h 79"/>
                  <a:gd name="T10" fmla="*/ 57 w 76"/>
                  <a:gd name="T11" fmla="*/ 9 h 79"/>
                  <a:gd name="T12" fmla="*/ 64 w 76"/>
                  <a:gd name="T13" fmla="*/ 16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6" h="79">
                    <a:moveTo>
                      <a:pt x="64" y="16"/>
                    </a:moveTo>
                    <a:cubicBezTo>
                      <a:pt x="76" y="31"/>
                      <a:pt x="74" y="54"/>
                      <a:pt x="59" y="67"/>
                    </a:cubicBezTo>
                    <a:cubicBezTo>
                      <a:pt x="45" y="79"/>
                      <a:pt x="24" y="77"/>
                      <a:pt x="12" y="62"/>
                    </a:cubicBezTo>
                    <a:cubicBezTo>
                      <a:pt x="0" y="46"/>
                      <a:pt x="2" y="24"/>
                      <a:pt x="16" y="11"/>
                    </a:cubicBezTo>
                    <a:cubicBezTo>
                      <a:pt x="17" y="10"/>
                      <a:pt x="17" y="10"/>
                      <a:pt x="17" y="10"/>
                    </a:cubicBezTo>
                    <a:cubicBezTo>
                      <a:pt x="29" y="0"/>
                      <a:pt x="45" y="0"/>
                      <a:pt x="57" y="9"/>
                    </a:cubicBezTo>
                    <a:cubicBezTo>
                      <a:pt x="60" y="11"/>
                      <a:pt x="62" y="13"/>
                      <a:pt x="64" y="16"/>
                    </a:cubicBezTo>
                  </a:path>
                </a:pathLst>
              </a:custGeom>
              <a:solidFill>
                <a:srgbClr val="FFBEA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51" name="任意多边形: 形状 350">
                <a:extLst>
                  <a:ext uri="{FF2B5EF4-FFF2-40B4-BE49-F238E27FC236}">
                    <a16:creationId xmlns:a16="http://schemas.microsoft.com/office/drawing/2014/main" id="{AC653AF4-F2A9-4FD0-81F6-D6680431F0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34521" y="2442631"/>
                <a:ext cx="131763" cy="141288"/>
              </a:xfrm>
              <a:custGeom>
                <a:avLst/>
                <a:gdLst>
                  <a:gd name="T0" fmla="*/ 34 w 40"/>
                  <a:gd name="T1" fmla="*/ 10 h 43"/>
                  <a:gd name="T2" fmla="*/ 31 w 40"/>
                  <a:gd name="T3" fmla="*/ 36 h 43"/>
                  <a:gd name="T4" fmla="*/ 6 w 40"/>
                  <a:gd name="T5" fmla="*/ 34 h 43"/>
                  <a:gd name="T6" fmla="*/ 8 w 40"/>
                  <a:gd name="T7" fmla="*/ 7 h 43"/>
                  <a:gd name="T8" fmla="*/ 34 w 40"/>
                  <a:gd name="T9" fmla="*/ 1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43">
                    <a:moveTo>
                      <a:pt x="34" y="10"/>
                    </a:moveTo>
                    <a:cubicBezTo>
                      <a:pt x="40" y="18"/>
                      <a:pt x="39" y="30"/>
                      <a:pt x="31" y="36"/>
                    </a:cubicBezTo>
                    <a:cubicBezTo>
                      <a:pt x="24" y="43"/>
                      <a:pt x="12" y="42"/>
                      <a:pt x="6" y="34"/>
                    </a:cubicBezTo>
                    <a:cubicBezTo>
                      <a:pt x="0" y="26"/>
                      <a:pt x="1" y="14"/>
                      <a:pt x="8" y="7"/>
                    </a:cubicBezTo>
                    <a:cubicBezTo>
                      <a:pt x="16" y="0"/>
                      <a:pt x="27" y="2"/>
                      <a:pt x="34" y="10"/>
                    </a:cubicBezTo>
                  </a:path>
                </a:pathLst>
              </a:custGeom>
              <a:solidFill>
                <a:srgbClr val="FFA5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52" name="任意多边形: 形状 351">
                <a:extLst>
                  <a:ext uri="{FF2B5EF4-FFF2-40B4-BE49-F238E27FC236}">
                    <a16:creationId xmlns:a16="http://schemas.microsoft.com/office/drawing/2014/main" id="{11B630B3-DFF7-4712-9F57-D3303373E4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8483" y="2418819"/>
                <a:ext cx="152400" cy="214313"/>
              </a:xfrm>
              <a:custGeom>
                <a:avLst/>
                <a:gdLst>
                  <a:gd name="T0" fmla="*/ 13 w 46"/>
                  <a:gd name="T1" fmla="*/ 0 h 65"/>
                  <a:gd name="T2" fmla="*/ 13 w 46"/>
                  <a:gd name="T3" fmla="*/ 0 h 65"/>
                  <a:gd name="T4" fmla="*/ 12 w 46"/>
                  <a:gd name="T5" fmla="*/ 1 h 65"/>
                  <a:gd name="T6" fmla="*/ 0 w 46"/>
                  <a:gd name="T7" fmla="*/ 29 h 65"/>
                  <a:gd name="T8" fmla="*/ 8 w 46"/>
                  <a:gd name="T9" fmla="*/ 52 h 65"/>
                  <a:gd name="T10" fmla="*/ 34 w 46"/>
                  <a:gd name="T11" fmla="*/ 65 h 65"/>
                  <a:gd name="T12" fmla="*/ 46 w 46"/>
                  <a:gd name="T13" fmla="*/ 63 h 65"/>
                  <a:gd name="T14" fmla="*/ 42 w 46"/>
                  <a:gd name="T15" fmla="*/ 46 h 65"/>
                  <a:gd name="T16" fmla="*/ 34 w 46"/>
                  <a:gd name="T17" fmla="*/ 48 h 65"/>
                  <a:gd name="T18" fmla="*/ 20 w 46"/>
                  <a:gd name="T19" fmla="*/ 41 h 65"/>
                  <a:gd name="T20" fmla="*/ 22 w 46"/>
                  <a:gd name="T21" fmla="*/ 14 h 65"/>
                  <a:gd name="T22" fmla="*/ 34 w 46"/>
                  <a:gd name="T23" fmla="*/ 10 h 65"/>
                  <a:gd name="T24" fmla="*/ 38 w 46"/>
                  <a:gd name="T25" fmla="*/ 10 h 65"/>
                  <a:gd name="T26" fmla="*/ 38 w 46"/>
                  <a:gd name="T27" fmla="*/ 9 h 65"/>
                  <a:gd name="T28" fmla="*/ 37 w 46"/>
                  <a:gd name="T29" fmla="*/ 8 h 65"/>
                  <a:gd name="T30" fmla="*/ 32 w 46"/>
                  <a:gd name="T31" fmla="*/ 8 h 65"/>
                  <a:gd name="T32" fmla="*/ 13 w 46"/>
                  <a:gd name="T33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6" h="65">
                    <a:moveTo>
                      <a:pt x="13" y="0"/>
                    </a:moveTo>
                    <a:cubicBezTo>
                      <a:pt x="13" y="0"/>
                      <a:pt x="13" y="0"/>
                      <a:pt x="13" y="0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4" y="8"/>
                      <a:pt x="0" y="18"/>
                      <a:pt x="0" y="29"/>
                    </a:cubicBezTo>
                    <a:cubicBezTo>
                      <a:pt x="0" y="37"/>
                      <a:pt x="3" y="45"/>
                      <a:pt x="8" y="52"/>
                    </a:cubicBezTo>
                    <a:cubicBezTo>
                      <a:pt x="14" y="60"/>
                      <a:pt x="24" y="65"/>
                      <a:pt x="34" y="65"/>
                    </a:cubicBezTo>
                    <a:cubicBezTo>
                      <a:pt x="38" y="65"/>
                      <a:pt x="42" y="64"/>
                      <a:pt x="46" y="63"/>
                    </a:cubicBezTo>
                    <a:cubicBezTo>
                      <a:pt x="44" y="57"/>
                      <a:pt x="43" y="51"/>
                      <a:pt x="42" y="46"/>
                    </a:cubicBezTo>
                    <a:cubicBezTo>
                      <a:pt x="39" y="47"/>
                      <a:pt x="37" y="48"/>
                      <a:pt x="34" y="48"/>
                    </a:cubicBezTo>
                    <a:cubicBezTo>
                      <a:pt x="29" y="48"/>
                      <a:pt x="24" y="45"/>
                      <a:pt x="20" y="41"/>
                    </a:cubicBezTo>
                    <a:cubicBezTo>
                      <a:pt x="14" y="33"/>
                      <a:pt x="15" y="21"/>
                      <a:pt x="22" y="14"/>
                    </a:cubicBezTo>
                    <a:cubicBezTo>
                      <a:pt x="26" y="11"/>
                      <a:pt x="30" y="10"/>
                      <a:pt x="34" y="10"/>
                    </a:cubicBezTo>
                    <a:cubicBezTo>
                      <a:pt x="35" y="10"/>
                      <a:pt x="36" y="10"/>
                      <a:pt x="38" y="10"/>
                    </a:cubicBezTo>
                    <a:cubicBezTo>
                      <a:pt x="38" y="10"/>
                      <a:pt x="38" y="9"/>
                      <a:pt x="38" y="9"/>
                    </a:cubicBezTo>
                    <a:cubicBezTo>
                      <a:pt x="37" y="8"/>
                      <a:pt x="37" y="8"/>
                      <a:pt x="37" y="8"/>
                    </a:cubicBezTo>
                    <a:cubicBezTo>
                      <a:pt x="35" y="8"/>
                      <a:pt x="33" y="8"/>
                      <a:pt x="32" y="8"/>
                    </a:cubicBezTo>
                    <a:cubicBezTo>
                      <a:pt x="23" y="8"/>
                      <a:pt x="17" y="4"/>
                      <a:pt x="13" y="0"/>
                    </a:cubicBezTo>
                  </a:path>
                </a:pathLst>
              </a:custGeom>
              <a:solidFill>
                <a:srgbClr val="FFA6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53" name="任意多边形: 形状 352">
                <a:extLst>
                  <a:ext uri="{FF2B5EF4-FFF2-40B4-BE49-F238E27FC236}">
                    <a16:creationId xmlns:a16="http://schemas.microsoft.com/office/drawing/2014/main" id="{89409E01-AEA1-4064-980D-24825BA91B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34521" y="2452156"/>
                <a:ext cx="92075" cy="125413"/>
              </a:xfrm>
              <a:custGeom>
                <a:avLst/>
                <a:gdLst>
                  <a:gd name="T0" fmla="*/ 20 w 28"/>
                  <a:gd name="T1" fmla="*/ 0 h 38"/>
                  <a:gd name="T2" fmla="*/ 8 w 28"/>
                  <a:gd name="T3" fmla="*/ 4 h 38"/>
                  <a:gd name="T4" fmla="*/ 6 w 28"/>
                  <a:gd name="T5" fmla="*/ 31 h 38"/>
                  <a:gd name="T6" fmla="*/ 20 w 28"/>
                  <a:gd name="T7" fmla="*/ 38 h 38"/>
                  <a:gd name="T8" fmla="*/ 28 w 28"/>
                  <a:gd name="T9" fmla="*/ 36 h 38"/>
                  <a:gd name="T10" fmla="*/ 24 w 28"/>
                  <a:gd name="T11" fmla="*/ 0 h 38"/>
                  <a:gd name="T12" fmla="*/ 20 w 28"/>
                  <a:gd name="T13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" h="38">
                    <a:moveTo>
                      <a:pt x="20" y="0"/>
                    </a:moveTo>
                    <a:cubicBezTo>
                      <a:pt x="16" y="0"/>
                      <a:pt x="12" y="1"/>
                      <a:pt x="8" y="4"/>
                    </a:cubicBezTo>
                    <a:cubicBezTo>
                      <a:pt x="1" y="11"/>
                      <a:pt x="0" y="23"/>
                      <a:pt x="6" y="31"/>
                    </a:cubicBezTo>
                    <a:cubicBezTo>
                      <a:pt x="10" y="35"/>
                      <a:pt x="15" y="38"/>
                      <a:pt x="20" y="38"/>
                    </a:cubicBezTo>
                    <a:cubicBezTo>
                      <a:pt x="23" y="38"/>
                      <a:pt x="25" y="37"/>
                      <a:pt x="28" y="36"/>
                    </a:cubicBezTo>
                    <a:cubicBezTo>
                      <a:pt x="26" y="24"/>
                      <a:pt x="24" y="12"/>
                      <a:pt x="24" y="0"/>
                    </a:cubicBezTo>
                    <a:cubicBezTo>
                      <a:pt x="22" y="0"/>
                      <a:pt x="21" y="0"/>
                      <a:pt x="20" y="0"/>
                    </a:cubicBezTo>
                  </a:path>
                </a:pathLst>
              </a:custGeom>
              <a:solidFill>
                <a:srgbClr val="FF88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54" name="任意多边形: 形状 353">
                <a:extLst>
                  <a:ext uri="{FF2B5EF4-FFF2-40B4-BE49-F238E27FC236}">
                    <a16:creationId xmlns:a16="http://schemas.microsoft.com/office/drawing/2014/main" id="{28EBD404-A8E4-4B1C-86B2-77EEB7AF3B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10721" y="1582206"/>
                <a:ext cx="1223963" cy="1595438"/>
              </a:xfrm>
              <a:custGeom>
                <a:avLst/>
                <a:gdLst>
                  <a:gd name="T0" fmla="*/ 0 w 371"/>
                  <a:gd name="T1" fmla="*/ 240 h 484"/>
                  <a:gd name="T2" fmla="*/ 0 w 371"/>
                  <a:gd name="T3" fmla="*/ 257 h 484"/>
                  <a:gd name="T4" fmla="*/ 1 w 371"/>
                  <a:gd name="T5" fmla="*/ 263 h 484"/>
                  <a:gd name="T6" fmla="*/ 14 w 371"/>
                  <a:gd name="T7" fmla="*/ 335 h 484"/>
                  <a:gd name="T8" fmla="*/ 111 w 371"/>
                  <a:gd name="T9" fmla="*/ 464 h 484"/>
                  <a:gd name="T10" fmla="*/ 183 w 371"/>
                  <a:gd name="T11" fmla="*/ 484 h 484"/>
                  <a:gd name="T12" fmla="*/ 223 w 371"/>
                  <a:gd name="T13" fmla="*/ 479 h 484"/>
                  <a:gd name="T14" fmla="*/ 301 w 371"/>
                  <a:gd name="T15" fmla="*/ 430 h 484"/>
                  <a:gd name="T16" fmla="*/ 362 w 371"/>
                  <a:gd name="T17" fmla="*/ 318 h 484"/>
                  <a:gd name="T18" fmla="*/ 370 w 371"/>
                  <a:gd name="T19" fmla="*/ 269 h 484"/>
                  <a:gd name="T20" fmla="*/ 371 w 371"/>
                  <a:gd name="T21" fmla="*/ 244 h 484"/>
                  <a:gd name="T22" fmla="*/ 371 w 371"/>
                  <a:gd name="T23" fmla="*/ 237 h 484"/>
                  <a:gd name="T24" fmla="*/ 371 w 371"/>
                  <a:gd name="T25" fmla="*/ 234 h 484"/>
                  <a:gd name="T26" fmla="*/ 371 w 371"/>
                  <a:gd name="T27" fmla="*/ 230 h 484"/>
                  <a:gd name="T28" fmla="*/ 370 w 371"/>
                  <a:gd name="T29" fmla="*/ 211 h 484"/>
                  <a:gd name="T30" fmla="*/ 348 w 371"/>
                  <a:gd name="T31" fmla="*/ 123 h 484"/>
                  <a:gd name="T32" fmla="*/ 274 w 371"/>
                  <a:gd name="T33" fmla="*/ 28 h 484"/>
                  <a:gd name="T34" fmla="*/ 188 w 371"/>
                  <a:gd name="T35" fmla="*/ 0 h 484"/>
                  <a:gd name="T36" fmla="*/ 146 w 371"/>
                  <a:gd name="T37" fmla="*/ 6 h 484"/>
                  <a:gd name="T38" fmla="*/ 8 w 371"/>
                  <a:gd name="T39" fmla="*/ 171 h 484"/>
                  <a:gd name="T40" fmla="*/ 0 w 371"/>
                  <a:gd name="T41" fmla="*/ 240 h 4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71" h="484">
                    <a:moveTo>
                      <a:pt x="0" y="240"/>
                    </a:moveTo>
                    <a:cubicBezTo>
                      <a:pt x="0" y="246"/>
                      <a:pt x="0" y="251"/>
                      <a:pt x="0" y="257"/>
                    </a:cubicBezTo>
                    <a:cubicBezTo>
                      <a:pt x="0" y="259"/>
                      <a:pt x="0" y="261"/>
                      <a:pt x="1" y="263"/>
                    </a:cubicBezTo>
                    <a:cubicBezTo>
                      <a:pt x="2" y="288"/>
                      <a:pt x="7" y="312"/>
                      <a:pt x="14" y="335"/>
                    </a:cubicBezTo>
                    <a:cubicBezTo>
                      <a:pt x="32" y="393"/>
                      <a:pt x="67" y="439"/>
                      <a:pt x="111" y="464"/>
                    </a:cubicBezTo>
                    <a:cubicBezTo>
                      <a:pt x="133" y="477"/>
                      <a:pt x="157" y="484"/>
                      <a:pt x="183" y="484"/>
                    </a:cubicBezTo>
                    <a:cubicBezTo>
                      <a:pt x="197" y="484"/>
                      <a:pt x="210" y="482"/>
                      <a:pt x="223" y="479"/>
                    </a:cubicBezTo>
                    <a:cubicBezTo>
                      <a:pt x="252" y="471"/>
                      <a:pt x="279" y="454"/>
                      <a:pt x="301" y="430"/>
                    </a:cubicBezTo>
                    <a:cubicBezTo>
                      <a:pt x="329" y="401"/>
                      <a:pt x="350" y="363"/>
                      <a:pt x="362" y="318"/>
                    </a:cubicBezTo>
                    <a:cubicBezTo>
                      <a:pt x="366" y="302"/>
                      <a:pt x="368" y="286"/>
                      <a:pt x="370" y="269"/>
                    </a:cubicBezTo>
                    <a:cubicBezTo>
                      <a:pt x="371" y="261"/>
                      <a:pt x="371" y="252"/>
                      <a:pt x="371" y="244"/>
                    </a:cubicBezTo>
                    <a:cubicBezTo>
                      <a:pt x="371" y="242"/>
                      <a:pt x="371" y="240"/>
                      <a:pt x="371" y="237"/>
                    </a:cubicBezTo>
                    <a:cubicBezTo>
                      <a:pt x="371" y="236"/>
                      <a:pt x="371" y="235"/>
                      <a:pt x="371" y="234"/>
                    </a:cubicBezTo>
                    <a:cubicBezTo>
                      <a:pt x="371" y="232"/>
                      <a:pt x="371" y="231"/>
                      <a:pt x="371" y="230"/>
                    </a:cubicBezTo>
                    <a:cubicBezTo>
                      <a:pt x="371" y="223"/>
                      <a:pt x="370" y="217"/>
                      <a:pt x="370" y="211"/>
                    </a:cubicBezTo>
                    <a:cubicBezTo>
                      <a:pt x="367" y="180"/>
                      <a:pt x="359" y="150"/>
                      <a:pt x="348" y="123"/>
                    </a:cubicBezTo>
                    <a:cubicBezTo>
                      <a:pt x="331" y="83"/>
                      <a:pt x="305" y="50"/>
                      <a:pt x="274" y="28"/>
                    </a:cubicBezTo>
                    <a:cubicBezTo>
                      <a:pt x="248" y="10"/>
                      <a:pt x="219" y="0"/>
                      <a:pt x="188" y="0"/>
                    </a:cubicBezTo>
                    <a:cubicBezTo>
                      <a:pt x="174" y="0"/>
                      <a:pt x="160" y="2"/>
                      <a:pt x="146" y="6"/>
                    </a:cubicBezTo>
                    <a:cubicBezTo>
                      <a:pt x="81" y="24"/>
                      <a:pt x="28" y="88"/>
                      <a:pt x="8" y="171"/>
                    </a:cubicBezTo>
                    <a:cubicBezTo>
                      <a:pt x="3" y="193"/>
                      <a:pt x="0" y="216"/>
                      <a:pt x="0" y="240"/>
                    </a:cubicBezTo>
                  </a:path>
                </a:pathLst>
              </a:custGeom>
              <a:solidFill>
                <a:srgbClr val="FFBEA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55" name="任意多边形: 形状 354">
                <a:extLst>
                  <a:ext uri="{FF2B5EF4-FFF2-40B4-BE49-F238E27FC236}">
                    <a16:creationId xmlns:a16="http://schemas.microsoft.com/office/drawing/2014/main" id="{EDC78076-5E2F-4913-80A2-5920D89460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6758" y="2553756"/>
                <a:ext cx="501650" cy="557213"/>
              </a:xfrm>
              <a:custGeom>
                <a:avLst/>
                <a:gdLst>
                  <a:gd name="T0" fmla="*/ 97 w 152"/>
                  <a:gd name="T1" fmla="*/ 169 h 169"/>
                  <a:gd name="T2" fmla="*/ 0 w 152"/>
                  <a:gd name="T3" fmla="*/ 40 h 169"/>
                  <a:gd name="T4" fmla="*/ 71 w 152"/>
                  <a:gd name="T5" fmla="*/ 0 h 169"/>
                  <a:gd name="T6" fmla="*/ 151 w 152"/>
                  <a:gd name="T7" fmla="*/ 88 h 169"/>
                  <a:gd name="T8" fmla="*/ 97 w 152"/>
                  <a:gd name="T9" fmla="*/ 169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2" h="169">
                    <a:moveTo>
                      <a:pt x="97" y="169"/>
                    </a:moveTo>
                    <a:cubicBezTo>
                      <a:pt x="53" y="144"/>
                      <a:pt x="18" y="98"/>
                      <a:pt x="0" y="40"/>
                    </a:cubicBezTo>
                    <a:cubicBezTo>
                      <a:pt x="17" y="19"/>
                      <a:pt x="46" y="0"/>
                      <a:pt x="71" y="0"/>
                    </a:cubicBezTo>
                    <a:cubicBezTo>
                      <a:pt x="116" y="0"/>
                      <a:pt x="152" y="40"/>
                      <a:pt x="151" y="88"/>
                    </a:cubicBezTo>
                    <a:cubicBezTo>
                      <a:pt x="151" y="126"/>
                      <a:pt x="128" y="157"/>
                      <a:pt x="97" y="169"/>
                    </a:cubicBezTo>
                    <a:close/>
                  </a:path>
                </a:pathLst>
              </a:custGeom>
              <a:solidFill>
                <a:srgbClr val="FFA5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56" name="任意多边形: 形状 355">
                <a:extLst>
                  <a:ext uri="{FF2B5EF4-FFF2-40B4-BE49-F238E27FC236}">
                    <a16:creationId xmlns:a16="http://schemas.microsoft.com/office/drawing/2014/main" id="{C9AC719A-34DF-4CE8-AC17-6E2F844807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67983" y="2626781"/>
                <a:ext cx="236538" cy="373063"/>
              </a:xfrm>
              <a:custGeom>
                <a:avLst/>
                <a:gdLst>
                  <a:gd name="T0" fmla="*/ 72 w 72"/>
                  <a:gd name="T1" fmla="*/ 1 h 113"/>
                  <a:gd name="T2" fmla="*/ 11 w 72"/>
                  <a:gd name="T3" fmla="*/ 113 h 113"/>
                  <a:gd name="T4" fmla="*/ 0 w 72"/>
                  <a:gd name="T5" fmla="*/ 72 h 113"/>
                  <a:gd name="T6" fmla="*/ 68 w 72"/>
                  <a:gd name="T7" fmla="*/ 1 h 113"/>
                  <a:gd name="T8" fmla="*/ 72 w 72"/>
                  <a:gd name="T9" fmla="*/ 1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" h="113">
                    <a:moveTo>
                      <a:pt x="72" y="1"/>
                    </a:moveTo>
                    <a:cubicBezTo>
                      <a:pt x="60" y="46"/>
                      <a:pt x="39" y="84"/>
                      <a:pt x="11" y="113"/>
                    </a:cubicBezTo>
                    <a:cubicBezTo>
                      <a:pt x="4" y="102"/>
                      <a:pt x="0" y="88"/>
                      <a:pt x="0" y="72"/>
                    </a:cubicBezTo>
                    <a:cubicBezTo>
                      <a:pt x="0" y="32"/>
                      <a:pt x="31" y="0"/>
                      <a:pt x="68" y="1"/>
                    </a:cubicBezTo>
                    <a:cubicBezTo>
                      <a:pt x="69" y="1"/>
                      <a:pt x="70" y="1"/>
                      <a:pt x="72" y="1"/>
                    </a:cubicBezTo>
                    <a:close/>
                  </a:path>
                </a:pathLst>
              </a:custGeom>
              <a:solidFill>
                <a:srgbClr val="FFA5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57" name="任意多边形: 形状 356">
                <a:extLst>
                  <a:ext uri="{FF2B5EF4-FFF2-40B4-BE49-F238E27FC236}">
                    <a16:creationId xmlns:a16="http://schemas.microsoft.com/office/drawing/2014/main" id="{DF1B1EE7-2675-4BB5-882D-B66A8C8445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9421" y="1404406"/>
                <a:ext cx="1804988" cy="1271588"/>
              </a:xfrm>
              <a:custGeom>
                <a:avLst/>
                <a:gdLst>
                  <a:gd name="T0" fmla="*/ 450 w 547"/>
                  <a:gd name="T1" fmla="*/ 237 h 386"/>
                  <a:gd name="T2" fmla="*/ 419 w 547"/>
                  <a:gd name="T3" fmla="*/ 386 h 386"/>
                  <a:gd name="T4" fmla="*/ 433 w 547"/>
                  <a:gd name="T5" fmla="*/ 337 h 386"/>
                  <a:gd name="T6" fmla="*/ 413 w 547"/>
                  <a:gd name="T7" fmla="*/ 239 h 386"/>
                  <a:gd name="T8" fmla="*/ 402 w 547"/>
                  <a:gd name="T9" fmla="*/ 239 h 386"/>
                  <a:gd name="T10" fmla="*/ 264 w 547"/>
                  <a:gd name="T11" fmla="*/ 226 h 386"/>
                  <a:gd name="T12" fmla="*/ 264 w 547"/>
                  <a:gd name="T13" fmla="*/ 226 h 386"/>
                  <a:gd name="T14" fmla="*/ 264 w 547"/>
                  <a:gd name="T15" fmla="*/ 226 h 386"/>
                  <a:gd name="T16" fmla="*/ 171 w 547"/>
                  <a:gd name="T17" fmla="*/ 205 h 386"/>
                  <a:gd name="T18" fmla="*/ 122 w 547"/>
                  <a:gd name="T19" fmla="*/ 234 h 386"/>
                  <a:gd name="T20" fmla="*/ 122 w 547"/>
                  <a:gd name="T21" fmla="*/ 234 h 386"/>
                  <a:gd name="T22" fmla="*/ 122 w 547"/>
                  <a:gd name="T23" fmla="*/ 234 h 386"/>
                  <a:gd name="T24" fmla="*/ 122 w 547"/>
                  <a:gd name="T25" fmla="*/ 234 h 386"/>
                  <a:gd name="T26" fmla="*/ 122 w 547"/>
                  <a:gd name="T27" fmla="*/ 380 h 386"/>
                  <a:gd name="T28" fmla="*/ 73 w 547"/>
                  <a:gd name="T29" fmla="*/ 311 h 386"/>
                  <a:gd name="T30" fmla="*/ 264 w 547"/>
                  <a:gd name="T31" fmla="*/ 12 h 386"/>
                  <a:gd name="T32" fmla="*/ 413 w 547"/>
                  <a:gd name="T33" fmla="*/ 67 h 386"/>
                  <a:gd name="T34" fmla="*/ 465 w 547"/>
                  <a:gd name="T35" fmla="*/ 99 h 386"/>
                  <a:gd name="T36" fmla="*/ 541 w 547"/>
                  <a:gd name="T37" fmla="*/ 154 h 386"/>
                  <a:gd name="T38" fmla="*/ 481 w 547"/>
                  <a:gd name="T39" fmla="*/ 187 h 386"/>
                  <a:gd name="T40" fmla="*/ 547 w 547"/>
                  <a:gd name="T41" fmla="*/ 215 h 386"/>
                  <a:gd name="T42" fmla="*/ 450 w 547"/>
                  <a:gd name="T43" fmla="*/ 237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47" h="386">
                    <a:moveTo>
                      <a:pt x="450" y="237"/>
                    </a:moveTo>
                    <a:cubicBezTo>
                      <a:pt x="475" y="366"/>
                      <a:pt x="419" y="386"/>
                      <a:pt x="419" y="386"/>
                    </a:cubicBezTo>
                    <a:cubicBezTo>
                      <a:pt x="419" y="386"/>
                      <a:pt x="425" y="372"/>
                      <a:pt x="433" y="337"/>
                    </a:cubicBezTo>
                    <a:cubicBezTo>
                      <a:pt x="440" y="302"/>
                      <a:pt x="413" y="239"/>
                      <a:pt x="413" y="239"/>
                    </a:cubicBezTo>
                    <a:cubicBezTo>
                      <a:pt x="409" y="239"/>
                      <a:pt x="406" y="239"/>
                      <a:pt x="402" y="239"/>
                    </a:cubicBezTo>
                    <a:cubicBezTo>
                      <a:pt x="354" y="239"/>
                      <a:pt x="306" y="234"/>
                      <a:pt x="264" y="226"/>
                    </a:cubicBezTo>
                    <a:cubicBezTo>
                      <a:pt x="264" y="226"/>
                      <a:pt x="264" y="226"/>
                      <a:pt x="264" y="226"/>
                    </a:cubicBezTo>
                    <a:cubicBezTo>
                      <a:pt x="264" y="226"/>
                      <a:pt x="264" y="226"/>
                      <a:pt x="264" y="226"/>
                    </a:cubicBezTo>
                    <a:cubicBezTo>
                      <a:pt x="227" y="220"/>
                      <a:pt x="195" y="212"/>
                      <a:pt x="171" y="205"/>
                    </a:cubicBezTo>
                    <a:cubicBezTo>
                      <a:pt x="156" y="250"/>
                      <a:pt x="122" y="234"/>
                      <a:pt x="122" y="234"/>
                    </a:cubicBezTo>
                    <a:cubicBezTo>
                      <a:pt x="122" y="234"/>
                      <a:pt x="122" y="234"/>
                      <a:pt x="122" y="234"/>
                    </a:cubicBezTo>
                    <a:cubicBezTo>
                      <a:pt x="122" y="234"/>
                      <a:pt x="122" y="234"/>
                      <a:pt x="122" y="234"/>
                    </a:cubicBezTo>
                    <a:cubicBezTo>
                      <a:pt x="122" y="234"/>
                      <a:pt x="122" y="234"/>
                      <a:pt x="122" y="234"/>
                    </a:cubicBezTo>
                    <a:cubicBezTo>
                      <a:pt x="122" y="380"/>
                      <a:pt x="122" y="380"/>
                      <a:pt x="122" y="380"/>
                    </a:cubicBezTo>
                    <a:cubicBezTo>
                      <a:pt x="122" y="380"/>
                      <a:pt x="78" y="369"/>
                      <a:pt x="73" y="311"/>
                    </a:cubicBezTo>
                    <a:cubicBezTo>
                      <a:pt x="0" y="82"/>
                      <a:pt x="175" y="0"/>
                      <a:pt x="264" y="12"/>
                    </a:cubicBezTo>
                    <a:cubicBezTo>
                      <a:pt x="314" y="18"/>
                      <a:pt x="367" y="42"/>
                      <a:pt x="413" y="67"/>
                    </a:cubicBezTo>
                    <a:cubicBezTo>
                      <a:pt x="432" y="78"/>
                      <a:pt x="449" y="89"/>
                      <a:pt x="465" y="99"/>
                    </a:cubicBezTo>
                    <a:cubicBezTo>
                      <a:pt x="510" y="129"/>
                      <a:pt x="541" y="154"/>
                      <a:pt x="541" y="154"/>
                    </a:cubicBezTo>
                    <a:cubicBezTo>
                      <a:pt x="536" y="181"/>
                      <a:pt x="481" y="187"/>
                      <a:pt x="481" y="187"/>
                    </a:cubicBezTo>
                    <a:cubicBezTo>
                      <a:pt x="492" y="202"/>
                      <a:pt x="547" y="215"/>
                      <a:pt x="547" y="215"/>
                    </a:cubicBezTo>
                    <a:cubicBezTo>
                      <a:pt x="517" y="227"/>
                      <a:pt x="484" y="234"/>
                      <a:pt x="450" y="237"/>
                    </a:cubicBezTo>
                  </a:path>
                </a:pathLst>
              </a:custGeom>
              <a:solidFill>
                <a:srgbClr val="E62F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58" name="任意多边形: 形状 357">
                <a:extLst>
                  <a:ext uri="{FF2B5EF4-FFF2-40B4-BE49-F238E27FC236}">
                    <a16:creationId xmlns:a16="http://schemas.microsoft.com/office/drawing/2014/main" id="{B58C9BE3-79B1-4167-9F27-191DC24B9B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61508" y="2133069"/>
                <a:ext cx="236538" cy="255588"/>
              </a:xfrm>
              <a:custGeom>
                <a:avLst/>
                <a:gdLst>
                  <a:gd name="T0" fmla="*/ 64 w 72"/>
                  <a:gd name="T1" fmla="*/ 13 h 78"/>
                  <a:gd name="T2" fmla="*/ 64 w 72"/>
                  <a:gd name="T3" fmla="*/ 13 h 78"/>
                  <a:gd name="T4" fmla="*/ 64 w 72"/>
                  <a:gd name="T5" fmla="*/ 13 h 78"/>
                  <a:gd name="T6" fmla="*/ 72 w 72"/>
                  <a:gd name="T7" fmla="*/ 15 h 78"/>
                  <a:gd name="T8" fmla="*/ 69 w 72"/>
                  <a:gd name="T9" fmla="*/ 0 h 78"/>
                  <a:gd name="T10" fmla="*/ 0 w 72"/>
                  <a:gd name="T11" fmla="*/ 24 h 78"/>
                  <a:gd name="T12" fmla="*/ 12 w 72"/>
                  <a:gd name="T13" fmla="*/ 78 h 78"/>
                  <a:gd name="T14" fmla="*/ 64 w 72"/>
                  <a:gd name="T15" fmla="*/ 61 h 78"/>
                  <a:gd name="T16" fmla="*/ 64 w 72"/>
                  <a:gd name="T17" fmla="*/ 13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2" h="78">
                    <a:moveTo>
                      <a:pt x="64" y="13"/>
                    </a:moveTo>
                    <a:cubicBezTo>
                      <a:pt x="64" y="13"/>
                      <a:pt x="64" y="13"/>
                      <a:pt x="64" y="13"/>
                    </a:cubicBezTo>
                    <a:cubicBezTo>
                      <a:pt x="64" y="13"/>
                      <a:pt x="64" y="13"/>
                      <a:pt x="64" y="13"/>
                    </a:cubicBezTo>
                    <a:cubicBezTo>
                      <a:pt x="64" y="13"/>
                      <a:pt x="67" y="14"/>
                      <a:pt x="72" y="15"/>
                    </a:cubicBezTo>
                    <a:cubicBezTo>
                      <a:pt x="71" y="6"/>
                      <a:pt x="69" y="0"/>
                      <a:pt x="69" y="0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2" y="41"/>
                      <a:pt x="6" y="59"/>
                      <a:pt x="12" y="78"/>
                    </a:cubicBezTo>
                    <a:cubicBezTo>
                      <a:pt x="38" y="73"/>
                      <a:pt x="64" y="61"/>
                      <a:pt x="64" y="61"/>
                    </a:cubicBezTo>
                    <a:cubicBezTo>
                      <a:pt x="64" y="13"/>
                      <a:pt x="64" y="13"/>
                      <a:pt x="64" y="13"/>
                    </a:cubicBezTo>
                    <a:close/>
                  </a:path>
                </a:pathLst>
              </a:custGeom>
              <a:solidFill>
                <a:srgbClr val="CF27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59" name="任意多边形: 形状 358">
                <a:extLst>
                  <a:ext uri="{FF2B5EF4-FFF2-40B4-BE49-F238E27FC236}">
                    <a16:creationId xmlns:a16="http://schemas.microsoft.com/office/drawing/2014/main" id="{0C19D802-B0E2-4238-8D70-5009ECE90C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0958" y="1625069"/>
                <a:ext cx="663575" cy="523875"/>
              </a:xfrm>
              <a:custGeom>
                <a:avLst/>
                <a:gdLst>
                  <a:gd name="T0" fmla="*/ 201 w 201"/>
                  <a:gd name="T1" fmla="*/ 32 h 159"/>
                  <a:gd name="T2" fmla="*/ 0 w 201"/>
                  <a:gd name="T3" fmla="*/ 159 h 159"/>
                  <a:gd name="T4" fmla="*/ 0 w 201"/>
                  <a:gd name="T5" fmla="*/ 159 h 159"/>
                  <a:gd name="T6" fmla="*/ 0 w 201"/>
                  <a:gd name="T7" fmla="*/ 159 h 159"/>
                  <a:gd name="T8" fmla="*/ 0 w 201"/>
                  <a:gd name="T9" fmla="*/ 159 h 159"/>
                  <a:gd name="T10" fmla="*/ 149 w 201"/>
                  <a:gd name="T11" fmla="*/ 0 h 159"/>
                  <a:gd name="T12" fmla="*/ 201 w 201"/>
                  <a:gd name="T13" fmla="*/ 32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1" h="159">
                    <a:moveTo>
                      <a:pt x="201" y="32"/>
                    </a:moveTo>
                    <a:cubicBezTo>
                      <a:pt x="153" y="131"/>
                      <a:pt x="5" y="158"/>
                      <a:pt x="0" y="159"/>
                    </a:cubicBezTo>
                    <a:cubicBezTo>
                      <a:pt x="0" y="159"/>
                      <a:pt x="0" y="159"/>
                      <a:pt x="0" y="159"/>
                    </a:cubicBezTo>
                    <a:cubicBezTo>
                      <a:pt x="0" y="159"/>
                      <a:pt x="0" y="159"/>
                      <a:pt x="0" y="159"/>
                    </a:cubicBezTo>
                    <a:cubicBezTo>
                      <a:pt x="0" y="159"/>
                      <a:pt x="0" y="159"/>
                      <a:pt x="0" y="159"/>
                    </a:cubicBezTo>
                    <a:cubicBezTo>
                      <a:pt x="149" y="0"/>
                      <a:pt x="149" y="0"/>
                      <a:pt x="149" y="0"/>
                    </a:cubicBezTo>
                    <a:cubicBezTo>
                      <a:pt x="168" y="11"/>
                      <a:pt x="185" y="22"/>
                      <a:pt x="201" y="32"/>
                    </a:cubicBezTo>
                    <a:close/>
                  </a:path>
                </a:pathLst>
              </a:custGeom>
              <a:solidFill>
                <a:srgbClr val="CF27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60" name="任意多边形: 形状 359">
                <a:extLst>
                  <a:ext uri="{FF2B5EF4-FFF2-40B4-BE49-F238E27FC236}">
                    <a16:creationId xmlns:a16="http://schemas.microsoft.com/office/drawing/2014/main" id="{5BDEB6D0-1AE4-4CA8-8DB9-EC76AFDBA9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1146" y="2428344"/>
                <a:ext cx="188913" cy="119063"/>
              </a:xfrm>
              <a:custGeom>
                <a:avLst/>
                <a:gdLst>
                  <a:gd name="T0" fmla="*/ 28 w 57"/>
                  <a:gd name="T1" fmla="*/ 36 h 36"/>
                  <a:gd name="T2" fmla="*/ 0 w 57"/>
                  <a:gd name="T3" fmla="*/ 6 h 36"/>
                  <a:gd name="T4" fmla="*/ 5 w 57"/>
                  <a:gd name="T5" fmla="*/ 0 h 36"/>
                  <a:gd name="T6" fmla="*/ 11 w 57"/>
                  <a:gd name="T7" fmla="*/ 6 h 36"/>
                  <a:gd name="T8" fmla="*/ 28 w 57"/>
                  <a:gd name="T9" fmla="*/ 24 h 36"/>
                  <a:gd name="T10" fmla="*/ 46 w 57"/>
                  <a:gd name="T11" fmla="*/ 6 h 36"/>
                  <a:gd name="T12" fmla="*/ 51 w 57"/>
                  <a:gd name="T13" fmla="*/ 0 h 36"/>
                  <a:gd name="T14" fmla="*/ 56 w 57"/>
                  <a:gd name="T15" fmla="*/ 6 h 36"/>
                  <a:gd name="T16" fmla="*/ 28 w 57"/>
                  <a:gd name="T17" fmla="*/ 3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7" h="36">
                    <a:moveTo>
                      <a:pt x="28" y="36"/>
                    </a:moveTo>
                    <a:cubicBezTo>
                      <a:pt x="12" y="36"/>
                      <a:pt x="0" y="22"/>
                      <a:pt x="0" y="6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8" y="0"/>
                      <a:pt x="11" y="3"/>
                      <a:pt x="11" y="6"/>
                    </a:cubicBezTo>
                    <a:cubicBezTo>
                      <a:pt x="11" y="16"/>
                      <a:pt x="18" y="24"/>
                      <a:pt x="28" y="24"/>
                    </a:cubicBezTo>
                    <a:cubicBezTo>
                      <a:pt x="38" y="25"/>
                      <a:pt x="45" y="16"/>
                      <a:pt x="46" y="6"/>
                    </a:cubicBezTo>
                    <a:cubicBezTo>
                      <a:pt x="46" y="3"/>
                      <a:pt x="48" y="0"/>
                      <a:pt x="51" y="0"/>
                    </a:cubicBezTo>
                    <a:cubicBezTo>
                      <a:pt x="54" y="0"/>
                      <a:pt x="57" y="3"/>
                      <a:pt x="56" y="6"/>
                    </a:cubicBezTo>
                    <a:cubicBezTo>
                      <a:pt x="56" y="23"/>
                      <a:pt x="43" y="36"/>
                      <a:pt x="28" y="36"/>
                    </a:cubicBezTo>
                    <a:close/>
                  </a:path>
                </a:pathLst>
              </a:custGeom>
              <a:solidFill>
                <a:srgbClr val="8740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61" name="任意多边形: 形状 360">
                <a:extLst>
                  <a:ext uri="{FF2B5EF4-FFF2-40B4-BE49-F238E27FC236}">
                    <a16:creationId xmlns:a16="http://schemas.microsoft.com/office/drawing/2014/main" id="{559A68C3-D0FB-4E6B-A8A9-48EEDBAFA2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45696" y="2421994"/>
                <a:ext cx="195263" cy="122238"/>
              </a:xfrm>
              <a:custGeom>
                <a:avLst/>
                <a:gdLst>
                  <a:gd name="T0" fmla="*/ 29 w 59"/>
                  <a:gd name="T1" fmla="*/ 36 h 37"/>
                  <a:gd name="T2" fmla="*/ 59 w 59"/>
                  <a:gd name="T3" fmla="*/ 7 h 37"/>
                  <a:gd name="T4" fmla="*/ 54 w 59"/>
                  <a:gd name="T5" fmla="*/ 1 h 37"/>
                  <a:gd name="T6" fmla="*/ 48 w 59"/>
                  <a:gd name="T7" fmla="*/ 7 h 37"/>
                  <a:gd name="T8" fmla="*/ 29 w 59"/>
                  <a:gd name="T9" fmla="*/ 25 h 37"/>
                  <a:gd name="T10" fmla="*/ 11 w 59"/>
                  <a:gd name="T11" fmla="*/ 6 h 37"/>
                  <a:gd name="T12" fmla="*/ 6 w 59"/>
                  <a:gd name="T13" fmla="*/ 0 h 37"/>
                  <a:gd name="T14" fmla="*/ 0 w 59"/>
                  <a:gd name="T15" fmla="*/ 6 h 37"/>
                  <a:gd name="T16" fmla="*/ 29 w 59"/>
                  <a:gd name="T17" fmla="*/ 3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9" h="37">
                    <a:moveTo>
                      <a:pt x="29" y="36"/>
                    </a:moveTo>
                    <a:cubicBezTo>
                      <a:pt x="46" y="37"/>
                      <a:pt x="59" y="23"/>
                      <a:pt x="59" y="7"/>
                    </a:cubicBezTo>
                    <a:cubicBezTo>
                      <a:pt x="59" y="4"/>
                      <a:pt x="57" y="1"/>
                      <a:pt x="54" y="1"/>
                    </a:cubicBezTo>
                    <a:cubicBezTo>
                      <a:pt x="51" y="1"/>
                      <a:pt x="48" y="3"/>
                      <a:pt x="48" y="7"/>
                    </a:cubicBezTo>
                    <a:cubicBezTo>
                      <a:pt x="48" y="17"/>
                      <a:pt x="39" y="25"/>
                      <a:pt x="29" y="25"/>
                    </a:cubicBezTo>
                    <a:cubicBezTo>
                      <a:pt x="19" y="25"/>
                      <a:pt x="11" y="16"/>
                      <a:pt x="11" y="6"/>
                    </a:cubicBezTo>
                    <a:cubicBezTo>
                      <a:pt x="11" y="3"/>
                      <a:pt x="9" y="0"/>
                      <a:pt x="6" y="0"/>
                    </a:cubicBezTo>
                    <a:cubicBezTo>
                      <a:pt x="2" y="0"/>
                      <a:pt x="0" y="3"/>
                      <a:pt x="0" y="6"/>
                    </a:cubicBezTo>
                    <a:cubicBezTo>
                      <a:pt x="0" y="23"/>
                      <a:pt x="13" y="36"/>
                      <a:pt x="29" y="36"/>
                    </a:cubicBezTo>
                    <a:close/>
                  </a:path>
                </a:pathLst>
              </a:custGeom>
              <a:solidFill>
                <a:srgbClr val="8740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62" name="任意多边形: 形状 361">
                <a:extLst>
                  <a:ext uri="{FF2B5EF4-FFF2-40B4-BE49-F238E27FC236}">
                    <a16:creationId xmlns:a16="http://schemas.microsoft.com/office/drawing/2014/main" id="{8143D9E0-71B8-4A0B-BCBE-C80DBB554F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6483" y="2228319"/>
                <a:ext cx="257175" cy="184150"/>
              </a:xfrm>
              <a:custGeom>
                <a:avLst/>
                <a:gdLst>
                  <a:gd name="T0" fmla="*/ 78 w 78"/>
                  <a:gd name="T1" fmla="*/ 18 h 56"/>
                  <a:gd name="T2" fmla="*/ 11 w 78"/>
                  <a:gd name="T3" fmla="*/ 52 h 56"/>
                  <a:gd name="T4" fmla="*/ 5 w 78"/>
                  <a:gd name="T5" fmla="*/ 37 h 56"/>
                  <a:gd name="T6" fmla="*/ 70 w 78"/>
                  <a:gd name="T7" fmla="*/ 2 h 56"/>
                  <a:gd name="T8" fmla="*/ 78 w 78"/>
                  <a:gd name="T9" fmla="*/ 18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8" h="56">
                    <a:moveTo>
                      <a:pt x="78" y="18"/>
                    </a:moveTo>
                    <a:cubicBezTo>
                      <a:pt x="78" y="18"/>
                      <a:pt x="16" y="56"/>
                      <a:pt x="11" y="52"/>
                    </a:cubicBezTo>
                    <a:cubicBezTo>
                      <a:pt x="5" y="47"/>
                      <a:pt x="0" y="41"/>
                      <a:pt x="5" y="37"/>
                    </a:cubicBezTo>
                    <a:cubicBezTo>
                      <a:pt x="11" y="32"/>
                      <a:pt x="65" y="0"/>
                      <a:pt x="70" y="2"/>
                    </a:cubicBezTo>
                    <a:cubicBezTo>
                      <a:pt x="74" y="3"/>
                      <a:pt x="77" y="8"/>
                      <a:pt x="78" y="18"/>
                    </a:cubicBezTo>
                    <a:close/>
                  </a:path>
                </a:pathLst>
              </a:custGeom>
              <a:solidFill>
                <a:srgbClr val="E62F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63" name="任意多边形: 形状 362">
                <a:extLst>
                  <a:ext uri="{FF2B5EF4-FFF2-40B4-BE49-F238E27FC236}">
                    <a16:creationId xmlns:a16="http://schemas.microsoft.com/office/drawing/2014/main" id="{F2645054-2FAA-4628-9728-7632E8F309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1146" y="2241019"/>
                <a:ext cx="231775" cy="180975"/>
              </a:xfrm>
              <a:custGeom>
                <a:avLst/>
                <a:gdLst>
                  <a:gd name="T0" fmla="*/ 0 w 70"/>
                  <a:gd name="T1" fmla="*/ 13 h 55"/>
                  <a:gd name="T2" fmla="*/ 60 w 70"/>
                  <a:gd name="T3" fmla="*/ 51 h 55"/>
                  <a:gd name="T4" fmla="*/ 66 w 70"/>
                  <a:gd name="T5" fmla="*/ 36 h 55"/>
                  <a:gd name="T6" fmla="*/ 8 w 70"/>
                  <a:gd name="T7" fmla="*/ 1 h 55"/>
                  <a:gd name="T8" fmla="*/ 0 w 70"/>
                  <a:gd name="T9" fmla="*/ 13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" h="55">
                    <a:moveTo>
                      <a:pt x="0" y="13"/>
                    </a:moveTo>
                    <a:cubicBezTo>
                      <a:pt x="0" y="13"/>
                      <a:pt x="55" y="55"/>
                      <a:pt x="60" y="51"/>
                    </a:cubicBezTo>
                    <a:cubicBezTo>
                      <a:pt x="65" y="46"/>
                      <a:pt x="70" y="41"/>
                      <a:pt x="66" y="36"/>
                    </a:cubicBezTo>
                    <a:cubicBezTo>
                      <a:pt x="61" y="32"/>
                      <a:pt x="12" y="0"/>
                      <a:pt x="8" y="1"/>
                    </a:cubicBezTo>
                    <a:cubicBezTo>
                      <a:pt x="4" y="2"/>
                      <a:pt x="1" y="3"/>
                      <a:pt x="0" y="13"/>
                    </a:cubicBezTo>
                    <a:close/>
                  </a:path>
                </a:pathLst>
              </a:custGeom>
              <a:solidFill>
                <a:srgbClr val="E62F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64" name="直接连接符 363">
                <a:extLst>
                  <a:ext uri="{FF2B5EF4-FFF2-40B4-BE49-F238E27FC236}">
                    <a16:creationId xmlns:a16="http://schemas.microsoft.com/office/drawing/2014/main" id="{F2EE5CA2-C1DD-49EA-9385-9BC4004FD96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107658" y="2317219"/>
                <a:ext cx="396875" cy="438150"/>
              </a:xfrm>
              <a:prstGeom prst="line">
                <a:avLst/>
              </a:prstGeom>
              <a:noFill/>
              <a:ln w="39688" cap="rnd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65" name="直接连接符 364">
                <a:extLst>
                  <a:ext uri="{FF2B5EF4-FFF2-40B4-BE49-F238E27FC236}">
                    <a16:creationId xmlns:a16="http://schemas.microsoft.com/office/drawing/2014/main" id="{49323249-5ED9-46D5-BD22-F7AA5251CD0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058446" y="2412469"/>
                <a:ext cx="360363" cy="395288"/>
              </a:xfrm>
              <a:prstGeom prst="line">
                <a:avLst/>
              </a:prstGeom>
              <a:noFill/>
              <a:ln w="12700" cap="rnd">
                <a:solidFill>
                  <a:srgbClr val="FF7373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66" name="任意多边形: 形状 365">
                <a:extLst>
                  <a:ext uri="{FF2B5EF4-FFF2-40B4-BE49-F238E27FC236}">
                    <a16:creationId xmlns:a16="http://schemas.microsoft.com/office/drawing/2014/main" id="{90207C14-1A37-4799-8230-788BA04054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7471" y="2431519"/>
                <a:ext cx="153988" cy="247650"/>
              </a:xfrm>
              <a:custGeom>
                <a:avLst/>
                <a:gdLst>
                  <a:gd name="T0" fmla="*/ 6 w 47"/>
                  <a:gd name="T1" fmla="*/ 70 h 75"/>
                  <a:gd name="T2" fmla="*/ 45 w 47"/>
                  <a:gd name="T3" fmla="*/ 70 h 75"/>
                  <a:gd name="T4" fmla="*/ 47 w 47"/>
                  <a:gd name="T5" fmla="*/ 59 h 75"/>
                  <a:gd name="T6" fmla="*/ 25 w 47"/>
                  <a:gd name="T7" fmla="*/ 0 h 75"/>
                  <a:gd name="T8" fmla="*/ 23 w 47"/>
                  <a:gd name="T9" fmla="*/ 1 h 75"/>
                  <a:gd name="T10" fmla="*/ 6 w 47"/>
                  <a:gd name="T11" fmla="*/ 7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7" h="75">
                    <a:moveTo>
                      <a:pt x="6" y="70"/>
                    </a:moveTo>
                    <a:cubicBezTo>
                      <a:pt x="12" y="75"/>
                      <a:pt x="38" y="75"/>
                      <a:pt x="45" y="70"/>
                    </a:cubicBezTo>
                    <a:cubicBezTo>
                      <a:pt x="46" y="69"/>
                      <a:pt x="47" y="65"/>
                      <a:pt x="47" y="59"/>
                    </a:cubicBezTo>
                    <a:cubicBezTo>
                      <a:pt x="46" y="39"/>
                      <a:pt x="36" y="0"/>
                      <a:pt x="25" y="0"/>
                    </a:cubicBezTo>
                    <a:cubicBezTo>
                      <a:pt x="25" y="0"/>
                      <a:pt x="24" y="0"/>
                      <a:pt x="23" y="1"/>
                    </a:cubicBezTo>
                    <a:cubicBezTo>
                      <a:pt x="11" y="7"/>
                      <a:pt x="0" y="65"/>
                      <a:pt x="6" y="70"/>
                    </a:cubicBezTo>
                  </a:path>
                </a:pathLst>
              </a:custGeom>
              <a:solidFill>
                <a:srgbClr val="FF73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67" name="任意多边形: 形状 366">
                <a:extLst>
                  <a:ext uri="{FF2B5EF4-FFF2-40B4-BE49-F238E27FC236}">
                    <a16:creationId xmlns:a16="http://schemas.microsoft.com/office/drawing/2014/main" id="{266BD388-B750-4124-91D7-154C2FDC35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0171" y="2436281"/>
                <a:ext cx="141288" cy="239713"/>
              </a:xfrm>
              <a:custGeom>
                <a:avLst/>
                <a:gdLst>
                  <a:gd name="T0" fmla="*/ 19 w 43"/>
                  <a:gd name="T1" fmla="*/ 0 h 73"/>
                  <a:gd name="T2" fmla="*/ 0 w 43"/>
                  <a:gd name="T3" fmla="*/ 61 h 73"/>
                  <a:gd name="T4" fmla="*/ 2 w 43"/>
                  <a:gd name="T5" fmla="*/ 69 h 73"/>
                  <a:gd name="T6" fmla="*/ 23 w 43"/>
                  <a:gd name="T7" fmla="*/ 73 h 73"/>
                  <a:gd name="T8" fmla="*/ 41 w 43"/>
                  <a:gd name="T9" fmla="*/ 69 h 73"/>
                  <a:gd name="T10" fmla="*/ 43 w 43"/>
                  <a:gd name="T11" fmla="*/ 60 h 73"/>
                  <a:gd name="T12" fmla="*/ 43 w 43"/>
                  <a:gd name="T13" fmla="*/ 58 h 73"/>
                  <a:gd name="T14" fmla="*/ 43 w 43"/>
                  <a:gd name="T15" fmla="*/ 58 h 73"/>
                  <a:gd name="T16" fmla="*/ 19 w 43"/>
                  <a:gd name="T17" fmla="*/ 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3" h="73">
                    <a:moveTo>
                      <a:pt x="19" y="0"/>
                    </a:moveTo>
                    <a:cubicBezTo>
                      <a:pt x="9" y="5"/>
                      <a:pt x="0" y="44"/>
                      <a:pt x="0" y="61"/>
                    </a:cubicBezTo>
                    <a:cubicBezTo>
                      <a:pt x="0" y="65"/>
                      <a:pt x="1" y="68"/>
                      <a:pt x="2" y="69"/>
                    </a:cubicBezTo>
                    <a:cubicBezTo>
                      <a:pt x="5" y="71"/>
                      <a:pt x="14" y="73"/>
                      <a:pt x="23" y="73"/>
                    </a:cubicBezTo>
                    <a:cubicBezTo>
                      <a:pt x="30" y="73"/>
                      <a:pt x="37" y="72"/>
                      <a:pt x="41" y="69"/>
                    </a:cubicBezTo>
                    <a:cubicBezTo>
                      <a:pt x="42" y="68"/>
                      <a:pt x="43" y="65"/>
                      <a:pt x="43" y="60"/>
                    </a:cubicBezTo>
                    <a:cubicBezTo>
                      <a:pt x="43" y="59"/>
                      <a:pt x="43" y="59"/>
                      <a:pt x="43" y="58"/>
                    </a:cubicBezTo>
                    <a:cubicBezTo>
                      <a:pt x="43" y="58"/>
                      <a:pt x="43" y="58"/>
                      <a:pt x="43" y="58"/>
                    </a:cubicBezTo>
                    <a:cubicBezTo>
                      <a:pt x="15" y="50"/>
                      <a:pt x="16" y="18"/>
                      <a:pt x="19" y="0"/>
                    </a:cubicBezTo>
                  </a:path>
                </a:pathLst>
              </a:custGeom>
              <a:solidFill>
                <a:srgbClr val="FF5D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68" name="任意多边形: 形状 367">
                <a:extLst>
                  <a:ext uri="{FF2B5EF4-FFF2-40B4-BE49-F238E27FC236}">
                    <a16:creationId xmlns:a16="http://schemas.microsoft.com/office/drawing/2014/main" id="{7C1F3BF9-8368-4F1D-8106-C4AA9A6D16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7308" y="2764894"/>
                <a:ext cx="244475" cy="76200"/>
              </a:xfrm>
              <a:custGeom>
                <a:avLst/>
                <a:gdLst>
                  <a:gd name="T0" fmla="*/ 0 w 74"/>
                  <a:gd name="T1" fmla="*/ 23 h 23"/>
                  <a:gd name="T2" fmla="*/ 74 w 74"/>
                  <a:gd name="T3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74" h="23">
                    <a:moveTo>
                      <a:pt x="0" y="23"/>
                    </a:moveTo>
                    <a:cubicBezTo>
                      <a:pt x="0" y="23"/>
                      <a:pt x="51" y="0"/>
                      <a:pt x="74" y="23"/>
                    </a:cubicBezTo>
                  </a:path>
                </a:pathLst>
              </a:custGeom>
              <a:noFill/>
              <a:ln w="26988" cap="rnd">
                <a:solidFill>
                  <a:srgbClr val="87404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69" name="任意多边形: 形状 368">
                <a:extLst>
                  <a:ext uri="{FF2B5EF4-FFF2-40B4-BE49-F238E27FC236}">
                    <a16:creationId xmlns:a16="http://schemas.microsoft.com/office/drawing/2014/main" id="{17AE5FEA-74D5-44CB-8061-3723D92F71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5308" y="1269469"/>
                <a:ext cx="1208088" cy="889000"/>
              </a:xfrm>
              <a:custGeom>
                <a:avLst/>
                <a:gdLst>
                  <a:gd name="T0" fmla="*/ 256 w 366"/>
                  <a:gd name="T1" fmla="*/ 186 h 270"/>
                  <a:gd name="T2" fmla="*/ 163 w 366"/>
                  <a:gd name="T3" fmla="*/ 235 h 270"/>
                  <a:gd name="T4" fmla="*/ 1 w 366"/>
                  <a:gd name="T5" fmla="*/ 262 h 270"/>
                  <a:gd name="T6" fmla="*/ 2 w 366"/>
                  <a:gd name="T7" fmla="*/ 219 h 270"/>
                  <a:gd name="T8" fmla="*/ 99 w 366"/>
                  <a:gd name="T9" fmla="*/ 52 h 270"/>
                  <a:gd name="T10" fmla="*/ 354 w 366"/>
                  <a:gd name="T11" fmla="*/ 79 h 270"/>
                  <a:gd name="T12" fmla="*/ 256 w 366"/>
                  <a:gd name="T13" fmla="*/ 186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66" h="270">
                    <a:moveTo>
                      <a:pt x="256" y="186"/>
                    </a:moveTo>
                    <a:cubicBezTo>
                      <a:pt x="226" y="205"/>
                      <a:pt x="193" y="223"/>
                      <a:pt x="163" y="235"/>
                    </a:cubicBezTo>
                    <a:cubicBezTo>
                      <a:pt x="75" y="270"/>
                      <a:pt x="1" y="262"/>
                      <a:pt x="1" y="262"/>
                    </a:cubicBezTo>
                    <a:cubicBezTo>
                      <a:pt x="1" y="262"/>
                      <a:pt x="0" y="244"/>
                      <a:pt x="2" y="219"/>
                    </a:cubicBezTo>
                    <a:cubicBezTo>
                      <a:pt x="6" y="168"/>
                      <a:pt x="24" y="86"/>
                      <a:pt x="99" y="52"/>
                    </a:cubicBezTo>
                    <a:cubicBezTo>
                      <a:pt x="210" y="0"/>
                      <a:pt x="335" y="47"/>
                      <a:pt x="354" y="79"/>
                    </a:cubicBezTo>
                    <a:cubicBezTo>
                      <a:pt x="366" y="101"/>
                      <a:pt x="317" y="147"/>
                      <a:pt x="256" y="186"/>
                    </a:cubicBezTo>
                    <a:close/>
                  </a:path>
                </a:pathLst>
              </a:custGeom>
              <a:solidFill>
                <a:srgbClr val="186F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70" name="任意多边形: 形状 369">
                <a:extLst>
                  <a:ext uri="{FF2B5EF4-FFF2-40B4-BE49-F238E27FC236}">
                    <a16:creationId xmlns:a16="http://schemas.microsoft.com/office/drawing/2014/main" id="{4A8E5E08-11FB-483D-BB66-2305E780C6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5308" y="1848906"/>
                <a:ext cx="844550" cy="309563"/>
              </a:xfrm>
              <a:custGeom>
                <a:avLst/>
                <a:gdLst>
                  <a:gd name="T0" fmla="*/ 256 w 256"/>
                  <a:gd name="T1" fmla="*/ 10 h 94"/>
                  <a:gd name="T2" fmla="*/ 163 w 256"/>
                  <a:gd name="T3" fmla="*/ 59 h 94"/>
                  <a:gd name="T4" fmla="*/ 1 w 256"/>
                  <a:gd name="T5" fmla="*/ 86 h 94"/>
                  <a:gd name="T6" fmla="*/ 2 w 256"/>
                  <a:gd name="T7" fmla="*/ 43 h 94"/>
                  <a:gd name="T8" fmla="*/ 203 w 256"/>
                  <a:gd name="T9" fmla="*/ 12 h 94"/>
                  <a:gd name="T10" fmla="*/ 256 w 256"/>
                  <a:gd name="T11" fmla="*/ 1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6" h="94">
                    <a:moveTo>
                      <a:pt x="256" y="10"/>
                    </a:moveTo>
                    <a:cubicBezTo>
                      <a:pt x="226" y="29"/>
                      <a:pt x="193" y="47"/>
                      <a:pt x="163" y="59"/>
                    </a:cubicBezTo>
                    <a:cubicBezTo>
                      <a:pt x="75" y="94"/>
                      <a:pt x="1" y="86"/>
                      <a:pt x="1" y="86"/>
                    </a:cubicBezTo>
                    <a:cubicBezTo>
                      <a:pt x="1" y="86"/>
                      <a:pt x="0" y="68"/>
                      <a:pt x="2" y="43"/>
                    </a:cubicBezTo>
                    <a:cubicBezTo>
                      <a:pt x="19" y="44"/>
                      <a:pt x="95" y="47"/>
                      <a:pt x="203" y="12"/>
                    </a:cubicBezTo>
                    <a:cubicBezTo>
                      <a:pt x="239" y="0"/>
                      <a:pt x="254" y="2"/>
                      <a:pt x="256" y="10"/>
                    </a:cubicBezTo>
                    <a:close/>
                  </a:path>
                </a:pathLst>
              </a:custGeom>
              <a:solidFill>
                <a:srgbClr val="1562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71" name="任意多边形: 形状 370">
                <a:extLst>
                  <a:ext uri="{FF2B5EF4-FFF2-40B4-BE49-F238E27FC236}">
                    <a16:creationId xmlns:a16="http://schemas.microsoft.com/office/drawing/2014/main" id="{20F1785E-1F2E-41B2-85D3-DABB0568F8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1971" y="1529819"/>
                <a:ext cx="1385888" cy="820738"/>
              </a:xfrm>
              <a:custGeom>
                <a:avLst/>
                <a:gdLst>
                  <a:gd name="T0" fmla="*/ 25 w 420"/>
                  <a:gd name="T1" fmla="*/ 242 h 249"/>
                  <a:gd name="T2" fmla="*/ 420 w 420"/>
                  <a:gd name="T3" fmla="*/ 43 h 249"/>
                  <a:gd name="T4" fmla="*/ 364 w 420"/>
                  <a:gd name="T5" fmla="*/ 0 h 249"/>
                  <a:gd name="T6" fmla="*/ 195 w 420"/>
                  <a:gd name="T7" fmla="*/ 121 h 249"/>
                  <a:gd name="T8" fmla="*/ 11 w 420"/>
                  <a:gd name="T9" fmla="*/ 183 h 249"/>
                  <a:gd name="T10" fmla="*/ 25 w 420"/>
                  <a:gd name="T11" fmla="*/ 242 h 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20" h="249">
                    <a:moveTo>
                      <a:pt x="25" y="242"/>
                    </a:moveTo>
                    <a:cubicBezTo>
                      <a:pt x="246" y="249"/>
                      <a:pt x="420" y="43"/>
                      <a:pt x="420" y="43"/>
                    </a:cubicBezTo>
                    <a:cubicBezTo>
                      <a:pt x="413" y="11"/>
                      <a:pt x="364" y="0"/>
                      <a:pt x="364" y="0"/>
                    </a:cubicBezTo>
                    <a:cubicBezTo>
                      <a:pt x="323" y="43"/>
                      <a:pt x="261" y="90"/>
                      <a:pt x="195" y="121"/>
                    </a:cubicBezTo>
                    <a:cubicBezTo>
                      <a:pt x="104" y="164"/>
                      <a:pt x="11" y="183"/>
                      <a:pt x="11" y="183"/>
                    </a:cubicBezTo>
                    <a:cubicBezTo>
                      <a:pt x="11" y="183"/>
                      <a:pt x="0" y="226"/>
                      <a:pt x="25" y="242"/>
                    </a:cubicBezTo>
                    <a:close/>
                  </a:path>
                </a:pathLst>
              </a:custGeom>
              <a:solidFill>
                <a:srgbClr val="5699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72" name="任意多边形: 形状 371">
                <a:extLst>
                  <a:ext uri="{FF2B5EF4-FFF2-40B4-BE49-F238E27FC236}">
                    <a16:creationId xmlns:a16="http://schemas.microsoft.com/office/drawing/2014/main" id="{ADC2AF67-57B3-4C31-AB91-BC414A5898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1858" y="2029881"/>
                <a:ext cx="115888" cy="247650"/>
              </a:xfrm>
              <a:custGeom>
                <a:avLst/>
                <a:gdLst>
                  <a:gd name="T0" fmla="*/ 21 w 35"/>
                  <a:gd name="T1" fmla="*/ 45 h 75"/>
                  <a:gd name="T2" fmla="*/ 8 w 35"/>
                  <a:gd name="T3" fmla="*/ 0 h 75"/>
                  <a:gd name="T4" fmla="*/ 0 w 35"/>
                  <a:gd name="T5" fmla="*/ 2 h 75"/>
                  <a:gd name="T6" fmla="*/ 13 w 35"/>
                  <a:gd name="T7" fmla="*/ 47 h 75"/>
                  <a:gd name="T8" fmla="*/ 26 w 35"/>
                  <a:gd name="T9" fmla="*/ 75 h 75"/>
                  <a:gd name="T10" fmla="*/ 35 w 35"/>
                  <a:gd name="T11" fmla="*/ 73 h 75"/>
                  <a:gd name="T12" fmla="*/ 21 w 35"/>
                  <a:gd name="T13" fmla="*/ 45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" h="75">
                    <a:moveTo>
                      <a:pt x="21" y="45"/>
                    </a:moveTo>
                    <a:cubicBezTo>
                      <a:pt x="16" y="31"/>
                      <a:pt x="9" y="15"/>
                      <a:pt x="8" y="0"/>
                    </a:cubicBezTo>
                    <a:cubicBezTo>
                      <a:pt x="5" y="1"/>
                      <a:pt x="2" y="2"/>
                      <a:pt x="0" y="2"/>
                    </a:cubicBezTo>
                    <a:cubicBezTo>
                      <a:pt x="2" y="18"/>
                      <a:pt x="7" y="33"/>
                      <a:pt x="13" y="47"/>
                    </a:cubicBezTo>
                    <a:cubicBezTo>
                      <a:pt x="16" y="57"/>
                      <a:pt x="21" y="67"/>
                      <a:pt x="26" y="75"/>
                    </a:cubicBezTo>
                    <a:cubicBezTo>
                      <a:pt x="29" y="75"/>
                      <a:pt x="32" y="74"/>
                      <a:pt x="35" y="73"/>
                    </a:cubicBezTo>
                    <a:cubicBezTo>
                      <a:pt x="29" y="64"/>
                      <a:pt x="24" y="55"/>
                      <a:pt x="21" y="45"/>
                    </a:cubicBezTo>
                    <a:close/>
                  </a:path>
                </a:pathLst>
              </a:custGeom>
              <a:solidFill>
                <a:srgbClr val="85B9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73" name="任意多边形: 形状 372">
                <a:extLst>
                  <a:ext uri="{FF2B5EF4-FFF2-40B4-BE49-F238E27FC236}">
                    <a16:creationId xmlns:a16="http://schemas.microsoft.com/office/drawing/2014/main" id="{57423DE6-AC5E-4807-B758-A4CE869B8C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83733" y="2102906"/>
                <a:ext cx="93663" cy="220663"/>
              </a:xfrm>
              <a:custGeom>
                <a:avLst/>
                <a:gdLst>
                  <a:gd name="T0" fmla="*/ 9 w 28"/>
                  <a:gd name="T1" fmla="*/ 0 h 67"/>
                  <a:gd name="T2" fmla="*/ 0 w 28"/>
                  <a:gd name="T3" fmla="*/ 2 h 67"/>
                  <a:gd name="T4" fmla="*/ 19 w 28"/>
                  <a:gd name="T5" fmla="*/ 67 h 67"/>
                  <a:gd name="T6" fmla="*/ 28 w 28"/>
                  <a:gd name="T7" fmla="*/ 66 h 67"/>
                  <a:gd name="T8" fmla="*/ 9 w 28"/>
                  <a:gd name="T9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67">
                    <a:moveTo>
                      <a:pt x="9" y="0"/>
                    </a:moveTo>
                    <a:cubicBezTo>
                      <a:pt x="6" y="0"/>
                      <a:pt x="3" y="1"/>
                      <a:pt x="0" y="2"/>
                    </a:cubicBezTo>
                    <a:cubicBezTo>
                      <a:pt x="3" y="25"/>
                      <a:pt x="9" y="46"/>
                      <a:pt x="19" y="67"/>
                    </a:cubicBezTo>
                    <a:cubicBezTo>
                      <a:pt x="22" y="67"/>
                      <a:pt x="25" y="67"/>
                      <a:pt x="28" y="66"/>
                    </a:cubicBezTo>
                    <a:cubicBezTo>
                      <a:pt x="17" y="45"/>
                      <a:pt x="11" y="23"/>
                      <a:pt x="9" y="0"/>
                    </a:cubicBezTo>
                    <a:close/>
                  </a:path>
                </a:pathLst>
              </a:custGeom>
              <a:solidFill>
                <a:srgbClr val="85B9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74" name="任意多边形: 形状 373">
                <a:extLst>
                  <a:ext uri="{FF2B5EF4-FFF2-40B4-BE49-F238E27FC236}">
                    <a16:creationId xmlns:a16="http://schemas.microsoft.com/office/drawing/2014/main" id="{AD919317-5F0B-4E09-B119-D99ED7C738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0608" y="1967969"/>
                <a:ext cx="153988" cy="239713"/>
              </a:xfrm>
              <a:custGeom>
                <a:avLst/>
                <a:gdLst>
                  <a:gd name="T0" fmla="*/ 31 w 47"/>
                  <a:gd name="T1" fmla="*/ 42 h 73"/>
                  <a:gd name="T2" fmla="*/ 8 w 47"/>
                  <a:gd name="T3" fmla="*/ 0 h 73"/>
                  <a:gd name="T4" fmla="*/ 0 w 47"/>
                  <a:gd name="T5" fmla="*/ 3 h 73"/>
                  <a:gd name="T6" fmla="*/ 16 w 47"/>
                  <a:gd name="T7" fmla="*/ 33 h 73"/>
                  <a:gd name="T8" fmla="*/ 39 w 47"/>
                  <a:gd name="T9" fmla="*/ 73 h 73"/>
                  <a:gd name="T10" fmla="*/ 47 w 47"/>
                  <a:gd name="T11" fmla="*/ 69 h 73"/>
                  <a:gd name="T12" fmla="*/ 31 w 47"/>
                  <a:gd name="T13" fmla="*/ 42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73">
                    <a:moveTo>
                      <a:pt x="31" y="42"/>
                    </a:moveTo>
                    <a:cubicBezTo>
                      <a:pt x="24" y="30"/>
                      <a:pt x="13" y="15"/>
                      <a:pt x="8" y="0"/>
                    </a:cubicBezTo>
                    <a:cubicBezTo>
                      <a:pt x="5" y="1"/>
                      <a:pt x="3" y="2"/>
                      <a:pt x="0" y="3"/>
                    </a:cubicBezTo>
                    <a:cubicBezTo>
                      <a:pt x="4" y="13"/>
                      <a:pt x="11" y="23"/>
                      <a:pt x="16" y="33"/>
                    </a:cubicBezTo>
                    <a:cubicBezTo>
                      <a:pt x="24" y="46"/>
                      <a:pt x="32" y="59"/>
                      <a:pt x="39" y="73"/>
                    </a:cubicBezTo>
                    <a:cubicBezTo>
                      <a:pt x="42" y="72"/>
                      <a:pt x="45" y="70"/>
                      <a:pt x="47" y="69"/>
                    </a:cubicBezTo>
                    <a:cubicBezTo>
                      <a:pt x="42" y="60"/>
                      <a:pt x="37" y="51"/>
                      <a:pt x="31" y="42"/>
                    </a:cubicBezTo>
                    <a:close/>
                  </a:path>
                </a:pathLst>
              </a:custGeom>
              <a:solidFill>
                <a:srgbClr val="85B9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75" name="任意多边形: 形状 374">
                <a:extLst>
                  <a:ext uri="{FF2B5EF4-FFF2-40B4-BE49-F238E27FC236}">
                    <a16:creationId xmlns:a16="http://schemas.microsoft.com/office/drawing/2014/main" id="{A8ADC1C5-A2F3-490A-B22A-AEDD60530E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5421" y="1744131"/>
                <a:ext cx="146050" cy="227013"/>
              </a:xfrm>
              <a:custGeom>
                <a:avLst/>
                <a:gdLst>
                  <a:gd name="T0" fmla="*/ 6 w 44"/>
                  <a:gd name="T1" fmla="*/ 0 h 69"/>
                  <a:gd name="T2" fmla="*/ 0 w 44"/>
                  <a:gd name="T3" fmla="*/ 5 h 69"/>
                  <a:gd name="T4" fmla="*/ 36 w 44"/>
                  <a:gd name="T5" fmla="*/ 66 h 69"/>
                  <a:gd name="T6" fmla="*/ 36 w 44"/>
                  <a:gd name="T7" fmla="*/ 67 h 69"/>
                  <a:gd name="T8" fmla="*/ 37 w 44"/>
                  <a:gd name="T9" fmla="*/ 69 h 69"/>
                  <a:gd name="T10" fmla="*/ 44 w 44"/>
                  <a:gd name="T11" fmla="*/ 64 h 69"/>
                  <a:gd name="T12" fmla="*/ 6 w 44"/>
                  <a:gd name="T13" fmla="*/ 0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4" h="69">
                    <a:moveTo>
                      <a:pt x="6" y="0"/>
                    </a:moveTo>
                    <a:cubicBezTo>
                      <a:pt x="4" y="2"/>
                      <a:pt x="2" y="3"/>
                      <a:pt x="0" y="5"/>
                    </a:cubicBezTo>
                    <a:cubicBezTo>
                      <a:pt x="36" y="66"/>
                      <a:pt x="36" y="66"/>
                      <a:pt x="36" y="66"/>
                    </a:cubicBezTo>
                    <a:cubicBezTo>
                      <a:pt x="36" y="66"/>
                      <a:pt x="36" y="67"/>
                      <a:pt x="36" y="67"/>
                    </a:cubicBezTo>
                    <a:cubicBezTo>
                      <a:pt x="37" y="68"/>
                      <a:pt x="37" y="69"/>
                      <a:pt x="37" y="69"/>
                    </a:cubicBezTo>
                    <a:cubicBezTo>
                      <a:pt x="40" y="67"/>
                      <a:pt x="42" y="66"/>
                      <a:pt x="44" y="64"/>
                    </a:cubicBez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85B9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76" name="任意多边形: 形状 375">
                <a:extLst>
                  <a:ext uri="{FF2B5EF4-FFF2-40B4-BE49-F238E27FC236}">
                    <a16:creationId xmlns:a16="http://schemas.microsoft.com/office/drawing/2014/main" id="{4AFBFA48-BD78-4093-8186-57B1FB9F19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4008" y="1640944"/>
                <a:ext cx="125413" cy="244475"/>
              </a:xfrm>
              <a:custGeom>
                <a:avLst/>
                <a:gdLst>
                  <a:gd name="T0" fmla="*/ 7 w 38"/>
                  <a:gd name="T1" fmla="*/ 0 h 74"/>
                  <a:gd name="T2" fmla="*/ 0 w 38"/>
                  <a:gd name="T3" fmla="*/ 5 h 74"/>
                  <a:gd name="T4" fmla="*/ 31 w 38"/>
                  <a:gd name="T5" fmla="*/ 74 h 74"/>
                  <a:gd name="T6" fmla="*/ 38 w 38"/>
                  <a:gd name="T7" fmla="*/ 68 h 74"/>
                  <a:gd name="T8" fmla="*/ 7 w 38"/>
                  <a:gd name="T9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74">
                    <a:moveTo>
                      <a:pt x="7" y="0"/>
                    </a:moveTo>
                    <a:cubicBezTo>
                      <a:pt x="5" y="1"/>
                      <a:pt x="3" y="3"/>
                      <a:pt x="0" y="5"/>
                    </a:cubicBezTo>
                    <a:cubicBezTo>
                      <a:pt x="15" y="26"/>
                      <a:pt x="27" y="49"/>
                      <a:pt x="31" y="74"/>
                    </a:cubicBezTo>
                    <a:cubicBezTo>
                      <a:pt x="33" y="72"/>
                      <a:pt x="36" y="70"/>
                      <a:pt x="38" y="68"/>
                    </a:cubicBezTo>
                    <a:cubicBezTo>
                      <a:pt x="33" y="43"/>
                      <a:pt x="21" y="21"/>
                      <a:pt x="7" y="0"/>
                    </a:cubicBezTo>
                    <a:close/>
                  </a:path>
                </a:pathLst>
              </a:custGeom>
              <a:solidFill>
                <a:srgbClr val="85B9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77" name="任意多边形: 形状 376">
                <a:extLst>
                  <a:ext uri="{FF2B5EF4-FFF2-40B4-BE49-F238E27FC236}">
                    <a16:creationId xmlns:a16="http://schemas.microsoft.com/office/drawing/2014/main" id="{8DDB9156-C93A-481B-87BC-C7B9AB3508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4496" y="1561569"/>
                <a:ext cx="190500" cy="179388"/>
              </a:xfrm>
              <a:custGeom>
                <a:avLst/>
                <a:gdLst>
                  <a:gd name="T0" fmla="*/ 6 w 58"/>
                  <a:gd name="T1" fmla="*/ 0 h 54"/>
                  <a:gd name="T2" fmla="*/ 0 w 58"/>
                  <a:gd name="T3" fmla="*/ 6 h 54"/>
                  <a:gd name="T4" fmla="*/ 52 w 58"/>
                  <a:gd name="T5" fmla="*/ 54 h 54"/>
                  <a:gd name="T6" fmla="*/ 58 w 58"/>
                  <a:gd name="T7" fmla="*/ 48 h 54"/>
                  <a:gd name="T8" fmla="*/ 6 w 58"/>
                  <a:gd name="T9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54">
                    <a:moveTo>
                      <a:pt x="6" y="0"/>
                    </a:moveTo>
                    <a:cubicBezTo>
                      <a:pt x="4" y="2"/>
                      <a:pt x="2" y="4"/>
                      <a:pt x="0" y="6"/>
                    </a:cubicBezTo>
                    <a:cubicBezTo>
                      <a:pt x="20" y="18"/>
                      <a:pt x="41" y="33"/>
                      <a:pt x="52" y="54"/>
                    </a:cubicBezTo>
                    <a:cubicBezTo>
                      <a:pt x="54" y="52"/>
                      <a:pt x="56" y="50"/>
                      <a:pt x="58" y="48"/>
                    </a:cubicBezTo>
                    <a:cubicBezTo>
                      <a:pt x="46" y="27"/>
                      <a:pt x="26" y="12"/>
                      <a:pt x="6" y="0"/>
                    </a:cubicBezTo>
                    <a:close/>
                  </a:path>
                </a:pathLst>
              </a:custGeom>
              <a:solidFill>
                <a:srgbClr val="85B9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78" name="任意多边形: 形状 377">
                <a:extLst>
                  <a:ext uri="{FF2B5EF4-FFF2-40B4-BE49-F238E27FC236}">
                    <a16:creationId xmlns:a16="http://schemas.microsoft.com/office/drawing/2014/main" id="{73B090B1-7FCF-4C1E-8C33-B91A08234C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1746" y="1864781"/>
                <a:ext cx="168275" cy="225425"/>
              </a:xfrm>
              <a:custGeom>
                <a:avLst/>
                <a:gdLst>
                  <a:gd name="T0" fmla="*/ 0 w 51"/>
                  <a:gd name="T1" fmla="*/ 4 h 68"/>
                  <a:gd name="T2" fmla="*/ 44 w 51"/>
                  <a:gd name="T3" fmla="*/ 68 h 68"/>
                  <a:gd name="T4" fmla="*/ 51 w 51"/>
                  <a:gd name="T5" fmla="*/ 63 h 68"/>
                  <a:gd name="T6" fmla="*/ 8 w 51"/>
                  <a:gd name="T7" fmla="*/ 0 h 68"/>
                  <a:gd name="T8" fmla="*/ 0 w 51"/>
                  <a:gd name="T9" fmla="*/ 4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1" h="68">
                    <a:moveTo>
                      <a:pt x="0" y="4"/>
                    </a:moveTo>
                    <a:cubicBezTo>
                      <a:pt x="15" y="25"/>
                      <a:pt x="30" y="47"/>
                      <a:pt x="44" y="68"/>
                    </a:cubicBezTo>
                    <a:cubicBezTo>
                      <a:pt x="47" y="66"/>
                      <a:pt x="49" y="65"/>
                      <a:pt x="51" y="63"/>
                    </a:cubicBezTo>
                    <a:cubicBezTo>
                      <a:pt x="37" y="42"/>
                      <a:pt x="22" y="21"/>
                      <a:pt x="8" y="0"/>
                    </a:cubicBezTo>
                    <a:cubicBezTo>
                      <a:pt x="5" y="2"/>
                      <a:pt x="3" y="3"/>
                      <a:pt x="0" y="4"/>
                    </a:cubicBezTo>
                    <a:close/>
                  </a:path>
                </a:pathLst>
              </a:custGeom>
              <a:solidFill>
                <a:srgbClr val="85B9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79" name="任意多边形: 形状 378">
                <a:extLst>
                  <a:ext uri="{FF2B5EF4-FFF2-40B4-BE49-F238E27FC236}">
                    <a16:creationId xmlns:a16="http://schemas.microsoft.com/office/drawing/2014/main" id="{BDBAD1CF-F600-4642-85F9-7F4286C51F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4721" y="3144306"/>
                <a:ext cx="828675" cy="511175"/>
              </a:xfrm>
              <a:custGeom>
                <a:avLst/>
                <a:gdLst>
                  <a:gd name="T0" fmla="*/ 21 w 251"/>
                  <a:gd name="T1" fmla="*/ 106 h 155"/>
                  <a:gd name="T2" fmla="*/ 16 w 251"/>
                  <a:gd name="T3" fmla="*/ 47 h 155"/>
                  <a:gd name="T4" fmla="*/ 68 w 251"/>
                  <a:gd name="T5" fmla="*/ 38 h 155"/>
                  <a:gd name="T6" fmla="*/ 114 w 251"/>
                  <a:gd name="T7" fmla="*/ 42 h 155"/>
                  <a:gd name="T8" fmla="*/ 190 w 251"/>
                  <a:gd name="T9" fmla="*/ 22 h 155"/>
                  <a:gd name="T10" fmla="*/ 186 w 251"/>
                  <a:gd name="T11" fmla="*/ 117 h 155"/>
                  <a:gd name="T12" fmla="*/ 21 w 251"/>
                  <a:gd name="T13" fmla="*/ 106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1" h="155">
                    <a:moveTo>
                      <a:pt x="21" y="106"/>
                    </a:moveTo>
                    <a:cubicBezTo>
                      <a:pt x="20" y="103"/>
                      <a:pt x="0" y="86"/>
                      <a:pt x="16" y="47"/>
                    </a:cubicBezTo>
                    <a:cubicBezTo>
                      <a:pt x="24" y="26"/>
                      <a:pt x="45" y="32"/>
                      <a:pt x="68" y="38"/>
                    </a:cubicBezTo>
                    <a:cubicBezTo>
                      <a:pt x="84" y="42"/>
                      <a:pt x="100" y="46"/>
                      <a:pt x="114" y="42"/>
                    </a:cubicBezTo>
                    <a:cubicBezTo>
                      <a:pt x="149" y="32"/>
                      <a:pt x="173" y="0"/>
                      <a:pt x="190" y="22"/>
                    </a:cubicBezTo>
                    <a:cubicBezTo>
                      <a:pt x="208" y="44"/>
                      <a:pt x="251" y="96"/>
                      <a:pt x="186" y="117"/>
                    </a:cubicBezTo>
                    <a:cubicBezTo>
                      <a:pt x="122" y="137"/>
                      <a:pt x="26" y="155"/>
                      <a:pt x="21" y="106"/>
                    </a:cubicBezTo>
                  </a:path>
                </a:pathLst>
              </a:custGeom>
              <a:solidFill>
                <a:srgbClr val="FF73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80" name="任意多边形: 形状 379">
                <a:extLst>
                  <a:ext uri="{FF2B5EF4-FFF2-40B4-BE49-F238E27FC236}">
                    <a16:creationId xmlns:a16="http://schemas.microsoft.com/office/drawing/2014/main" id="{25E58296-5889-4DBA-9568-F809FF3B98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2058" y="3282419"/>
                <a:ext cx="25400" cy="3175"/>
              </a:xfrm>
              <a:custGeom>
                <a:avLst/>
                <a:gdLst>
                  <a:gd name="T0" fmla="*/ 0 w 8"/>
                  <a:gd name="T1" fmla="*/ 0 h 1"/>
                  <a:gd name="T2" fmla="*/ 0 w 8"/>
                  <a:gd name="T3" fmla="*/ 0 h 1"/>
                  <a:gd name="T4" fmla="*/ 8 w 8"/>
                  <a:gd name="T5" fmla="*/ 1 h 1"/>
                  <a:gd name="T6" fmla="*/ 8 w 8"/>
                  <a:gd name="T7" fmla="*/ 1 h 1"/>
                  <a:gd name="T8" fmla="*/ 0 w 8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3" y="1"/>
                      <a:pt x="5" y="1"/>
                      <a:pt x="8" y="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5" y="1"/>
                      <a:pt x="3" y="1"/>
                      <a:pt x="0" y="0"/>
                    </a:cubicBezTo>
                  </a:path>
                </a:pathLst>
              </a:custGeom>
              <a:solidFill>
                <a:srgbClr val="FFA7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81" name="任意多边形: 形状 380">
                <a:extLst>
                  <a:ext uri="{FF2B5EF4-FFF2-40B4-BE49-F238E27FC236}">
                    <a16:creationId xmlns:a16="http://schemas.microsoft.com/office/drawing/2014/main" id="{F37961AE-8B37-4DF6-97C2-4EAB8427AD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2058" y="3282419"/>
                <a:ext cx="141288" cy="300038"/>
              </a:xfrm>
              <a:custGeom>
                <a:avLst/>
                <a:gdLst>
                  <a:gd name="T0" fmla="*/ 0 w 43"/>
                  <a:gd name="T1" fmla="*/ 0 h 91"/>
                  <a:gd name="T2" fmla="*/ 6 w 43"/>
                  <a:gd name="T3" fmla="*/ 32 h 91"/>
                  <a:gd name="T4" fmla="*/ 35 w 43"/>
                  <a:gd name="T5" fmla="*/ 91 h 91"/>
                  <a:gd name="T6" fmla="*/ 43 w 43"/>
                  <a:gd name="T7" fmla="*/ 89 h 91"/>
                  <a:gd name="T8" fmla="*/ 31 w 43"/>
                  <a:gd name="T9" fmla="*/ 59 h 91"/>
                  <a:gd name="T10" fmla="*/ 8 w 43"/>
                  <a:gd name="T11" fmla="*/ 1 h 91"/>
                  <a:gd name="T12" fmla="*/ 0 w 43"/>
                  <a:gd name="T13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3" h="91">
                    <a:moveTo>
                      <a:pt x="0" y="0"/>
                    </a:moveTo>
                    <a:cubicBezTo>
                      <a:pt x="0" y="11"/>
                      <a:pt x="2" y="22"/>
                      <a:pt x="6" y="32"/>
                    </a:cubicBezTo>
                    <a:cubicBezTo>
                      <a:pt x="15" y="53"/>
                      <a:pt x="31" y="69"/>
                      <a:pt x="35" y="91"/>
                    </a:cubicBezTo>
                    <a:cubicBezTo>
                      <a:pt x="38" y="90"/>
                      <a:pt x="40" y="90"/>
                      <a:pt x="43" y="89"/>
                    </a:cubicBezTo>
                    <a:cubicBezTo>
                      <a:pt x="41" y="79"/>
                      <a:pt x="37" y="69"/>
                      <a:pt x="31" y="59"/>
                    </a:cubicBezTo>
                    <a:cubicBezTo>
                      <a:pt x="20" y="39"/>
                      <a:pt x="10" y="22"/>
                      <a:pt x="8" y="1"/>
                    </a:cubicBezTo>
                    <a:cubicBezTo>
                      <a:pt x="5" y="1"/>
                      <a:pt x="3" y="1"/>
                      <a:pt x="0" y="0"/>
                    </a:cubicBezTo>
                  </a:path>
                </a:pathLst>
              </a:custGeom>
              <a:solidFill>
                <a:srgbClr val="FF5C5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82" name="任意多边形: 形状 381">
                <a:extLst>
                  <a:ext uri="{FF2B5EF4-FFF2-40B4-BE49-F238E27FC236}">
                    <a16:creationId xmlns:a16="http://schemas.microsoft.com/office/drawing/2014/main" id="{FFF43636-A8A2-4B3D-8185-C68296AF41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17121" y="3252256"/>
                <a:ext cx="117475" cy="342900"/>
              </a:xfrm>
              <a:custGeom>
                <a:avLst/>
                <a:gdLst>
                  <a:gd name="T0" fmla="*/ 2 w 36"/>
                  <a:gd name="T1" fmla="*/ 0 h 104"/>
                  <a:gd name="T2" fmla="*/ 7 w 36"/>
                  <a:gd name="T3" fmla="*/ 49 h 104"/>
                  <a:gd name="T4" fmla="*/ 17 w 36"/>
                  <a:gd name="T5" fmla="*/ 81 h 104"/>
                  <a:gd name="T6" fmla="*/ 27 w 36"/>
                  <a:gd name="T7" fmla="*/ 104 h 104"/>
                  <a:gd name="T8" fmla="*/ 31 w 36"/>
                  <a:gd name="T9" fmla="*/ 104 h 104"/>
                  <a:gd name="T10" fmla="*/ 36 w 36"/>
                  <a:gd name="T11" fmla="*/ 104 h 104"/>
                  <a:gd name="T12" fmla="*/ 21 w 36"/>
                  <a:gd name="T13" fmla="*/ 68 h 104"/>
                  <a:gd name="T14" fmla="*/ 10 w 36"/>
                  <a:gd name="T15" fmla="*/ 2 h 104"/>
                  <a:gd name="T16" fmla="*/ 2 w 36"/>
                  <a:gd name="T17" fmla="*/ 0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6" h="104">
                    <a:moveTo>
                      <a:pt x="2" y="0"/>
                    </a:moveTo>
                    <a:cubicBezTo>
                      <a:pt x="0" y="16"/>
                      <a:pt x="3" y="33"/>
                      <a:pt x="7" y="49"/>
                    </a:cubicBezTo>
                    <a:cubicBezTo>
                      <a:pt x="9" y="60"/>
                      <a:pt x="13" y="70"/>
                      <a:pt x="17" y="81"/>
                    </a:cubicBezTo>
                    <a:cubicBezTo>
                      <a:pt x="20" y="89"/>
                      <a:pt x="24" y="96"/>
                      <a:pt x="27" y="104"/>
                    </a:cubicBezTo>
                    <a:cubicBezTo>
                      <a:pt x="28" y="104"/>
                      <a:pt x="30" y="104"/>
                      <a:pt x="31" y="104"/>
                    </a:cubicBezTo>
                    <a:cubicBezTo>
                      <a:pt x="33" y="104"/>
                      <a:pt x="34" y="104"/>
                      <a:pt x="36" y="104"/>
                    </a:cubicBezTo>
                    <a:cubicBezTo>
                      <a:pt x="32" y="92"/>
                      <a:pt x="25" y="80"/>
                      <a:pt x="21" y="68"/>
                    </a:cubicBezTo>
                    <a:cubicBezTo>
                      <a:pt x="14" y="48"/>
                      <a:pt x="7" y="24"/>
                      <a:pt x="10" y="2"/>
                    </a:cubicBezTo>
                    <a:cubicBezTo>
                      <a:pt x="7" y="1"/>
                      <a:pt x="5" y="1"/>
                      <a:pt x="2" y="0"/>
                    </a:cubicBezTo>
                  </a:path>
                </a:pathLst>
              </a:custGeom>
              <a:solidFill>
                <a:srgbClr val="FF5C5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83" name="任意多边形: 形状 382">
                <a:extLst>
                  <a:ext uri="{FF2B5EF4-FFF2-40B4-BE49-F238E27FC236}">
                    <a16:creationId xmlns:a16="http://schemas.microsoft.com/office/drawing/2014/main" id="{E907FB0D-66A3-4B55-9B70-E454168E31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2408" y="3190344"/>
                <a:ext cx="115888" cy="328613"/>
              </a:xfrm>
              <a:custGeom>
                <a:avLst/>
                <a:gdLst>
                  <a:gd name="T0" fmla="*/ 8 w 35"/>
                  <a:gd name="T1" fmla="*/ 0 h 100"/>
                  <a:gd name="T2" fmla="*/ 0 w 35"/>
                  <a:gd name="T3" fmla="*/ 3 h 100"/>
                  <a:gd name="T4" fmla="*/ 16 w 35"/>
                  <a:gd name="T5" fmla="*/ 57 h 100"/>
                  <a:gd name="T6" fmla="*/ 24 w 35"/>
                  <a:gd name="T7" fmla="*/ 88 h 100"/>
                  <a:gd name="T8" fmla="*/ 27 w 35"/>
                  <a:gd name="T9" fmla="*/ 100 h 100"/>
                  <a:gd name="T10" fmla="*/ 35 w 35"/>
                  <a:gd name="T11" fmla="*/ 96 h 100"/>
                  <a:gd name="T12" fmla="*/ 29 w 35"/>
                  <a:gd name="T13" fmla="*/ 75 h 100"/>
                  <a:gd name="T14" fmla="*/ 8 w 35"/>
                  <a:gd name="T15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" h="100">
                    <a:moveTo>
                      <a:pt x="8" y="0"/>
                    </a:moveTo>
                    <a:cubicBezTo>
                      <a:pt x="5" y="1"/>
                      <a:pt x="3" y="2"/>
                      <a:pt x="0" y="3"/>
                    </a:cubicBezTo>
                    <a:cubicBezTo>
                      <a:pt x="5" y="21"/>
                      <a:pt x="11" y="39"/>
                      <a:pt x="16" y="57"/>
                    </a:cubicBezTo>
                    <a:cubicBezTo>
                      <a:pt x="19" y="68"/>
                      <a:pt x="21" y="78"/>
                      <a:pt x="24" y="88"/>
                    </a:cubicBezTo>
                    <a:cubicBezTo>
                      <a:pt x="24" y="92"/>
                      <a:pt x="25" y="96"/>
                      <a:pt x="27" y="100"/>
                    </a:cubicBezTo>
                    <a:cubicBezTo>
                      <a:pt x="30" y="99"/>
                      <a:pt x="32" y="98"/>
                      <a:pt x="35" y="96"/>
                    </a:cubicBezTo>
                    <a:cubicBezTo>
                      <a:pt x="33" y="89"/>
                      <a:pt x="30" y="81"/>
                      <a:pt x="29" y="75"/>
                    </a:cubicBezTo>
                    <a:cubicBezTo>
                      <a:pt x="23" y="50"/>
                      <a:pt x="15" y="25"/>
                      <a:pt x="8" y="0"/>
                    </a:cubicBezTo>
                  </a:path>
                </a:pathLst>
              </a:custGeom>
              <a:solidFill>
                <a:srgbClr val="FF5C5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84" name="任意多边形: 形状 383">
                <a:extLst>
                  <a:ext uri="{FF2B5EF4-FFF2-40B4-BE49-F238E27FC236}">
                    <a16:creationId xmlns:a16="http://schemas.microsoft.com/office/drawing/2014/main" id="{69305912-6F9D-4D17-8FB2-813C741D16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0171" y="3252256"/>
                <a:ext cx="26988" cy="14288"/>
              </a:xfrm>
              <a:custGeom>
                <a:avLst/>
                <a:gdLst>
                  <a:gd name="T0" fmla="*/ 8 w 8"/>
                  <a:gd name="T1" fmla="*/ 0 h 4"/>
                  <a:gd name="T2" fmla="*/ 0 w 8"/>
                  <a:gd name="T3" fmla="*/ 4 h 4"/>
                  <a:gd name="T4" fmla="*/ 0 w 8"/>
                  <a:gd name="T5" fmla="*/ 4 h 4"/>
                  <a:gd name="T6" fmla="*/ 8 w 8"/>
                  <a:gd name="T7" fmla="*/ 0 h 4"/>
                  <a:gd name="T8" fmla="*/ 8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8" y="0"/>
                    </a:moveTo>
                    <a:cubicBezTo>
                      <a:pt x="5" y="1"/>
                      <a:pt x="3" y="2"/>
                      <a:pt x="0" y="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3" y="2"/>
                      <a:pt x="5" y="1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</a:path>
                </a:pathLst>
              </a:custGeom>
              <a:solidFill>
                <a:srgbClr val="FFA7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85" name="任意多边形: 形状 384">
                <a:extLst>
                  <a:ext uri="{FF2B5EF4-FFF2-40B4-BE49-F238E27FC236}">
                    <a16:creationId xmlns:a16="http://schemas.microsoft.com/office/drawing/2014/main" id="{72680DE4-5A34-42C9-BD44-A33819B372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0171" y="3252256"/>
                <a:ext cx="146050" cy="296863"/>
              </a:xfrm>
              <a:custGeom>
                <a:avLst/>
                <a:gdLst>
                  <a:gd name="T0" fmla="*/ 8 w 44"/>
                  <a:gd name="T1" fmla="*/ 0 h 90"/>
                  <a:gd name="T2" fmla="*/ 0 w 44"/>
                  <a:gd name="T3" fmla="*/ 4 h 90"/>
                  <a:gd name="T4" fmla="*/ 13 w 44"/>
                  <a:gd name="T5" fmla="*/ 45 h 90"/>
                  <a:gd name="T6" fmla="*/ 37 w 44"/>
                  <a:gd name="T7" fmla="*/ 90 h 90"/>
                  <a:gd name="T8" fmla="*/ 44 w 44"/>
                  <a:gd name="T9" fmla="*/ 88 h 90"/>
                  <a:gd name="T10" fmla="*/ 32 w 44"/>
                  <a:gd name="T11" fmla="*/ 65 h 90"/>
                  <a:gd name="T12" fmla="*/ 8 w 44"/>
                  <a:gd name="T13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4" h="90">
                    <a:moveTo>
                      <a:pt x="8" y="0"/>
                    </a:moveTo>
                    <a:cubicBezTo>
                      <a:pt x="5" y="1"/>
                      <a:pt x="3" y="2"/>
                      <a:pt x="0" y="4"/>
                    </a:cubicBezTo>
                    <a:cubicBezTo>
                      <a:pt x="3" y="18"/>
                      <a:pt x="7" y="31"/>
                      <a:pt x="13" y="45"/>
                    </a:cubicBezTo>
                    <a:cubicBezTo>
                      <a:pt x="18" y="58"/>
                      <a:pt x="29" y="74"/>
                      <a:pt x="37" y="90"/>
                    </a:cubicBezTo>
                    <a:cubicBezTo>
                      <a:pt x="39" y="89"/>
                      <a:pt x="41" y="88"/>
                      <a:pt x="44" y="88"/>
                    </a:cubicBezTo>
                    <a:cubicBezTo>
                      <a:pt x="40" y="80"/>
                      <a:pt x="35" y="73"/>
                      <a:pt x="32" y="65"/>
                    </a:cubicBezTo>
                    <a:cubicBezTo>
                      <a:pt x="21" y="44"/>
                      <a:pt x="12" y="23"/>
                      <a:pt x="8" y="0"/>
                    </a:cubicBezTo>
                  </a:path>
                </a:pathLst>
              </a:custGeom>
              <a:solidFill>
                <a:srgbClr val="FF5C5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1" name="任意多边形: 形状 320">
                <a:extLst>
                  <a:ext uri="{FF2B5EF4-FFF2-40B4-BE49-F238E27FC236}">
                    <a16:creationId xmlns:a16="http://schemas.microsoft.com/office/drawing/2014/main" id="{B07E9437-488B-4B07-BE05-C4142197DF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1421" y="3434819"/>
                <a:ext cx="3883025" cy="2286000"/>
              </a:xfrm>
              <a:custGeom>
                <a:avLst/>
                <a:gdLst>
                  <a:gd name="T0" fmla="*/ 1177 w 1177"/>
                  <a:gd name="T1" fmla="*/ 168 h 694"/>
                  <a:gd name="T2" fmla="*/ 912 w 1177"/>
                  <a:gd name="T3" fmla="*/ 395 h 694"/>
                  <a:gd name="T4" fmla="*/ 630 w 1177"/>
                  <a:gd name="T5" fmla="*/ 291 h 694"/>
                  <a:gd name="T6" fmla="*/ 631 w 1177"/>
                  <a:gd name="T7" fmla="*/ 294 h 694"/>
                  <a:gd name="T8" fmla="*/ 646 w 1177"/>
                  <a:gd name="T9" fmla="*/ 417 h 694"/>
                  <a:gd name="T10" fmla="*/ 654 w 1177"/>
                  <a:gd name="T11" fmla="*/ 586 h 694"/>
                  <a:gd name="T12" fmla="*/ 237 w 1177"/>
                  <a:gd name="T13" fmla="*/ 586 h 694"/>
                  <a:gd name="T14" fmla="*/ 253 w 1177"/>
                  <a:gd name="T15" fmla="*/ 671 h 694"/>
                  <a:gd name="T16" fmla="*/ 131 w 1177"/>
                  <a:gd name="T17" fmla="*/ 694 h 694"/>
                  <a:gd name="T18" fmla="*/ 161 w 1177"/>
                  <a:gd name="T19" fmla="*/ 163 h 694"/>
                  <a:gd name="T20" fmla="*/ 352 w 1177"/>
                  <a:gd name="T21" fmla="*/ 8 h 694"/>
                  <a:gd name="T22" fmla="*/ 455 w 1177"/>
                  <a:gd name="T23" fmla="*/ 9 h 694"/>
                  <a:gd name="T24" fmla="*/ 880 w 1177"/>
                  <a:gd name="T25" fmla="*/ 237 h 694"/>
                  <a:gd name="T26" fmla="*/ 1058 w 1177"/>
                  <a:gd name="T27" fmla="*/ 111 h 694"/>
                  <a:gd name="T28" fmla="*/ 1155 w 1177"/>
                  <a:gd name="T29" fmla="*/ 158 h 694"/>
                  <a:gd name="T30" fmla="*/ 1177 w 1177"/>
                  <a:gd name="T31" fmla="*/ 168 h 6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177" h="694">
                    <a:moveTo>
                      <a:pt x="1177" y="168"/>
                    </a:moveTo>
                    <a:cubicBezTo>
                      <a:pt x="1177" y="168"/>
                      <a:pt x="1108" y="376"/>
                      <a:pt x="912" y="395"/>
                    </a:cubicBezTo>
                    <a:cubicBezTo>
                      <a:pt x="764" y="410"/>
                      <a:pt x="630" y="291"/>
                      <a:pt x="630" y="291"/>
                    </a:cubicBezTo>
                    <a:cubicBezTo>
                      <a:pt x="631" y="294"/>
                      <a:pt x="631" y="294"/>
                      <a:pt x="631" y="294"/>
                    </a:cubicBezTo>
                    <a:cubicBezTo>
                      <a:pt x="635" y="308"/>
                      <a:pt x="651" y="360"/>
                      <a:pt x="646" y="417"/>
                    </a:cubicBezTo>
                    <a:cubicBezTo>
                      <a:pt x="641" y="470"/>
                      <a:pt x="681" y="536"/>
                      <a:pt x="654" y="586"/>
                    </a:cubicBezTo>
                    <a:cubicBezTo>
                      <a:pt x="237" y="586"/>
                      <a:pt x="237" y="586"/>
                      <a:pt x="237" y="586"/>
                    </a:cubicBezTo>
                    <a:cubicBezTo>
                      <a:pt x="253" y="671"/>
                      <a:pt x="253" y="671"/>
                      <a:pt x="253" y="671"/>
                    </a:cubicBezTo>
                    <a:cubicBezTo>
                      <a:pt x="131" y="694"/>
                      <a:pt x="131" y="694"/>
                      <a:pt x="131" y="694"/>
                    </a:cubicBezTo>
                    <a:cubicBezTo>
                      <a:pt x="0" y="492"/>
                      <a:pt x="66" y="288"/>
                      <a:pt x="161" y="163"/>
                    </a:cubicBezTo>
                    <a:cubicBezTo>
                      <a:pt x="245" y="52"/>
                      <a:pt x="352" y="8"/>
                      <a:pt x="352" y="8"/>
                    </a:cubicBezTo>
                    <a:cubicBezTo>
                      <a:pt x="455" y="9"/>
                      <a:pt x="455" y="9"/>
                      <a:pt x="455" y="9"/>
                    </a:cubicBezTo>
                    <a:cubicBezTo>
                      <a:pt x="638" y="0"/>
                      <a:pt x="775" y="205"/>
                      <a:pt x="880" y="237"/>
                    </a:cubicBezTo>
                    <a:cubicBezTo>
                      <a:pt x="985" y="270"/>
                      <a:pt x="1058" y="111"/>
                      <a:pt x="1058" y="111"/>
                    </a:cubicBezTo>
                    <a:cubicBezTo>
                      <a:pt x="1155" y="158"/>
                      <a:pt x="1155" y="158"/>
                      <a:pt x="1155" y="158"/>
                    </a:cubicBezTo>
                    <a:cubicBezTo>
                      <a:pt x="1177" y="168"/>
                      <a:pt x="1177" y="168"/>
                      <a:pt x="1177" y="168"/>
                    </a:cubicBezTo>
                  </a:path>
                </a:pathLst>
              </a:custGeom>
              <a:solidFill>
                <a:srgbClr val="322C7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sp>
          <p:nvSpPr>
            <p:cNvPr id="392" name="任意多边形: 形状 391">
              <a:extLst>
                <a:ext uri="{FF2B5EF4-FFF2-40B4-BE49-F238E27FC236}">
                  <a16:creationId xmlns:a16="http://schemas.microsoft.com/office/drawing/2014/main" id="{FC982F78-922E-4CCC-8FD3-28ED26228C7E}"/>
                </a:ext>
              </a:extLst>
            </p:cNvPr>
            <p:cNvSpPr/>
            <p:nvPr userDrawn="1"/>
          </p:nvSpPr>
          <p:spPr>
            <a:xfrm>
              <a:off x="-34105" y="1383963"/>
              <a:ext cx="330303" cy="887026"/>
            </a:xfrm>
            <a:custGeom>
              <a:avLst/>
              <a:gdLst>
                <a:gd name="connsiteX0" fmla="*/ 0 w 330303"/>
                <a:gd name="connsiteY0" fmla="*/ 0 h 887026"/>
                <a:gd name="connsiteX1" fmla="*/ 45733 w 330303"/>
                <a:gd name="connsiteY1" fmla="*/ 14196 h 887026"/>
                <a:gd name="connsiteX2" fmla="*/ 330303 w 330303"/>
                <a:gd name="connsiteY2" fmla="*/ 443513 h 887026"/>
                <a:gd name="connsiteX3" fmla="*/ 45733 w 330303"/>
                <a:gd name="connsiteY3" fmla="*/ 872830 h 887026"/>
                <a:gd name="connsiteX4" fmla="*/ 0 w 330303"/>
                <a:gd name="connsiteY4" fmla="*/ 887026 h 887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0303" h="887026">
                  <a:moveTo>
                    <a:pt x="0" y="0"/>
                  </a:moveTo>
                  <a:lnTo>
                    <a:pt x="45733" y="14196"/>
                  </a:lnTo>
                  <a:cubicBezTo>
                    <a:pt x="212963" y="84929"/>
                    <a:pt x="330303" y="250518"/>
                    <a:pt x="330303" y="443513"/>
                  </a:cubicBezTo>
                  <a:cubicBezTo>
                    <a:pt x="330303" y="636508"/>
                    <a:pt x="212963" y="802097"/>
                    <a:pt x="45733" y="872830"/>
                  </a:cubicBezTo>
                  <a:lnTo>
                    <a:pt x="0" y="887026"/>
                  </a:lnTo>
                  <a:close/>
                </a:path>
              </a:pathLst>
            </a:custGeom>
            <a:solidFill>
              <a:srgbClr val="C7DB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394" name="任意多边形: 形状 393">
              <a:extLst>
                <a:ext uri="{FF2B5EF4-FFF2-40B4-BE49-F238E27FC236}">
                  <a16:creationId xmlns:a16="http://schemas.microsoft.com/office/drawing/2014/main" id="{D2039E83-1988-4C72-B659-984EE6EBA6B5}"/>
                </a:ext>
              </a:extLst>
            </p:cNvPr>
            <p:cNvSpPr/>
            <p:nvPr userDrawn="1"/>
          </p:nvSpPr>
          <p:spPr>
            <a:xfrm>
              <a:off x="11560313" y="6388506"/>
              <a:ext cx="636607" cy="469494"/>
            </a:xfrm>
            <a:custGeom>
              <a:avLst/>
              <a:gdLst>
                <a:gd name="connsiteX0" fmla="*/ 636607 w 636607"/>
                <a:gd name="connsiteY0" fmla="*/ 0 h 469494"/>
                <a:gd name="connsiteX1" fmla="*/ 636607 w 636607"/>
                <a:gd name="connsiteY1" fmla="*/ 469494 h 469494"/>
                <a:gd name="connsiteX2" fmla="*/ 0 w 636607"/>
                <a:gd name="connsiteY2" fmla="*/ 469494 h 469494"/>
                <a:gd name="connsiteX3" fmla="*/ 13701 w 636607"/>
                <a:gd name="connsiteY3" fmla="*/ 425358 h 469494"/>
                <a:gd name="connsiteX4" fmla="*/ 517695 w 636607"/>
                <a:gd name="connsiteY4" fmla="*/ 11987 h 469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6607" h="469494">
                  <a:moveTo>
                    <a:pt x="636607" y="0"/>
                  </a:moveTo>
                  <a:lnTo>
                    <a:pt x="636607" y="469494"/>
                  </a:lnTo>
                  <a:lnTo>
                    <a:pt x="0" y="469494"/>
                  </a:lnTo>
                  <a:lnTo>
                    <a:pt x="13701" y="425358"/>
                  </a:lnTo>
                  <a:cubicBezTo>
                    <a:pt x="102269" y="215958"/>
                    <a:pt x="289818" y="58617"/>
                    <a:pt x="517695" y="11987"/>
                  </a:cubicBezTo>
                  <a:close/>
                </a:path>
              </a:pathLst>
            </a:custGeom>
            <a:solidFill>
              <a:srgbClr val="C7DBFC"/>
            </a:solidFill>
            <a:ln w="9525">
              <a:noFill/>
              <a:round/>
              <a:headEnd/>
              <a:tailE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zh-CN" alt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矩形 267">
            <a:extLst>
              <a:ext uri="{FF2B5EF4-FFF2-40B4-BE49-F238E27FC236}">
                <a16:creationId xmlns:a16="http://schemas.microsoft.com/office/drawing/2014/main" id="{795FAEA9-F875-4C1E-A398-95E694523D7D}"/>
              </a:ext>
            </a:extLst>
          </p:cNvPr>
          <p:cNvSpPr/>
          <p:nvPr userDrawn="1"/>
        </p:nvSpPr>
        <p:spPr>
          <a:xfrm>
            <a:off x="-19512" y="1562292"/>
            <a:ext cx="12231025" cy="370062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5512149" y="2951599"/>
            <a:ext cx="5572087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5512149" y="3846949"/>
            <a:ext cx="5572087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289" name="图片 288">
            <a:extLst>
              <a:ext uri="{FF2B5EF4-FFF2-40B4-BE49-F238E27FC236}">
                <a16:creationId xmlns:a16="http://schemas.microsoft.com/office/drawing/2014/main" id="{D007F5C8-B081-44FF-8F87-3D9B6FE168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77000"/>
          </a:blip>
          <a:srcRect l="66385"/>
          <a:stretch/>
        </p:blipFill>
        <p:spPr>
          <a:xfrm rot="5400000" flipV="1">
            <a:off x="2605977" y="3687884"/>
            <a:ext cx="249511" cy="3445744"/>
          </a:xfrm>
          <a:prstGeom prst="rect">
            <a:avLst/>
          </a:prstGeom>
          <a:effectLst>
            <a:outerShdw blurRad="1270000" dir="5400000" algn="ctr" rotWithShape="0">
              <a:srgbClr val="000000">
                <a:alpha val="0"/>
              </a:srgbClr>
            </a:outerShdw>
          </a:effectLst>
        </p:spPr>
      </p:pic>
      <p:grpSp>
        <p:nvGrpSpPr>
          <p:cNvPr id="2" name="组合 1">
            <a:extLst>
              <a:ext uri="{FF2B5EF4-FFF2-40B4-BE49-F238E27FC236}">
                <a16:creationId xmlns:a16="http://schemas.microsoft.com/office/drawing/2014/main" id="{BD19636B-390D-4C69-B2A7-75ACB392B2F7}"/>
              </a:ext>
            </a:extLst>
          </p:cNvPr>
          <p:cNvGrpSpPr/>
          <p:nvPr userDrawn="1"/>
        </p:nvGrpSpPr>
        <p:grpSpPr>
          <a:xfrm>
            <a:off x="773418" y="2233768"/>
            <a:ext cx="3945801" cy="3827122"/>
            <a:chOff x="773418" y="2252818"/>
            <a:chExt cx="3945801" cy="3827122"/>
          </a:xfrm>
        </p:grpSpPr>
        <p:sp>
          <p:nvSpPr>
            <p:cNvPr id="270" name="任意多边形: 形状 269">
              <a:extLst>
                <a:ext uri="{FF2B5EF4-FFF2-40B4-BE49-F238E27FC236}">
                  <a16:creationId xmlns:a16="http://schemas.microsoft.com/office/drawing/2014/main" id="{0CB38AEF-2B41-431D-8ED8-F4406D13370B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418" y="2414447"/>
              <a:ext cx="3797735" cy="2867516"/>
            </a:xfrm>
            <a:custGeom>
              <a:avLst/>
              <a:gdLst>
                <a:gd name="T0" fmla="*/ 1494 w 1617"/>
                <a:gd name="T1" fmla="*/ 759 h 1222"/>
                <a:gd name="T2" fmla="*/ 1296 w 1617"/>
                <a:gd name="T3" fmla="*/ 1222 h 1222"/>
                <a:gd name="T4" fmla="*/ 481 w 1617"/>
                <a:gd name="T5" fmla="*/ 1222 h 1222"/>
                <a:gd name="T6" fmla="*/ 223 w 1617"/>
                <a:gd name="T7" fmla="*/ 583 h 1222"/>
                <a:gd name="T8" fmla="*/ 577 w 1617"/>
                <a:gd name="T9" fmla="*/ 410 h 1222"/>
                <a:gd name="T10" fmla="*/ 647 w 1617"/>
                <a:gd name="T11" fmla="*/ 410 h 1222"/>
                <a:gd name="T12" fmla="*/ 1021 w 1617"/>
                <a:gd name="T13" fmla="*/ 22 h 1222"/>
                <a:gd name="T14" fmla="*/ 1323 w 1617"/>
                <a:gd name="T15" fmla="*/ 39 h 1222"/>
                <a:gd name="T16" fmla="*/ 1494 w 1617"/>
                <a:gd name="T17" fmla="*/ 759 h 1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17" h="1222">
                  <a:moveTo>
                    <a:pt x="1494" y="759"/>
                  </a:moveTo>
                  <a:cubicBezTo>
                    <a:pt x="1416" y="1007"/>
                    <a:pt x="1296" y="1222"/>
                    <a:pt x="1296" y="1222"/>
                  </a:cubicBezTo>
                  <a:cubicBezTo>
                    <a:pt x="481" y="1222"/>
                    <a:pt x="481" y="1222"/>
                    <a:pt x="481" y="1222"/>
                  </a:cubicBezTo>
                  <a:cubicBezTo>
                    <a:pt x="481" y="1222"/>
                    <a:pt x="0" y="900"/>
                    <a:pt x="223" y="583"/>
                  </a:cubicBezTo>
                  <a:cubicBezTo>
                    <a:pt x="347" y="407"/>
                    <a:pt x="472" y="409"/>
                    <a:pt x="577" y="410"/>
                  </a:cubicBezTo>
                  <a:cubicBezTo>
                    <a:pt x="602" y="411"/>
                    <a:pt x="625" y="411"/>
                    <a:pt x="647" y="410"/>
                  </a:cubicBezTo>
                  <a:cubicBezTo>
                    <a:pt x="737" y="402"/>
                    <a:pt x="770" y="94"/>
                    <a:pt x="1021" y="22"/>
                  </a:cubicBezTo>
                  <a:cubicBezTo>
                    <a:pt x="1098" y="0"/>
                    <a:pt x="1196" y="0"/>
                    <a:pt x="1323" y="39"/>
                  </a:cubicBezTo>
                  <a:cubicBezTo>
                    <a:pt x="1617" y="129"/>
                    <a:pt x="1586" y="467"/>
                    <a:pt x="1494" y="759"/>
                  </a:cubicBezTo>
                </a:path>
              </a:pathLst>
            </a:custGeom>
            <a:solidFill>
              <a:srgbClr val="C7DB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1" name="椭圆 270">
              <a:extLst>
                <a:ext uri="{FF2B5EF4-FFF2-40B4-BE49-F238E27FC236}">
                  <a16:creationId xmlns:a16="http://schemas.microsoft.com/office/drawing/2014/main" id="{5D422489-C29E-4C26-ACBC-6CFAB7E720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33853" y="3351448"/>
              <a:ext cx="185366" cy="144676"/>
            </a:xfrm>
            <a:prstGeom prst="ellipse">
              <a:avLst/>
            </a:prstGeom>
            <a:solidFill>
              <a:srgbClr val="C7DB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2" name="任意多边形: 形状 271">
              <a:extLst>
                <a:ext uri="{FF2B5EF4-FFF2-40B4-BE49-F238E27FC236}">
                  <a16:creationId xmlns:a16="http://schemas.microsoft.com/office/drawing/2014/main" id="{29782DEF-C889-4924-84B3-99BD21E6C2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63305" y="4490769"/>
              <a:ext cx="432897" cy="634086"/>
            </a:xfrm>
            <a:custGeom>
              <a:avLst/>
              <a:gdLst>
                <a:gd name="T0" fmla="*/ 21 w 184"/>
                <a:gd name="T1" fmla="*/ 11 h 270"/>
                <a:gd name="T2" fmla="*/ 97 w 184"/>
                <a:gd name="T3" fmla="*/ 132 h 270"/>
                <a:gd name="T4" fmla="*/ 179 w 184"/>
                <a:gd name="T5" fmla="*/ 258 h 270"/>
                <a:gd name="T6" fmla="*/ 54 w 184"/>
                <a:gd name="T7" fmla="*/ 162 h 270"/>
                <a:gd name="T8" fmla="*/ 21 w 184"/>
                <a:gd name="T9" fmla="*/ 11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4" h="270">
                  <a:moveTo>
                    <a:pt x="21" y="11"/>
                  </a:moveTo>
                  <a:cubicBezTo>
                    <a:pt x="42" y="0"/>
                    <a:pt x="62" y="71"/>
                    <a:pt x="97" y="132"/>
                  </a:cubicBezTo>
                  <a:cubicBezTo>
                    <a:pt x="133" y="194"/>
                    <a:pt x="184" y="246"/>
                    <a:pt x="179" y="258"/>
                  </a:cubicBezTo>
                  <a:cubicBezTo>
                    <a:pt x="174" y="270"/>
                    <a:pt x="98" y="225"/>
                    <a:pt x="54" y="162"/>
                  </a:cubicBezTo>
                  <a:cubicBezTo>
                    <a:pt x="12" y="101"/>
                    <a:pt x="0" y="22"/>
                    <a:pt x="21" y="11"/>
                  </a:cubicBezTo>
                  <a:close/>
                </a:path>
              </a:pathLst>
            </a:custGeom>
            <a:solidFill>
              <a:srgbClr val="C7DB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3" name="任意多边形: 形状 272">
              <a:extLst>
                <a:ext uri="{FF2B5EF4-FFF2-40B4-BE49-F238E27FC236}">
                  <a16:creationId xmlns:a16="http://schemas.microsoft.com/office/drawing/2014/main" id="{80D0D1E1-6DC7-4C3F-9ADE-742D0160A3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0094" y="4529198"/>
              <a:ext cx="379773" cy="658953"/>
            </a:xfrm>
            <a:custGeom>
              <a:avLst/>
              <a:gdLst>
                <a:gd name="T0" fmla="*/ 140 w 162"/>
                <a:gd name="T1" fmla="*/ 9 h 281"/>
                <a:gd name="T2" fmla="*/ 76 w 162"/>
                <a:gd name="T3" fmla="*/ 137 h 281"/>
                <a:gd name="T4" fmla="*/ 6 w 162"/>
                <a:gd name="T5" fmla="*/ 270 h 281"/>
                <a:gd name="T6" fmla="*/ 110 w 162"/>
                <a:gd name="T7" fmla="*/ 150 h 281"/>
                <a:gd name="T8" fmla="*/ 140 w 162"/>
                <a:gd name="T9" fmla="*/ 9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2" h="281">
                  <a:moveTo>
                    <a:pt x="140" y="9"/>
                  </a:moveTo>
                  <a:cubicBezTo>
                    <a:pt x="118" y="0"/>
                    <a:pt x="105" y="72"/>
                    <a:pt x="76" y="137"/>
                  </a:cubicBezTo>
                  <a:cubicBezTo>
                    <a:pt x="46" y="201"/>
                    <a:pt x="0" y="259"/>
                    <a:pt x="6" y="270"/>
                  </a:cubicBezTo>
                  <a:cubicBezTo>
                    <a:pt x="12" y="281"/>
                    <a:pt x="72" y="217"/>
                    <a:pt x="110" y="150"/>
                  </a:cubicBezTo>
                  <a:cubicBezTo>
                    <a:pt x="147" y="85"/>
                    <a:pt x="162" y="17"/>
                    <a:pt x="140" y="9"/>
                  </a:cubicBezTo>
                  <a:close/>
                </a:path>
              </a:pathLst>
            </a:custGeom>
            <a:solidFill>
              <a:srgbClr val="C7DB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4" name="任意多边形: 形状 273">
              <a:extLst>
                <a:ext uri="{FF2B5EF4-FFF2-40B4-BE49-F238E27FC236}">
                  <a16:creationId xmlns:a16="http://schemas.microsoft.com/office/drawing/2014/main" id="{D342292E-B4A7-427B-BF55-87A40AB596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7834" y="2252818"/>
              <a:ext cx="514277" cy="569660"/>
            </a:xfrm>
            <a:custGeom>
              <a:avLst/>
              <a:gdLst>
                <a:gd name="T0" fmla="*/ 17 w 219"/>
                <a:gd name="T1" fmla="*/ 17 h 243"/>
                <a:gd name="T2" fmla="*/ 110 w 219"/>
                <a:gd name="T3" fmla="*/ 126 h 243"/>
                <a:gd name="T4" fmla="*/ 206 w 219"/>
                <a:gd name="T5" fmla="*/ 242 h 243"/>
                <a:gd name="T6" fmla="*/ 135 w 219"/>
                <a:gd name="T7" fmla="*/ 99 h 243"/>
                <a:gd name="T8" fmla="*/ 17 w 219"/>
                <a:gd name="T9" fmla="*/ 17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9" h="243">
                  <a:moveTo>
                    <a:pt x="17" y="17"/>
                  </a:moveTo>
                  <a:cubicBezTo>
                    <a:pt x="0" y="34"/>
                    <a:pt x="62" y="74"/>
                    <a:pt x="110" y="126"/>
                  </a:cubicBezTo>
                  <a:cubicBezTo>
                    <a:pt x="158" y="178"/>
                    <a:pt x="193" y="243"/>
                    <a:pt x="206" y="242"/>
                  </a:cubicBezTo>
                  <a:cubicBezTo>
                    <a:pt x="219" y="240"/>
                    <a:pt x="183" y="160"/>
                    <a:pt x="135" y="99"/>
                  </a:cubicBezTo>
                  <a:cubicBezTo>
                    <a:pt x="90" y="41"/>
                    <a:pt x="34" y="0"/>
                    <a:pt x="17" y="17"/>
                  </a:cubicBezTo>
                  <a:close/>
                </a:path>
              </a:pathLst>
            </a:custGeom>
            <a:solidFill>
              <a:srgbClr val="C7DB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5" name="任意多边形: 形状 274">
              <a:extLst>
                <a:ext uri="{FF2B5EF4-FFF2-40B4-BE49-F238E27FC236}">
                  <a16:creationId xmlns:a16="http://schemas.microsoft.com/office/drawing/2014/main" id="{C6AD7F71-A71B-460E-A4CE-68CEF33E93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7117" y="5268400"/>
              <a:ext cx="697382" cy="27127"/>
            </a:xfrm>
            <a:custGeom>
              <a:avLst/>
              <a:gdLst>
                <a:gd name="T0" fmla="*/ 293 w 297"/>
                <a:gd name="T1" fmla="*/ 0 h 12"/>
                <a:gd name="T2" fmla="*/ 297 w 297"/>
                <a:gd name="T3" fmla="*/ 12 h 12"/>
                <a:gd name="T4" fmla="*/ 6 w 297"/>
                <a:gd name="T5" fmla="*/ 12 h 12"/>
                <a:gd name="T6" fmla="*/ 0 w 297"/>
                <a:gd name="T7" fmla="*/ 6 h 12"/>
                <a:gd name="T8" fmla="*/ 6 w 297"/>
                <a:gd name="T9" fmla="*/ 0 h 12"/>
                <a:gd name="T10" fmla="*/ 293 w 297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7" h="12">
                  <a:moveTo>
                    <a:pt x="293" y="0"/>
                  </a:moveTo>
                  <a:cubicBezTo>
                    <a:pt x="294" y="4"/>
                    <a:pt x="295" y="8"/>
                    <a:pt x="297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lnTo>
                    <a:pt x="293" y="0"/>
                  </a:lnTo>
                  <a:close/>
                </a:path>
              </a:pathLst>
            </a:custGeom>
            <a:solidFill>
              <a:srgbClr val="C7DB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6" name="任意多边形: 形状 275">
              <a:extLst>
                <a:ext uri="{FF2B5EF4-FFF2-40B4-BE49-F238E27FC236}">
                  <a16:creationId xmlns:a16="http://schemas.microsoft.com/office/drawing/2014/main" id="{527FE5E9-9A1E-4D2D-A288-4FE59D833CB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1840" y="5268400"/>
              <a:ext cx="2305768" cy="27127"/>
            </a:xfrm>
            <a:custGeom>
              <a:avLst/>
              <a:gdLst>
                <a:gd name="T0" fmla="*/ 982 w 982"/>
                <a:gd name="T1" fmla="*/ 6 h 12"/>
                <a:gd name="T2" fmla="*/ 976 w 982"/>
                <a:gd name="T3" fmla="*/ 12 h 12"/>
                <a:gd name="T4" fmla="*/ 3 w 982"/>
                <a:gd name="T5" fmla="*/ 12 h 12"/>
                <a:gd name="T6" fmla="*/ 0 w 982"/>
                <a:gd name="T7" fmla="*/ 0 h 12"/>
                <a:gd name="T8" fmla="*/ 976 w 982"/>
                <a:gd name="T9" fmla="*/ 0 h 12"/>
                <a:gd name="T10" fmla="*/ 982 w 982"/>
                <a:gd name="T1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82" h="12">
                  <a:moveTo>
                    <a:pt x="982" y="6"/>
                  </a:moveTo>
                  <a:cubicBezTo>
                    <a:pt x="982" y="9"/>
                    <a:pt x="979" y="12"/>
                    <a:pt x="976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76" y="0"/>
                    <a:pt x="976" y="0"/>
                    <a:pt x="976" y="0"/>
                  </a:cubicBezTo>
                  <a:cubicBezTo>
                    <a:pt x="979" y="0"/>
                    <a:pt x="982" y="3"/>
                    <a:pt x="982" y="6"/>
                  </a:cubicBezTo>
                </a:path>
              </a:pathLst>
            </a:custGeom>
            <a:solidFill>
              <a:srgbClr val="C7DB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7" name="椭圆 276">
              <a:extLst>
                <a:ext uri="{FF2B5EF4-FFF2-40B4-BE49-F238E27FC236}">
                  <a16:creationId xmlns:a16="http://schemas.microsoft.com/office/drawing/2014/main" id="{F55203DB-3112-4677-B1C0-82D92932F1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26953" y="3519860"/>
              <a:ext cx="215884" cy="17180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8" name="椭圆 277">
              <a:extLst>
                <a:ext uri="{FF2B5EF4-FFF2-40B4-BE49-F238E27FC236}">
                  <a16:creationId xmlns:a16="http://schemas.microsoft.com/office/drawing/2014/main" id="{3AE78030-4FF8-4EA0-A1A4-FBDEA12FD6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07798" y="3576373"/>
              <a:ext cx="150327" cy="119809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9" name="任意多边形: 形状 278">
              <a:extLst>
                <a:ext uri="{FF2B5EF4-FFF2-40B4-BE49-F238E27FC236}">
                  <a16:creationId xmlns:a16="http://schemas.microsoft.com/office/drawing/2014/main" id="{7407F0C1-245D-4661-86E1-9B32541709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0957" y="3635148"/>
              <a:ext cx="389946" cy="541404"/>
            </a:xfrm>
            <a:custGeom>
              <a:avLst/>
              <a:gdLst>
                <a:gd name="T0" fmla="*/ 166 w 166"/>
                <a:gd name="T1" fmla="*/ 0 h 231"/>
                <a:gd name="T2" fmla="*/ 166 w 166"/>
                <a:gd name="T3" fmla="*/ 185 h 231"/>
                <a:gd name="T4" fmla="*/ 120 w 166"/>
                <a:gd name="T5" fmla="*/ 231 h 231"/>
                <a:gd name="T6" fmla="*/ 46 w 166"/>
                <a:gd name="T7" fmla="*/ 231 h 231"/>
                <a:gd name="T8" fmla="*/ 24 w 166"/>
                <a:gd name="T9" fmla="*/ 226 h 231"/>
                <a:gd name="T10" fmla="*/ 0 w 166"/>
                <a:gd name="T11" fmla="*/ 185 h 231"/>
                <a:gd name="T12" fmla="*/ 0 w 166"/>
                <a:gd name="T13" fmla="*/ 0 h 231"/>
                <a:gd name="T14" fmla="*/ 166 w 166"/>
                <a:gd name="T15" fmla="*/ 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6" h="231">
                  <a:moveTo>
                    <a:pt x="166" y="0"/>
                  </a:moveTo>
                  <a:cubicBezTo>
                    <a:pt x="166" y="185"/>
                    <a:pt x="166" y="185"/>
                    <a:pt x="166" y="185"/>
                  </a:cubicBezTo>
                  <a:cubicBezTo>
                    <a:pt x="166" y="211"/>
                    <a:pt x="145" y="231"/>
                    <a:pt x="120" y="231"/>
                  </a:cubicBezTo>
                  <a:cubicBezTo>
                    <a:pt x="46" y="231"/>
                    <a:pt x="46" y="231"/>
                    <a:pt x="46" y="231"/>
                  </a:cubicBezTo>
                  <a:cubicBezTo>
                    <a:pt x="38" y="231"/>
                    <a:pt x="31" y="229"/>
                    <a:pt x="24" y="226"/>
                  </a:cubicBezTo>
                  <a:cubicBezTo>
                    <a:pt x="10" y="218"/>
                    <a:pt x="0" y="203"/>
                    <a:pt x="0" y="18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6" y="0"/>
                    <a:pt x="166" y="0"/>
                    <a:pt x="166" y="0"/>
                  </a:cubicBezTo>
                </a:path>
              </a:pathLst>
            </a:custGeom>
            <a:solidFill>
              <a:srgbClr val="5699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0" name="任意多边形: 形状 279">
              <a:extLst>
                <a:ext uri="{FF2B5EF4-FFF2-40B4-BE49-F238E27FC236}">
                  <a16:creationId xmlns:a16="http://schemas.microsoft.com/office/drawing/2014/main" id="{4D94C4F1-6A43-4089-AFE5-9877AAB583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3604" y="3779823"/>
              <a:ext cx="171802" cy="252052"/>
            </a:xfrm>
            <a:custGeom>
              <a:avLst/>
              <a:gdLst>
                <a:gd name="T0" fmla="*/ 42 w 73"/>
                <a:gd name="T1" fmla="*/ 107 h 107"/>
                <a:gd name="T2" fmla="*/ 0 w 73"/>
                <a:gd name="T3" fmla="*/ 107 h 107"/>
                <a:gd name="T4" fmla="*/ 0 w 73"/>
                <a:gd name="T5" fmla="*/ 0 h 107"/>
                <a:gd name="T6" fmla="*/ 42 w 73"/>
                <a:gd name="T7" fmla="*/ 0 h 107"/>
                <a:gd name="T8" fmla="*/ 73 w 73"/>
                <a:gd name="T9" fmla="*/ 32 h 107"/>
                <a:gd name="T10" fmla="*/ 73 w 73"/>
                <a:gd name="T11" fmla="*/ 76 h 107"/>
                <a:gd name="T12" fmla="*/ 42 w 73"/>
                <a:gd name="T13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107">
                  <a:moveTo>
                    <a:pt x="42" y="107"/>
                  </a:moveTo>
                  <a:cubicBezTo>
                    <a:pt x="0" y="107"/>
                    <a:pt x="0" y="107"/>
                    <a:pt x="0" y="10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59" y="0"/>
                    <a:pt x="73" y="14"/>
                    <a:pt x="73" y="32"/>
                  </a:cubicBezTo>
                  <a:cubicBezTo>
                    <a:pt x="73" y="76"/>
                    <a:pt x="73" y="76"/>
                    <a:pt x="73" y="76"/>
                  </a:cubicBezTo>
                  <a:cubicBezTo>
                    <a:pt x="73" y="93"/>
                    <a:pt x="59" y="107"/>
                    <a:pt x="42" y="107"/>
                  </a:cubicBezTo>
                  <a:close/>
                </a:path>
              </a:pathLst>
            </a:custGeom>
            <a:noFill/>
            <a:ln w="52388" cap="flat">
              <a:solidFill>
                <a:srgbClr val="5699E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1" name="任意多边形: 形状 280">
              <a:extLst>
                <a:ext uri="{FF2B5EF4-FFF2-40B4-BE49-F238E27FC236}">
                  <a16:creationId xmlns:a16="http://schemas.microsoft.com/office/drawing/2014/main" id="{D75A4EAE-4BC2-4A77-9FBB-E4A678111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5901" y="3290413"/>
              <a:ext cx="63296" cy="201190"/>
            </a:xfrm>
            <a:custGeom>
              <a:avLst/>
              <a:gdLst>
                <a:gd name="T0" fmla="*/ 22 w 27"/>
                <a:gd name="T1" fmla="*/ 0 h 86"/>
                <a:gd name="T2" fmla="*/ 20 w 27"/>
                <a:gd name="T3" fmla="*/ 2 h 86"/>
                <a:gd name="T4" fmla="*/ 20 w 27"/>
                <a:gd name="T5" fmla="*/ 2 h 86"/>
                <a:gd name="T6" fmla="*/ 13 w 27"/>
                <a:gd name="T7" fmla="*/ 21 h 86"/>
                <a:gd name="T8" fmla="*/ 4 w 27"/>
                <a:gd name="T9" fmla="*/ 40 h 86"/>
                <a:gd name="T10" fmla="*/ 1 w 27"/>
                <a:gd name="T11" fmla="*/ 46 h 86"/>
                <a:gd name="T12" fmla="*/ 0 w 27"/>
                <a:gd name="T13" fmla="*/ 50 h 86"/>
                <a:gd name="T14" fmla="*/ 0 w 27"/>
                <a:gd name="T15" fmla="*/ 54 h 86"/>
                <a:gd name="T16" fmla="*/ 3 w 27"/>
                <a:gd name="T17" fmla="*/ 68 h 86"/>
                <a:gd name="T18" fmla="*/ 20 w 27"/>
                <a:gd name="T19" fmla="*/ 85 h 86"/>
                <a:gd name="T20" fmla="*/ 21 w 27"/>
                <a:gd name="T21" fmla="*/ 86 h 86"/>
                <a:gd name="T22" fmla="*/ 22 w 27"/>
                <a:gd name="T23" fmla="*/ 86 h 86"/>
                <a:gd name="T24" fmla="*/ 23 w 27"/>
                <a:gd name="T25" fmla="*/ 83 h 86"/>
                <a:gd name="T26" fmla="*/ 23 w 27"/>
                <a:gd name="T27" fmla="*/ 83 h 86"/>
                <a:gd name="T28" fmla="*/ 18 w 27"/>
                <a:gd name="T29" fmla="*/ 62 h 86"/>
                <a:gd name="T30" fmla="*/ 17 w 27"/>
                <a:gd name="T31" fmla="*/ 55 h 86"/>
                <a:gd name="T32" fmla="*/ 18 w 27"/>
                <a:gd name="T33" fmla="*/ 53 h 86"/>
                <a:gd name="T34" fmla="*/ 18 w 27"/>
                <a:gd name="T35" fmla="*/ 52 h 86"/>
                <a:gd name="T36" fmla="*/ 20 w 27"/>
                <a:gd name="T37" fmla="*/ 47 h 86"/>
                <a:gd name="T38" fmla="*/ 26 w 27"/>
                <a:gd name="T39" fmla="*/ 25 h 86"/>
                <a:gd name="T40" fmla="*/ 27 w 27"/>
                <a:gd name="T41" fmla="*/ 13 h 86"/>
                <a:gd name="T42" fmla="*/ 24 w 27"/>
                <a:gd name="T43" fmla="*/ 1 h 86"/>
                <a:gd name="T44" fmla="*/ 22 w 27"/>
                <a:gd name="T45" fmla="*/ 0 h 86"/>
                <a:gd name="T46" fmla="*/ 22 w 27"/>
                <a:gd name="T47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7" h="86">
                  <a:moveTo>
                    <a:pt x="22" y="0"/>
                  </a:moveTo>
                  <a:cubicBezTo>
                    <a:pt x="21" y="0"/>
                    <a:pt x="20" y="0"/>
                    <a:pt x="20" y="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9" y="9"/>
                    <a:pt x="16" y="15"/>
                    <a:pt x="13" y="21"/>
                  </a:cubicBezTo>
                  <a:cubicBezTo>
                    <a:pt x="10" y="27"/>
                    <a:pt x="7" y="34"/>
                    <a:pt x="4" y="40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1" y="47"/>
                    <a:pt x="1" y="48"/>
                    <a:pt x="0" y="50"/>
                  </a:cubicBezTo>
                  <a:cubicBezTo>
                    <a:pt x="0" y="51"/>
                    <a:pt x="0" y="53"/>
                    <a:pt x="0" y="54"/>
                  </a:cubicBezTo>
                  <a:cubicBezTo>
                    <a:pt x="0" y="59"/>
                    <a:pt x="1" y="64"/>
                    <a:pt x="3" y="68"/>
                  </a:cubicBezTo>
                  <a:cubicBezTo>
                    <a:pt x="7" y="75"/>
                    <a:pt x="13" y="81"/>
                    <a:pt x="20" y="85"/>
                  </a:cubicBezTo>
                  <a:cubicBezTo>
                    <a:pt x="21" y="86"/>
                    <a:pt x="21" y="86"/>
                    <a:pt x="21" y="86"/>
                  </a:cubicBezTo>
                  <a:cubicBezTo>
                    <a:pt x="21" y="86"/>
                    <a:pt x="22" y="86"/>
                    <a:pt x="22" y="86"/>
                  </a:cubicBezTo>
                  <a:cubicBezTo>
                    <a:pt x="23" y="85"/>
                    <a:pt x="24" y="84"/>
                    <a:pt x="23" y="83"/>
                  </a:cubicBezTo>
                  <a:cubicBezTo>
                    <a:pt x="23" y="83"/>
                    <a:pt x="23" y="83"/>
                    <a:pt x="23" y="83"/>
                  </a:cubicBezTo>
                  <a:cubicBezTo>
                    <a:pt x="22" y="75"/>
                    <a:pt x="19" y="68"/>
                    <a:pt x="18" y="62"/>
                  </a:cubicBezTo>
                  <a:cubicBezTo>
                    <a:pt x="17" y="59"/>
                    <a:pt x="17" y="57"/>
                    <a:pt x="17" y="55"/>
                  </a:cubicBezTo>
                  <a:cubicBezTo>
                    <a:pt x="18" y="54"/>
                    <a:pt x="17" y="54"/>
                    <a:pt x="18" y="53"/>
                  </a:cubicBezTo>
                  <a:cubicBezTo>
                    <a:pt x="18" y="53"/>
                    <a:pt x="18" y="53"/>
                    <a:pt x="18" y="52"/>
                  </a:cubicBezTo>
                  <a:cubicBezTo>
                    <a:pt x="20" y="47"/>
                    <a:pt x="20" y="47"/>
                    <a:pt x="20" y="47"/>
                  </a:cubicBezTo>
                  <a:cubicBezTo>
                    <a:pt x="23" y="40"/>
                    <a:pt x="25" y="33"/>
                    <a:pt x="26" y="25"/>
                  </a:cubicBezTo>
                  <a:cubicBezTo>
                    <a:pt x="27" y="21"/>
                    <a:pt x="27" y="17"/>
                    <a:pt x="27" y="13"/>
                  </a:cubicBezTo>
                  <a:cubicBezTo>
                    <a:pt x="27" y="9"/>
                    <a:pt x="26" y="4"/>
                    <a:pt x="24" y="1"/>
                  </a:cubicBezTo>
                  <a:cubicBezTo>
                    <a:pt x="23" y="0"/>
                    <a:pt x="23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</a:path>
              </a:pathLst>
            </a:custGeom>
            <a:solidFill>
              <a:srgbClr val="9AC1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2" name="任意多边形: 形状 281">
              <a:extLst>
                <a:ext uri="{FF2B5EF4-FFF2-40B4-BE49-F238E27FC236}">
                  <a16:creationId xmlns:a16="http://schemas.microsoft.com/office/drawing/2014/main" id="{1B5BAE62-455A-47C9-93B9-FF81F4D4BE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6055" y="3348057"/>
              <a:ext cx="61035" cy="176323"/>
            </a:xfrm>
            <a:custGeom>
              <a:avLst/>
              <a:gdLst>
                <a:gd name="T0" fmla="*/ 5 w 26"/>
                <a:gd name="T1" fmla="*/ 0 h 75"/>
                <a:gd name="T2" fmla="*/ 4 w 26"/>
                <a:gd name="T3" fmla="*/ 1 h 75"/>
                <a:gd name="T4" fmla="*/ 0 w 26"/>
                <a:gd name="T5" fmla="*/ 11 h 75"/>
                <a:gd name="T6" fmla="*/ 1 w 26"/>
                <a:gd name="T7" fmla="*/ 22 h 75"/>
                <a:gd name="T8" fmla="*/ 6 w 26"/>
                <a:gd name="T9" fmla="*/ 42 h 75"/>
                <a:gd name="T10" fmla="*/ 8 w 26"/>
                <a:gd name="T11" fmla="*/ 46 h 75"/>
                <a:gd name="T12" fmla="*/ 8 w 26"/>
                <a:gd name="T13" fmla="*/ 47 h 75"/>
                <a:gd name="T14" fmla="*/ 8 w 26"/>
                <a:gd name="T15" fmla="*/ 48 h 75"/>
                <a:gd name="T16" fmla="*/ 8 w 26"/>
                <a:gd name="T17" fmla="*/ 54 h 75"/>
                <a:gd name="T18" fmla="*/ 4 w 26"/>
                <a:gd name="T19" fmla="*/ 72 h 75"/>
                <a:gd name="T20" fmla="*/ 4 w 26"/>
                <a:gd name="T21" fmla="*/ 72 h 75"/>
                <a:gd name="T22" fmla="*/ 4 w 26"/>
                <a:gd name="T23" fmla="*/ 74 h 75"/>
                <a:gd name="T24" fmla="*/ 6 w 26"/>
                <a:gd name="T25" fmla="*/ 75 h 75"/>
                <a:gd name="T26" fmla="*/ 7 w 26"/>
                <a:gd name="T27" fmla="*/ 75 h 75"/>
                <a:gd name="T28" fmla="*/ 23 w 26"/>
                <a:gd name="T29" fmla="*/ 60 h 75"/>
                <a:gd name="T30" fmla="*/ 26 w 26"/>
                <a:gd name="T31" fmla="*/ 47 h 75"/>
                <a:gd name="T32" fmla="*/ 25 w 26"/>
                <a:gd name="T33" fmla="*/ 43 h 75"/>
                <a:gd name="T34" fmla="*/ 24 w 26"/>
                <a:gd name="T35" fmla="*/ 39 h 75"/>
                <a:gd name="T36" fmla="*/ 22 w 26"/>
                <a:gd name="T37" fmla="*/ 35 h 75"/>
                <a:gd name="T38" fmla="*/ 14 w 26"/>
                <a:gd name="T39" fmla="*/ 18 h 75"/>
                <a:gd name="T40" fmla="*/ 7 w 26"/>
                <a:gd name="T41" fmla="*/ 2 h 75"/>
                <a:gd name="T42" fmla="*/ 7 w 26"/>
                <a:gd name="T43" fmla="*/ 1 h 75"/>
                <a:gd name="T44" fmla="*/ 6 w 26"/>
                <a:gd name="T45" fmla="*/ 0 h 75"/>
                <a:gd name="T46" fmla="*/ 5 w 26"/>
                <a:gd name="T4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" h="75">
                  <a:moveTo>
                    <a:pt x="5" y="0"/>
                  </a:moveTo>
                  <a:cubicBezTo>
                    <a:pt x="5" y="0"/>
                    <a:pt x="4" y="0"/>
                    <a:pt x="4" y="1"/>
                  </a:cubicBezTo>
                  <a:cubicBezTo>
                    <a:pt x="2" y="4"/>
                    <a:pt x="1" y="8"/>
                    <a:pt x="0" y="11"/>
                  </a:cubicBezTo>
                  <a:cubicBezTo>
                    <a:pt x="0" y="15"/>
                    <a:pt x="0" y="19"/>
                    <a:pt x="1" y="22"/>
                  </a:cubicBezTo>
                  <a:cubicBezTo>
                    <a:pt x="2" y="29"/>
                    <a:pt x="4" y="36"/>
                    <a:pt x="6" y="42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7"/>
                  </a:cubicBezTo>
                  <a:cubicBezTo>
                    <a:pt x="8" y="48"/>
                    <a:pt x="8" y="48"/>
                    <a:pt x="8" y="48"/>
                  </a:cubicBezTo>
                  <a:cubicBezTo>
                    <a:pt x="8" y="49"/>
                    <a:pt x="8" y="52"/>
                    <a:pt x="8" y="54"/>
                  </a:cubicBezTo>
                  <a:cubicBezTo>
                    <a:pt x="7" y="59"/>
                    <a:pt x="5" y="65"/>
                    <a:pt x="4" y="72"/>
                  </a:cubicBezTo>
                  <a:cubicBezTo>
                    <a:pt x="4" y="72"/>
                    <a:pt x="4" y="72"/>
                    <a:pt x="4" y="72"/>
                  </a:cubicBezTo>
                  <a:cubicBezTo>
                    <a:pt x="4" y="73"/>
                    <a:pt x="4" y="73"/>
                    <a:pt x="4" y="74"/>
                  </a:cubicBezTo>
                  <a:cubicBezTo>
                    <a:pt x="4" y="74"/>
                    <a:pt x="5" y="75"/>
                    <a:pt x="6" y="75"/>
                  </a:cubicBezTo>
                  <a:cubicBezTo>
                    <a:pt x="6" y="75"/>
                    <a:pt x="7" y="75"/>
                    <a:pt x="7" y="75"/>
                  </a:cubicBezTo>
                  <a:cubicBezTo>
                    <a:pt x="14" y="71"/>
                    <a:pt x="19" y="66"/>
                    <a:pt x="23" y="60"/>
                  </a:cubicBezTo>
                  <a:cubicBezTo>
                    <a:pt x="24" y="56"/>
                    <a:pt x="26" y="52"/>
                    <a:pt x="26" y="47"/>
                  </a:cubicBezTo>
                  <a:cubicBezTo>
                    <a:pt x="26" y="46"/>
                    <a:pt x="26" y="45"/>
                    <a:pt x="25" y="43"/>
                  </a:cubicBezTo>
                  <a:cubicBezTo>
                    <a:pt x="25" y="42"/>
                    <a:pt x="25" y="40"/>
                    <a:pt x="24" y="39"/>
                  </a:cubicBezTo>
                  <a:cubicBezTo>
                    <a:pt x="22" y="35"/>
                    <a:pt x="22" y="35"/>
                    <a:pt x="22" y="35"/>
                  </a:cubicBezTo>
                  <a:cubicBezTo>
                    <a:pt x="20" y="29"/>
                    <a:pt x="17" y="24"/>
                    <a:pt x="14" y="18"/>
                  </a:cubicBezTo>
                  <a:cubicBezTo>
                    <a:pt x="12" y="13"/>
                    <a:pt x="9" y="8"/>
                    <a:pt x="7" y="2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</a:path>
              </a:pathLst>
            </a:custGeom>
            <a:solidFill>
              <a:srgbClr val="9AC1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3" name="任意多边形: 形状 282">
              <a:extLst>
                <a:ext uri="{FF2B5EF4-FFF2-40B4-BE49-F238E27FC236}">
                  <a16:creationId xmlns:a16="http://schemas.microsoft.com/office/drawing/2014/main" id="{26A7D418-7021-4621-AACE-0902296DF50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2509" y="3967450"/>
              <a:ext cx="84771" cy="209102"/>
            </a:xfrm>
            <a:custGeom>
              <a:avLst/>
              <a:gdLst>
                <a:gd name="T0" fmla="*/ 12 w 36"/>
                <a:gd name="T1" fmla="*/ 0 h 89"/>
                <a:gd name="T2" fmla="*/ 0 w 36"/>
                <a:gd name="T3" fmla="*/ 89 h 89"/>
                <a:gd name="T4" fmla="*/ 7 w 36"/>
                <a:gd name="T5" fmla="*/ 89 h 89"/>
                <a:gd name="T6" fmla="*/ 26 w 36"/>
                <a:gd name="T7" fmla="*/ 89 h 89"/>
                <a:gd name="T8" fmla="*/ 30 w 36"/>
                <a:gd name="T9" fmla="*/ 38 h 89"/>
                <a:gd name="T10" fmla="*/ 12 w 36"/>
                <a:gd name="T11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89">
                  <a:moveTo>
                    <a:pt x="12" y="0"/>
                  </a:moveTo>
                  <a:cubicBezTo>
                    <a:pt x="23" y="17"/>
                    <a:pt x="2" y="82"/>
                    <a:pt x="0" y="89"/>
                  </a:cubicBezTo>
                  <a:cubicBezTo>
                    <a:pt x="2" y="89"/>
                    <a:pt x="4" y="89"/>
                    <a:pt x="7" y="89"/>
                  </a:cubicBezTo>
                  <a:cubicBezTo>
                    <a:pt x="26" y="89"/>
                    <a:pt x="26" y="89"/>
                    <a:pt x="26" y="89"/>
                  </a:cubicBezTo>
                  <a:cubicBezTo>
                    <a:pt x="25" y="78"/>
                    <a:pt x="26" y="60"/>
                    <a:pt x="30" y="38"/>
                  </a:cubicBezTo>
                  <a:cubicBezTo>
                    <a:pt x="36" y="7"/>
                    <a:pt x="19" y="1"/>
                    <a:pt x="12" y="0"/>
                  </a:cubicBezTo>
                </a:path>
              </a:pathLst>
            </a:custGeom>
            <a:solidFill>
              <a:srgbClr val="427B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4" name="任意多边形: 形状 283">
              <a:extLst>
                <a:ext uri="{FF2B5EF4-FFF2-40B4-BE49-F238E27FC236}">
                  <a16:creationId xmlns:a16="http://schemas.microsoft.com/office/drawing/2014/main" id="{0E8DD8F4-100E-4C87-80D3-313AA75A90C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9654" y="3944844"/>
              <a:ext cx="293872" cy="360559"/>
            </a:xfrm>
            <a:custGeom>
              <a:avLst/>
              <a:gdLst>
                <a:gd name="T0" fmla="*/ 0 w 125"/>
                <a:gd name="T1" fmla="*/ 110 h 154"/>
                <a:gd name="T2" fmla="*/ 52 w 125"/>
                <a:gd name="T3" fmla="*/ 6 h 154"/>
                <a:gd name="T4" fmla="*/ 43 w 125"/>
                <a:gd name="T5" fmla="*/ 99 h 154"/>
                <a:gd name="T6" fmla="*/ 125 w 125"/>
                <a:gd name="T7" fmla="*/ 99 h 154"/>
                <a:gd name="T8" fmla="*/ 92 w 125"/>
                <a:gd name="T9" fmla="*/ 154 h 154"/>
                <a:gd name="T10" fmla="*/ 0 w 125"/>
                <a:gd name="T11" fmla="*/ 11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5" h="154">
                  <a:moveTo>
                    <a:pt x="0" y="110"/>
                  </a:moveTo>
                  <a:cubicBezTo>
                    <a:pt x="0" y="110"/>
                    <a:pt x="30" y="0"/>
                    <a:pt x="52" y="6"/>
                  </a:cubicBezTo>
                  <a:cubicBezTo>
                    <a:pt x="73" y="12"/>
                    <a:pt x="43" y="99"/>
                    <a:pt x="43" y="99"/>
                  </a:cubicBezTo>
                  <a:cubicBezTo>
                    <a:pt x="125" y="99"/>
                    <a:pt x="125" y="99"/>
                    <a:pt x="125" y="99"/>
                  </a:cubicBezTo>
                  <a:cubicBezTo>
                    <a:pt x="125" y="99"/>
                    <a:pt x="109" y="154"/>
                    <a:pt x="92" y="154"/>
                  </a:cubicBezTo>
                  <a:cubicBezTo>
                    <a:pt x="0" y="110"/>
                    <a:pt x="0" y="110"/>
                    <a:pt x="0" y="110"/>
                  </a:cubicBezTo>
                </a:path>
              </a:pathLst>
            </a:custGeom>
            <a:solidFill>
              <a:srgbClr val="FFB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5" name="任意多边形: 形状 284">
              <a:extLst>
                <a:ext uri="{FF2B5EF4-FFF2-40B4-BE49-F238E27FC236}">
                  <a16:creationId xmlns:a16="http://schemas.microsoft.com/office/drawing/2014/main" id="{68221ED9-683F-4697-B925-2BD11F48508B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8668" y="4278277"/>
              <a:ext cx="1285127" cy="560618"/>
            </a:xfrm>
            <a:custGeom>
              <a:avLst/>
              <a:gdLst>
                <a:gd name="T0" fmla="*/ 525 w 547"/>
                <a:gd name="T1" fmla="*/ 0 h 239"/>
                <a:gd name="T2" fmla="*/ 266 w 547"/>
                <a:gd name="T3" fmla="*/ 210 h 239"/>
                <a:gd name="T4" fmla="*/ 224 w 547"/>
                <a:gd name="T5" fmla="*/ 215 h 239"/>
                <a:gd name="T6" fmla="*/ 0 w 547"/>
                <a:gd name="T7" fmla="*/ 133 h 239"/>
                <a:gd name="T8" fmla="*/ 256 w 547"/>
                <a:gd name="T9" fmla="*/ 239 h 239"/>
                <a:gd name="T10" fmla="*/ 282 w 547"/>
                <a:gd name="T11" fmla="*/ 237 h 239"/>
                <a:gd name="T12" fmla="*/ 547 w 547"/>
                <a:gd name="T13" fmla="*/ 10 h 239"/>
                <a:gd name="T14" fmla="*/ 525 w 547"/>
                <a:gd name="T15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47" h="239">
                  <a:moveTo>
                    <a:pt x="525" y="0"/>
                  </a:moveTo>
                  <a:cubicBezTo>
                    <a:pt x="525" y="0"/>
                    <a:pt x="387" y="184"/>
                    <a:pt x="266" y="210"/>
                  </a:cubicBezTo>
                  <a:cubicBezTo>
                    <a:pt x="252" y="213"/>
                    <a:pt x="238" y="215"/>
                    <a:pt x="224" y="215"/>
                  </a:cubicBezTo>
                  <a:cubicBezTo>
                    <a:pt x="114" y="215"/>
                    <a:pt x="0" y="133"/>
                    <a:pt x="0" y="133"/>
                  </a:cubicBezTo>
                  <a:cubicBezTo>
                    <a:pt x="0" y="133"/>
                    <a:pt x="119" y="239"/>
                    <a:pt x="256" y="239"/>
                  </a:cubicBezTo>
                  <a:cubicBezTo>
                    <a:pt x="265" y="239"/>
                    <a:pt x="274" y="238"/>
                    <a:pt x="282" y="237"/>
                  </a:cubicBezTo>
                  <a:cubicBezTo>
                    <a:pt x="478" y="218"/>
                    <a:pt x="547" y="10"/>
                    <a:pt x="547" y="10"/>
                  </a:cubicBezTo>
                  <a:cubicBezTo>
                    <a:pt x="525" y="0"/>
                    <a:pt x="525" y="0"/>
                    <a:pt x="525" y="0"/>
                  </a:cubicBezTo>
                </a:path>
              </a:pathLst>
            </a:custGeom>
            <a:solidFill>
              <a:srgbClr val="241A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6" name="任意多边形: 形状 285">
              <a:extLst>
                <a:ext uri="{FF2B5EF4-FFF2-40B4-BE49-F238E27FC236}">
                  <a16:creationId xmlns:a16="http://schemas.microsoft.com/office/drawing/2014/main" id="{64BE34D4-8091-4B2E-91D2-6E2E0363D7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1811" y="2496958"/>
              <a:ext cx="1488577" cy="1482925"/>
            </a:xfrm>
            <a:custGeom>
              <a:avLst/>
              <a:gdLst>
                <a:gd name="T0" fmla="*/ 634 w 634"/>
                <a:gd name="T1" fmla="*/ 524 h 632"/>
                <a:gd name="T2" fmla="*/ 610 w 634"/>
                <a:gd name="T3" fmla="*/ 557 h 632"/>
                <a:gd name="T4" fmla="*/ 558 w 634"/>
                <a:gd name="T5" fmla="*/ 632 h 632"/>
                <a:gd name="T6" fmla="*/ 522 w 634"/>
                <a:gd name="T7" fmla="*/ 585 h 632"/>
                <a:gd name="T8" fmla="*/ 178 w 634"/>
                <a:gd name="T9" fmla="*/ 486 h 632"/>
                <a:gd name="T10" fmla="*/ 0 w 634"/>
                <a:gd name="T11" fmla="*/ 39 h 632"/>
                <a:gd name="T12" fmla="*/ 144 w 634"/>
                <a:gd name="T13" fmla="*/ 0 h 632"/>
                <a:gd name="T14" fmla="*/ 384 w 634"/>
                <a:gd name="T15" fmla="*/ 411 h 632"/>
                <a:gd name="T16" fmla="*/ 634 w 634"/>
                <a:gd name="T17" fmla="*/ 524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4" h="632">
                  <a:moveTo>
                    <a:pt x="634" y="524"/>
                  </a:moveTo>
                  <a:cubicBezTo>
                    <a:pt x="610" y="557"/>
                    <a:pt x="610" y="557"/>
                    <a:pt x="610" y="557"/>
                  </a:cubicBezTo>
                  <a:cubicBezTo>
                    <a:pt x="558" y="632"/>
                    <a:pt x="558" y="632"/>
                    <a:pt x="558" y="632"/>
                  </a:cubicBezTo>
                  <a:cubicBezTo>
                    <a:pt x="554" y="610"/>
                    <a:pt x="541" y="595"/>
                    <a:pt x="522" y="585"/>
                  </a:cubicBezTo>
                  <a:cubicBezTo>
                    <a:pt x="450" y="547"/>
                    <a:pt x="290" y="568"/>
                    <a:pt x="178" y="486"/>
                  </a:cubicBezTo>
                  <a:cubicBezTo>
                    <a:pt x="51" y="392"/>
                    <a:pt x="0" y="39"/>
                    <a:pt x="0" y="39"/>
                  </a:cubicBezTo>
                  <a:cubicBezTo>
                    <a:pt x="144" y="0"/>
                    <a:pt x="144" y="0"/>
                    <a:pt x="144" y="0"/>
                  </a:cubicBezTo>
                  <a:cubicBezTo>
                    <a:pt x="165" y="186"/>
                    <a:pt x="232" y="379"/>
                    <a:pt x="384" y="411"/>
                  </a:cubicBezTo>
                  <a:cubicBezTo>
                    <a:pt x="509" y="437"/>
                    <a:pt x="634" y="524"/>
                    <a:pt x="634" y="524"/>
                  </a:cubicBezTo>
                </a:path>
              </a:pathLst>
            </a:custGeom>
            <a:solidFill>
              <a:srgbClr val="FF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7" name="任意多边形: 形状 286">
              <a:extLst>
                <a:ext uri="{FF2B5EF4-FFF2-40B4-BE49-F238E27FC236}">
                  <a16:creationId xmlns:a16="http://schemas.microsoft.com/office/drawing/2014/main" id="{1A8EF268-E4A5-4CF8-A2CC-427982EA20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0854" y="2619028"/>
              <a:ext cx="348126" cy="44081"/>
            </a:xfrm>
            <a:custGeom>
              <a:avLst/>
              <a:gdLst>
                <a:gd name="T0" fmla="*/ 0 w 148"/>
                <a:gd name="T1" fmla="*/ 11 h 19"/>
                <a:gd name="T2" fmla="*/ 0 w 148"/>
                <a:gd name="T3" fmla="*/ 11 h 19"/>
                <a:gd name="T4" fmla="*/ 2 w 148"/>
                <a:gd name="T5" fmla="*/ 19 h 19"/>
                <a:gd name="T6" fmla="*/ 2 w 148"/>
                <a:gd name="T7" fmla="*/ 19 h 19"/>
                <a:gd name="T8" fmla="*/ 0 w 148"/>
                <a:gd name="T9" fmla="*/ 11 h 19"/>
                <a:gd name="T10" fmla="*/ 147 w 148"/>
                <a:gd name="T11" fmla="*/ 0 h 19"/>
                <a:gd name="T12" fmla="*/ 148 w 148"/>
                <a:gd name="T13" fmla="*/ 8 h 19"/>
                <a:gd name="T14" fmla="*/ 148 w 148"/>
                <a:gd name="T15" fmla="*/ 8 h 19"/>
                <a:gd name="T16" fmla="*/ 147 w 148"/>
                <a:gd name="T1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8" h="19">
                  <a:moveTo>
                    <a:pt x="0" y="11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1" y="14"/>
                    <a:pt x="1" y="16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1" y="16"/>
                    <a:pt x="1" y="14"/>
                    <a:pt x="0" y="11"/>
                  </a:cubicBezTo>
                  <a:moveTo>
                    <a:pt x="147" y="0"/>
                  </a:moveTo>
                  <a:cubicBezTo>
                    <a:pt x="147" y="2"/>
                    <a:pt x="148" y="5"/>
                    <a:pt x="148" y="8"/>
                  </a:cubicBezTo>
                  <a:cubicBezTo>
                    <a:pt x="148" y="8"/>
                    <a:pt x="148" y="8"/>
                    <a:pt x="148" y="8"/>
                  </a:cubicBezTo>
                  <a:cubicBezTo>
                    <a:pt x="148" y="5"/>
                    <a:pt x="147" y="2"/>
                    <a:pt x="147" y="0"/>
                  </a:cubicBezTo>
                </a:path>
              </a:pathLst>
            </a:custGeom>
            <a:solidFill>
              <a:srgbClr val="9C3F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8" name="任意多边形: 形状 287">
              <a:extLst>
                <a:ext uri="{FF2B5EF4-FFF2-40B4-BE49-F238E27FC236}">
                  <a16:creationId xmlns:a16="http://schemas.microsoft.com/office/drawing/2014/main" id="{9C57F967-89E0-424E-B59D-9BF11860DB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0854" y="2616768"/>
              <a:ext cx="348126" cy="46342"/>
            </a:xfrm>
            <a:custGeom>
              <a:avLst/>
              <a:gdLst>
                <a:gd name="T0" fmla="*/ 147 w 148"/>
                <a:gd name="T1" fmla="*/ 0 h 20"/>
                <a:gd name="T2" fmla="*/ 0 w 148"/>
                <a:gd name="T3" fmla="*/ 12 h 20"/>
                <a:gd name="T4" fmla="*/ 2 w 148"/>
                <a:gd name="T5" fmla="*/ 20 h 20"/>
                <a:gd name="T6" fmla="*/ 148 w 148"/>
                <a:gd name="T7" fmla="*/ 9 h 20"/>
                <a:gd name="T8" fmla="*/ 147 w 148"/>
                <a:gd name="T9" fmla="*/ 1 h 20"/>
                <a:gd name="T10" fmla="*/ 147 w 148"/>
                <a:gd name="T11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8" h="20">
                  <a:moveTo>
                    <a:pt x="147" y="0"/>
                  </a:moveTo>
                  <a:cubicBezTo>
                    <a:pt x="98" y="4"/>
                    <a:pt x="49" y="8"/>
                    <a:pt x="0" y="12"/>
                  </a:cubicBezTo>
                  <a:cubicBezTo>
                    <a:pt x="1" y="15"/>
                    <a:pt x="1" y="17"/>
                    <a:pt x="2" y="20"/>
                  </a:cubicBezTo>
                  <a:cubicBezTo>
                    <a:pt x="50" y="16"/>
                    <a:pt x="99" y="13"/>
                    <a:pt x="148" y="9"/>
                  </a:cubicBezTo>
                  <a:cubicBezTo>
                    <a:pt x="148" y="6"/>
                    <a:pt x="147" y="3"/>
                    <a:pt x="147" y="1"/>
                  </a:cubicBezTo>
                  <a:cubicBezTo>
                    <a:pt x="147" y="1"/>
                    <a:pt x="147" y="1"/>
                    <a:pt x="147" y="0"/>
                  </a:cubicBezTo>
                </a:path>
              </a:pathLst>
            </a:custGeom>
            <a:solidFill>
              <a:srgbClr val="FF53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0" name="任意多边形: 形状 289">
              <a:extLst>
                <a:ext uri="{FF2B5EF4-FFF2-40B4-BE49-F238E27FC236}">
                  <a16:creationId xmlns:a16="http://schemas.microsoft.com/office/drawing/2014/main" id="{F988A389-DC27-4B99-B6CC-8E01562781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895784" y="5554360"/>
              <a:ext cx="690600" cy="525580"/>
            </a:xfrm>
            <a:custGeom>
              <a:avLst/>
              <a:gdLst>
                <a:gd name="T0" fmla="*/ 294 w 294"/>
                <a:gd name="T1" fmla="*/ 99 h 224"/>
                <a:gd name="T2" fmla="*/ 223 w 294"/>
                <a:gd name="T3" fmla="*/ 148 h 224"/>
                <a:gd name="T4" fmla="*/ 88 w 294"/>
                <a:gd name="T5" fmla="*/ 209 h 224"/>
                <a:gd name="T6" fmla="*/ 0 w 294"/>
                <a:gd name="T7" fmla="*/ 166 h 224"/>
                <a:gd name="T8" fmla="*/ 0 w 294"/>
                <a:gd name="T9" fmla="*/ 166 h 224"/>
                <a:gd name="T10" fmla="*/ 0 w 294"/>
                <a:gd name="T11" fmla="*/ 165 h 224"/>
                <a:gd name="T12" fmla="*/ 111 w 294"/>
                <a:gd name="T13" fmla="*/ 0 h 224"/>
                <a:gd name="T14" fmla="*/ 144 w 294"/>
                <a:gd name="T15" fmla="*/ 5 h 224"/>
                <a:gd name="T16" fmla="*/ 208 w 294"/>
                <a:gd name="T17" fmla="*/ 19 h 224"/>
                <a:gd name="T18" fmla="*/ 294 w 294"/>
                <a:gd name="T19" fmla="*/ 99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4" h="224">
                  <a:moveTo>
                    <a:pt x="294" y="99"/>
                  </a:moveTo>
                  <a:cubicBezTo>
                    <a:pt x="294" y="99"/>
                    <a:pt x="245" y="90"/>
                    <a:pt x="223" y="148"/>
                  </a:cubicBezTo>
                  <a:cubicBezTo>
                    <a:pt x="202" y="206"/>
                    <a:pt x="135" y="224"/>
                    <a:pt x="88" y="209"/>
                  </a:cubicBezTo>
                  <a:cubicBezTo>
                    <a:pt x="41" y="195"/>
                    <a:pt x="0" y="166"/>
                    <a:pt x="0" y="166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3" y="161"/>
                    <a:pt x="111" y="22"/>
                    <a:pt x="111" y="0"/>
                  </a:cubicBezTo>
                  <a:cubicBezTo>
                    <a:pt x="111" y="0"/>
                    <a:pt x="122" y="1"/>
                    <a:pt x="144" y="5"/>
                  </a:cubicBezTo>
                  <a:cubicBezTo>
                    <a:pt x="160" y="8"/>
                    <a:pt x="182" y="12"/>
                    <a:pt x="208" y="19"/>
                  </a:cubicBezTo>
                  <a:cubicBezTo>
                    <a:pt x="272" y="37"/>
                    <a:pt x="294" y="99"/>
                    <a:pt x="294" y="99"/>
                  </a:cubicBezTo>
                </a:path>
              </a:pathLst>
            </a:custGeom>
            <a:solidFill>
              <a:srgbClr val="C7DB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1" name="任意多边形: 形状 290">
              <a:extLst>
                <a:ext uri="{FF2B5EF4-FFF2-40B4-BE49-F238E27FC236}">
                  <a16:creationId xmlns:a16="http://schemas.microsoft.com/office/drawing/2014/main" id="{CE0DBF7A-CD16-41B7-AF34-B3B7BF3FFC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58843" y="2466440"/>
              <a:ext cx="2965850" cy="2801960"/>
            </a:xfrm>
            <a:custGeom>
              <a:avLst/>
              <a:gdLst>
                <a:gd name="T0" fmla="*/ 805 w 1263"/>
                <a:gd name="T1" fmla="*/ 905 h 1194"/>
                <a:gd name="T2" fmla="*/ 806 w 1263"/>
                <a:gd name="T3" fmla="*/ 908 h 1194"/>
                <a:gd name="T4" fmla="*/ 821 w 1263"/>
                <a:gd name="T5" fmla="*/ 1031 h 1194"/>
                <a:gd name="T6" fmla="*/ 832 w 1263"/>
                <a:gd name="T7" fmla="*/ 1194 h 1194"/>
                <a:gd name="T8" fmla="*/ 1135 w 1263"/>
                <a:gd name="T9" fmla="*/ 1194 h 1194"/>
                <a:gd name="T10" fmla="*/ 1263 w 1263"/>
                <a:gd name="T11" fmla="*/ 923 h 1194"/>
                <a:gd name="T12" fmla="*/ 1087 w 1263"/>
                <a:gd name="T13" fmla="*/ 1009 h 1194"/>
                <a:gd name="T14" fmla="*/ 1061 w 1263"/>
                <a:gd name="T15" fmla="*/ 1011 h 1194"/>
                <a:gd name="T16" fmla="*/ 805 w 1263"/>
                <a:gd name="T17" fmla="*/ 905 h 1194"/>
                <a:gd name="T18" fmla="*/ 124 w 1263"/>
                <a:gd name="T19" fmla="*/ 484 h 1194"/>
                <a:gd name="T20" fmla="*/ 59 w 1263"/>
                <a:gd name="T21" fmla="*/ 561 h 1194"/>
                <a:gd name="T22" fmla="*/ 0 w 1263"/>
                <a:gd name="T23" fmla="*/ 738 h 1194"/>
                <a:gd name="T24" fmla="*/ 238 w 1263"/>
                <a:gd name="T25" fmla="*/ 1139 h 1194"/>
                <a:gd name="T26" fmla="*/ 336 w 1263"/>
                <a:gd name="T27" fmla="*/ 777 h 1194"/>
                <a:gd name="T28" fmla="*/ 500 w 1263"/>
                <a:gd name="T29" fmla="*/ 636 h 1194"/>
                <a:gd name="T30" fmla="*/ 500 w 1263"/>
                <a:gd name="T31" fmla="*/ 632 h 1194"/>
                <a:gd name="T32" fmla="*/ 489 w 1263"/>
                <a:gd name="T33" fmla="*/ 600 h 1194"/>
                <a:gd name="T34" fmla="*/ 485 w 1263"/>
                <a:gd name="T35" fmla="*/ 598 h 1194"/>
                <a:gd name="T36" fmla="*/ 369 w 1263"/>
                <a:gd name="T37" fmla="*/ 571 h 1194"/>
                <a:gd name="T38" fmla="*/ 369 w 1263"/>
                <a:gd name="T39" fmla="*/ 571 h 1194"/>
                <a:gd name="T40" fmla="*/ 361 w 1263"/>
                <a:gd name="T41" fmla="*/ 570 h 1194"/>
                <a:gd name="T42" fmla="*/ 361 w 1263"/>
                <a:gd name="T43" fmla="*/ 570 h 1194"/>
                <a:gd name="T44" fmla="*/ 142 w 1263"/>
                <a:gd name="T45" fmla="*/ 500 h 1194"/>
                <a:gd name="T46" fmla="*/ 141 w 1263"/>
                <a:gd name="T47" fmla="*/ 499 h 1194"/>
                <a:gd name="T48" fmla="*/ 140 w 1263"/>
                <a:gd name="T49" fmla="*/ 498 h 1194"/>
                <a:gd name="T50" fmla="*/ 124 w 1263"/>
                <a:gd name="T51" fmla="*/ 484 h 1194"/>
                <a:gd name="T52" fmla="*/ 381 w 1263"/>
                <a:gd name="T53" fmla="*/ 388 h 1194"/>
                <a:gd name="T54" fmla="*/ 281 w 1263"/>
                <a:gd name="T55" fmla="*/ 397 h 1194"/>
                <a:gd name="T56" fmla="*/ 347 w 1263"/>
                <a:gd name="T57" fmla="*/ 424 h 1194"/>
                <a:gd name="T58" fmla="*/ 450 w 1263"/>
                <a:gd name="T59" fmla="*/ 457 h 1194"/>
                <a:gd name="T60" fmla="*/ 416 w 1263"/>
                <a:gd name="T61" fmla="*/ 388 h 1194"/>
                <a:gd name="T62" fmla="*/ 413 w 1263"/>
                <a:gd name="T63" fmla="*/ 388 h 1194"/>
                <a:gd name="T64" fmla="*/ 381 w 1263"/>
                <a:gd name="T65" fmla="*/ 388 h 1194"/>
                <a:gd name="T66" fmla="*/ 857 w 1263"/>
                <a:gd name="T67" fmla="*/ 0 h 1194"/>
                <a:gd name="T68" fmla="*/ 857 w 1263"/>
                <a:gd name="T69" fmla="*/ 0 h 1194"/>
                <a:gd name="T70" fmla="*/ 736 w 1263"/>
                <a:gd name="T71" fmla="*/ 62 h 1194"/>
                <a:gd name="T72" fmla="*/ 742 w 1263"/>
                <a:gd name="T73" fmla="*/ 65 h 1194"/>
                <a:gd name="T74" fmla="*/ 794 w 1263"/>
                <a:gd name="T75" fmla="*/ 97 h 1194"/>
                <a:gd name="T76" fmla="*/ 870 w 1263"/>
                <a:gd name="T77" fmla="*/ 152 h 1194"/>
                <a:gd name="T78" fmla="*/ 810 w 1263"/>
                <a:gd name="T79" fmla="*/ 185 h 1194"/>
                <a:gd name="T80" fmla="*/ 876 w 1263"/>
                <a:gd name="T81" fmla="*/ 213 h 1194"/>
                <a:gd name="T82" fmla="*/ 779 w 1263"/>
                <a:gd name="T83" fmla="*/ 235 h 1194"/>
                <a:gd name="T84" fmla="*/ 785 w 1263"/>
                <a:gd name="T85" fmla="*/ 309 h 1194"/>
                <a:gd name="T86" fmla="*/ 805 w 1263"/>
                <a:gd name="T87" fmla="*/ 342 h 1194"/>
                <a:gd name="T88" fmla="*/ 804 w 1263"/>
                <a:gd name="T89" fmla="*/ 348 h 1194"/>
                <a:gd name="T90" fmla="*/ 772 w 1263"/>
                <a:gd name="T91" fmla="*/ 379 h 1194"/>
                <a:gd name="T92" fmla="*/ 771 w 1263"/>
                <a:gd name="T93" fmla="*/ 379 h 1194"/>
                <a:gd name="T94" fmla="*/ 762 w 1263"/>
                <a:gd name="T95" fmla="*/ 377 h 1194"/>
                <a:gd name="T96" fmla="*/ 703 w 1263"/>
                <a:gd name="T97" fmla="*/ 482 h 1194"/>
                <a:gd name="T98" fmla="*/ 625 w 1263"/>
                <a:gd name="T99" fmla="*/ 531 h 1194"/>
                <a:gd name="T100" fmla="*/ 625 w 1263"/>
                <a:gd name="T101" fmla="*/ 531 h 1194"/>
                <a:gd name="T102" fmla="*/ 617 w 1263"/>
                <a:gd name="T103" fmla="*/ 558 h 1194"/>
                <a:gd name="T104" fmla="*/ 655 w 1263"/>
                <a:gd name="T105" fmla="*/ 540 h 1194"/>
                <a:gd name="T106" fmla="*/ 669 w 1263"/>
                <a:gd name="T107" fmla="*/ 548 h 1194"/>
                <a:gd name="T108" fmla="*/ 691 w 1263"/>
                <a:gd name="T109" fmla="*/ 628 h 1194"/>
                <a:gd name="T110" fmla="*/ 1055 w 1263"/>
                <a:gd name="T111" fmla="*/ 851 h 1194"/>
                <a:gd name="T112" fmla="*/ 1083 w 1263"/>
                <a:gd name="T113" fmla="*/ 856 h 1194"/>
                <a:gd name="T114" fmla="*/ 1233 w 1263"/>
                <a:gd name="T115" fmla="*/ 725 h 1194"/>
                <a:gd name="T116" fmla="*/ 1250 w 1263"/>
                <a:gd name="T117" fmla="*/ 734 h 1194"/>
                <a:gd name="T118" fmla="*/ 1252 w 1263"/>
                <a:gd name="T119" fmla="*/ 725 h 1194"/>
                <a:gd name="T120" fmla="*/ 971 w 1263"/>
                <a:gd name="T121" fmla="*/ 402 h 1194"/>
                <a:gd name="T122" fmla="*/ 857 w 1263"/>
                <a:gd name="T123" fmla="*/ 0 h 1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63" h="1194">
                  <a:moveTo>
                    <a:pt x="805" y="905"/>
                  </a:moveTo>
                  <a:cubicBezTo>
                    <a:pt x="806" y="908"/>
                    <a:pt x="806" y="908"/>
                    <a:pt x="806" y="908"/>
                  </a:cubicBezTo>
                  <a:cubicBezTo>
                    <a:pt x="810" y="922"/>
                    <a:pt x="826" y="974"/>
                    <a:pt x="821" y="1031"/>
                  </a:cubicBezTo>
                  <a:cubicBezTo>
                    <a:pt x="817" y="1081"/>
                    <a:pt x="852" y="1145"/>
                    <a:pt x="832" y="1194"/>
                  </a:cubicBezTo>
                  <a:cubicBezTo>
                    <a:pt x="1135" y="1194"/>
                    <a:pt x="1135" y="1194"/>
                    <a:pt x="1135" y="1194"/>
                  </a:cubicBezTo>
                  <a:cubicBezTo>
                    <a:pt x="1149" y="1168"/>
                    <a:pt x="1206" y="1062"/>
                    <a:pt x="1263" y="923"/>
                  </a:cubicBezTo>
                  <a:cubicBezTo>
                    <a:pt x="1221" y="965"/>
                    <a:pt x="1164" y="1002"/>
                    <a:pt x="1087" y="1009"/>
                  </a:cubicBezTo>
                  <a:cubicBezTo>
                    <a:pt x="1079" y="1010"/>
                    <a:pt x="1070" y="1011"/>
                    <a:pt x="1061" y="1011"/>
                  </a:cubicBezTo>
                  <a:cubicBezTo>
                    <a:pt x="924" y="1011"/>
                    <a:pt x="805" y="905"/>
                    <a:pt x="805" y="905"/>
                  </a:cubicBezTo>
                  <a:moveTo>
                    <a:pt x="124" y="484"/>
                  </a:moveTo>
                  <a:cubicBezTo>
                    <a:pt x="102" y="505"/>
                    <a:pt x="81" y="530"/>
                    <a:pt x="59" y="561"/>
                  </a:cubicBezTo>
                  <a:cubicBezTo>
                    <a:pt x="17" y="620"/>
                    <a:pt x="0" y="680"/>
                    <a:pt x="0" y="738"/>
                  </a:cubicBezTo>
                  <a:cubicBezTo>
                    <a:pt x="0" y="907"/>
                    <a:pt x="145" y="1058"/>
                    <a:pt x="238" y="1139"/>
                  </a:cubicBezTo>
                  <a:cubicBezTo>
                    <a:pt x="214" y="997"/>
                    <a:pt x="268" y="867"/>
                    <a:pt x="336" y="777"/>
                  </a:cubicBezTo>
                  <a:cubicBezTo>
                    <a:pt x="394" y="701"/>
                    <a:pt x="463" y="656"/>
                    <a:pt x="500" y="636"/>
                  </a:cubicBezTo>
                  <a:cubicBezTo>
                    <a:pt x="500" y="634"/>
                    <a:pt x="500" y="633"/>
                    <a:pt x="500" y="632"/>
                  </a:cubicBezTo>
                  <a:cubicBezTo>
                    <a:pt x="499" y="630"/>
                    <a:pt x="489" y="620"/>
                    <a:pt x="489" y="600"/>
                  </a:cubicBezTo>
                  <a:cubicBezTo>
                    <a:pt x="488" y="600"/>
                    <a:pt x="486" y="599"/>
                    <a:pt x="485" y="598"/>
                  </a:cubicBezTo>
                  <a:cubicBezTo>
                    <a:pt x="457" y="583"/>
                    <a:pt x="416" y="577"/>
                    <a:pt x="369" y="571"/>
                  </a:cubicBezTo>
                  <a:cubicBezTo>
                    <a:pt x="369" y="571"/>
                    <a:pt x="369" y="571"/>
                    <a:pt x="369" y="571"/>
                  </a:cubicBezTo>
                  <a:cubicBezTo>
                    <a:pt x="366" y="570"/>
                    <a:pt x="364" y="570"/>
                    <a:pt x="361" y="570"/>
                  </a:cubicBezTo>
                  <a:cubicBezTo>
                    <a:pt x="361" y="570"/>
                    <a:pt x="361" y="570"/>
                    <a:pt x="361" y="570"/>
                  </a:cubicBezTo>
                  <a:cubicBezTo>
                    <a:pt x="290" y="560"/>
                    <a:pt x="207" y="547"/>
                    <a:pt x="142" y="500"/>
                  </a:cubicBezTo>
                  <a:cubicBezTo>
                    <a:pt x="141" y="499"/>
                    <a:pt x="141" y="499"/>
                    <a:pt x="141" y="499"/>
                  </a:cubicBezTo>
                  <a:cubicBezTo>
                    <a:pt x="140" y="499"/>
                    <a:pt x="140" y="498"/>
                    <a:pt x="140" y="498"/>
                  </a:cubicBezTo>
                  <a:cubicBezTo>
                    <a:pt x="134" y="494"/>
                    <a:pt x="129" y="489"/>
                    <a:pt x="124" y="484"/>
                  </a:cubicBezTo>
                  <a:moveTo>
                    <a:pt x="381" y="388"/>
                  </a:moveTo>
                  <a:cubicBezTo>
                    <a:pt x="349" y="388"/>
                    <a:pt x="315" y="390"/>
                    <a:pt x="281" y="397"/>
                  </a:cubicBezTo>
                  <a:cubicBezTo>
                    <a:pt x="301" y="410"/>
                    <a:pt x="323" y="419"/>
                    <a:pt x="347" y="424"/>
                  </a:cubicBezTo>
                  <a:cubicBezTo>
                    <a:pt x="382" y="431"/>
                    <a:pt x="417" y="444"/>
                    <a:pt x="450" y="457"/>
                  </a:cubicBezTo>
                  <a:cubicBezTo>
                    <a:pt x="436" y="437"/>
                    <a:pt x="424" y="414"/>
                    <a:pt x="416" y="388"/>
                  </a:cubicBezTo>
                  <a:cubicBezTo>
                    <a:pt x="415" y="388"/>
                    <a:pt x="414" y="388"/>
                    <a:pt x="413" y="388"/>
                  </a:cubicBezTo>
                  <a:cubicBezTo>
                    <a:pt x="403" y="388"/>
                    <a:pt x="392" y="388"/>
                    <a:pt x="381" y="388"/>
                  </a:cubicBezTo>
                  <a:moveTo>
                    <a:pt x="857" y="0"/>
                  </a:moveTo>
                  <a:cubicBezTo>
                    <a:pt x="857" y="0"/>
                    <a:pt x="857" y="0"/>
                    <a:pt x="857" y="0"/>
                  </a:cubicBezTo>
                  <a:cubicBezTo>
                    <a:pt x="810" y="14"/>
                    <a:pt x="770" y="36"/>
                    <a:pt x="736" y="62"/>
                  </a:cubicBezTo>
                  <a:cubicBezTo>
                    <a:pt x="738" y="63"/>
                    <a:pt x="740" y="64"/>
                    <a:pt x="742" y="65"/>
                  </a:cubicBezTo>
                  <a:cubicBezTo>
                    <a:pt x="761" y="76"/>
                    <a:pt x="778" y="87"/>
                    <a:pt x="794" y="97"/>
                  </a:cubicBezTo>
                  <a:cubicBezTo>
                    <a:pt x="839" y="127"/>
                    <a:pt x="870" y="152"/>
                    <a:pt x="870" y="152"/>
                  </a:cubicBezTo>
                  <a:cubicBezTo>
                    <a:pt x="865" y="179"/>
                    <a:pt x="810" y="185"/>
                    <a:pt x="810" y="185"/>
                  </a:cubicBezTo>
                  <a:cubicBezTo>
                    <a:pt x="821" y="200"/>
                    <a:pt x="876" y="213"/>
                    <a:pt x="876" y="213"/>
                  </a:cubicBezTo>
                  <a:cubicBezTo>
                    <a:pt x="846" y="225"/>
                    <a:pt x="813" y="232"/>
                    <a:pt x="779" y="235"/>
                  </a:cubicBezTo>
                  <a:cubicBezTo>
                    <a:pt x="785" y="266"/>
                    <a:pt x="786" y="290"/>
                    <a:pt x="785" y="309"/>
                  </a:cubicBezTo>
                  <a:cubicBezTo>
                    <a:pt x="796" y="315"/>
                    <a:pt x="805" y="327"/>
                    <a:pt x="805" y="342"/>
                  </a:cubicBezTo>
                  <a:cubicBezTo>
                    <a:pt x="805" y="344"/>
                    <a:pt x="805" y="346"/>
                    <a:pt x="804" y="348"/>
                  </a:cubicBezTo>
                  <a:cubicBezTo>
                    <a:pt x="802" y="365"/>
                    <a:pt x="788" y="378"/>
                    <a:pt x="772" y="379"/>
                  </a:cubicBezTo>
                  <a:cubicBezTo>
                    <a:pt x="771" y="379"/>
                    <a:pt x="771" y="379"/>
                    <a:pt x="771" y="379"/>
                  </a:cubicBezTo>
                  <a:cubicBezTo>
                    <a:pt x="768" y="379"/>
                    <a:pt x="764" y="378"/>
                    <a:pt x="762" y="377"/>
                  </a:cubicBezTo>
                  <a:cubicBezTo>
                    <a:pt x="750" y="419"/>
                    <a:pt x="729" y="455"/>
                    <a:pt x="703" y="482"/>
                  </a:cubicBezTo>
                  <a:cubicBezTo>
                    <a:pt x="681" y="506"/>
                    <a:pt x="654" y="523"/>
                    <a:pt x="625" y="531"/>
                  </a:cubicBezTo>
                  <a:cubicBezTo>
                    <a:pt x="625" y="531"/>
                    <a:pt x="625" y="531"/>
                    <a:pt x="625" y="531"/>
                  </a:cubicBezTo>
                  <a:cubicBezTo>
                    <a:pt x="621" y="539"/>
                    <a:pt x="619" y="548"/>
                    <a:pt x="617" y="558"/>
                  </a:cubicBezTo>
                  <a:cubicBezTo>
                    <a:pt x="632" y="550"/>
                    <a:pt x="645" y="540"/>
                    <a:pt x="655" y="540"/>
                  </a:cubicBezTo>
                  <a:cubicBezTo>
                    <a:pt x="660" y="540"/>
                    <a:pt x="665" y="542"/>
                    <a:pt x="669" y="548"/>
                  </a:cubicBezTo>
                  <a:cubicBezTo>
                    <a:pt x="683" y="566"/>
                    <a:pt x="714" y="603"/>
                    <a:pt x="691" y="628"/>
                  </a:cubicBezTo>
                  <a:cubicBezTo>
                    <a:pt x="844" y="658"/>
                    <a:pt x="962" y="823"/>
                    <a:pt x="1055" y="851"/>
                  </a:cubicBezTo>
                  <a:cubicBezTo>
                    <a:pt x="1064" y="854"/>
                    <a:pt x="1074" y="856"/>
                    <a:pt x="1083" y="856"/>
                  </a:cubicBezTo>
                  <a:cubicBezTo>
                    <a:pt x="1173" y="856"/>
                    <a:pt x="1233" y="725"/>
                    <a:pt x="1233" y="725"/>
                  </a:cubicBezTo>
                  <a:cubicBezTo>
                    <a:pt x="1250" y="734"/>
                    <a:pt x="1250" y="734"/>
                    <a:pt x="1250" y="734"/>
                  </a:cubicBezTo>
                  <a:cubicBezTo>
                    <a:pt x="1250" y="731"/>
                    <a:pt x="1251" y="728"/>
                    <a:pt x="1252" y="725"/>
                  </a:cubicBezTo>
                  <a:cubicBezTo>
                    <a:pt x="1085" y="686"/>
                    <a:pt x="939" y="564"/>
                    <a:pt x="971" y="402"/>
                  </a:cubicBezTo>
                  <a:cubicBezTo>
                    <a:pt x="1006" y="227"/>
                    <a:pt x="908" y="68"/>
                    <a:pt x="857" y="0"/>
                  </a:cubicBezTo>
                </a:path>
              </a:pathLst>
            </a:custGeom>
            <a:solidFill>
              <a:srgbClr val="B8CC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2" name="椭圆 291">
              <a:extLst>
                <a:ext uri="{FF2B5EF4-FFF2-40B4-BE49-F238E27FC236}">
                  <a16:creationId xmlns:a16="http://schemas.microsoft.com/office/drawing/2014/main" id="{4FD770E3-6B1D-414C-87BD-6458D251C1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20532" y="2738838"/>
              <a:ext cx="368471" cy="290482"/>
            </a:xfrm>
            <a:prstGeom prst="ellipse">
              <a:avLst/>
            </a:prstGeom>
            <a:solidFill>
              <a:srgbClr val="C7DB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3" name="椭圆 292">
              <a:extLst>
                <a:ext uri="{FF2B5EF4-FFF2-40B4-BE49-F238E27FC236}">
                  <a16:creationId xmlns:a16="http://schemas.microsoft.com/office/drawing/2014/main" id="{8540BB11-A284-46A8-BD02-6F34FAA7B7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19222" y="2283335"/>
              <a:ext cx="189887" cy="148067"/>
            </a:xfrm>
            <a:prstGeom prst="ellipse">
              <a:avLst/>
            </a:prstGeom>
            <a:solidFill>
              <a:srgbClr val="C7DB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4" name="任意多边形: 形状 293">
              <a:extLst>
                <a:ext uri="{FF2B5EF4-FFF2-40B4-BE49-F238E27FC236}">
                  <a16:creationId xmlns:a16="http://schemas.microsoft.com/office/drawing/2014/main" id="{25B77A97-4C61-41CD-A4E1-FAA2AB7975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95784" y="5554360"/>
              <a:ext cx="337954" cy="388816"/>
            </a:xfrm>
            <a:custGeom>
              <a:avLst/>
              <a:gdLst>
                <a:gd name="T0" fmla="*/ 111 w 144"/>
                <a:gd name="T1" fmla="*/ 0 h 166"/>
                <a:gd name="T2" fmla="*/ 0 w 144"/>
                <a:gd name="T3" fmla="*/ 165 h 166"/>
                <a:gd name="T4" fmla="*/ 0 w 144"/>
                <a:gd name="T5" fmla="*/ 166 h 166"/>
                <a:gd name="T6" fmla="*/ 0 w 144"/>
                <a:gd name="T7" fmla="*/ 166 h 166"/>
                <a:gd name="T8" fmla="*/ 0 w 144"/>
                <a:gd name="T9" fmla="*/ 165 h 166"/>
                <a:gd name="T10" fmla="*/ 111 w 144"/>
                <a:gd name="T11" fmla="*/ 0 h 166"/>
                <a:gd name="T12" fmla="*/ 144 w 144"/>
                <a:gd name="T13" fmla="*/ 5 h 166"/>
                <a:gd name="T14" fmla="*/ 144 w 144"/>
                <a:gd name="T15" fmla="*/ 5 h 166"/>
                <a:gd name="T16" fmla="*/ 144 w 144"/>
                <a:gd name="T17" fmla="*/ 5 h 166"/>
                <a:gd name="T18" fmla="*/ 111 w 144"/>
                <a:gd name="T19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4" h="166">
                  <a:moveTo>
                    <a:pt x="111" y="0"/>
                  </a:moveTo>
                  <a:cubicBezTo>
                    <a:pt x="111" y="22"/>
                    <a:pt x="3" y="161"/>
                    <a:pt x="0" y="165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0" y="165"/>
                    <a:pt x="0" y="165"/>
                    <a:pt x="0" y="165"/>
                  </a:cubicBezTo>
                  <a:cubicBezTo>
                    <a:pt x="3" y="161"/>
                    <a:pt x="111" y="22"/>
                    <a:pt x="111" y="0"/>
                  </a:cubicBezTo>
                  <a:cubicBezTo>
                    <a:pt x="111" y="0"/>
                    <a:pt x="122" y="1"/>
                    <a:pt x="144" y="5"/>
                  </a:cubicBezTo>
                  <a:cubicBezTo>
                    <a:pt x="144" y="5"/>
                    <a:pt x="144" y="5"/>
                    <a:pt x="144" y="5"/>
                  </a:cubicBezTo>
                  <a:cubicBezTo>
                    <a:pt x="144" y="5"/>
                    <a:pt x="144" y="5"/>
                    <a:pt x="144" y="5"/>
                  </a:cubicBezTo>
                  <a:cubicBezTo>
                    <a:pt x="122" y="1"/>
                    <a:pt x="111" y="0"/>
                    <a:pt x="111" y="0"/>
                  </a:cubicBezTo>
                </a:path>
              </a:pathLst>
            </a:custGeom>
            <a:solidFill>
              <a:srgbClr val="4327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5" name="任意多边形: 形状 294">
              <a:extLst>
                <a:ext uri="{FF2B5EF4-FFF2-40B4-BE49-F238E27FC236}">
                  <a16:creationId xmlns:a16="http://schemas.microsoft.com/office/drawing/2014/main" id="{06455487-620B-4DB1-A96C-7E027AC41A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95784" y="5554360"/>
              <a:ext cx="424985" cy="388816"/>
            </a:xfrm>
            <a:custGeom>
              <a:avLst/>
              <a:gdLst>
                <a:gd name="T0" fmla="*/ 111 w 181"/>
                <a:gd name="T1" fmla="*/ 0 h 166"/>
                <a:gd name="T2" fmla="*/ 0 w 181"/>
                <a:gd name="T3" fmla="*/ 165 h 166"/>
                <a:gd name="T4" fmla="*/ 0 w 181"/>
                <a:gd name="T5" fmla="*/ 166 h 166"/>
                <a:gd name="T6" fmla="*/ 82 w 181"/>
                <a:gd name="T7" fmla="*/ 152 h 166"/>
                <a:gd name="T8" fmla="*/ 102 w 181"/>
                <a:gd name="T9" fmla="*/ 153 h 166"/>
                <a:gd name="T10" fmla="*/ 110 w 181"/>
                <a:gd name="T11" fmla="*/ 153 h 166"/>
                <a:gd name="T12" fmla="*/ 147 w 181"/>
                <a:gd name="T13" fmla="*/ 97 h 166"/>
                <a:gd name="T14" fmla="*/ 167 w 181"/>
                <a:gd name="T15" fmla="*/ 50 h 166"/>
                <a:gd name="T16" fmla="*/ 147 w 181"/>
                <a:gd name="T17" fmla="*/ 15 h 166"/>
                <a:gd name="T18" fmla="*/ 144 w 181"/>
                <a:gd name="T19" fmla="*/ 5 h 166"/>
                <a:gd name="T20" fmla="*/ 144 w 181"/>
                <a:gd name="T21" fmla="*/ 5 h 166"/>
                <a:gd name="T22" fmla="*/ 111 w 181"/>
                <a:gd name="T23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1" h="166">
                  <a:moveTo>
                    <a:pt x="111" y="0"/>
                  </a:moveTo>
                  <a:cubicBezTo>
                    <a:pt x="111" y="22"/>
                    <a:pt x="3" y="161"/>
                    <a:pt x="0" y="165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2" y="165"/>
                    <a:pt x="33" y="152"/>
                    <a:pt x="82" y="152"/>
                  </a:cubicBezTo>
                  <a:cubicBezTo>
                    <a:pt x="88" y="152"/>
                    <a:pt x="95" y="152"/>
                    <a:pt x="102" y="153"/>
                  </a:cubicBezTo>
                  <a:cubicBezTo>
                    <a:pt x="105" y="153"/>
                    <a:pt x="108" y="153"/>
                    <a:pt x="110" y="153"/>
                  </a:cubicBezTo>
                  <a:cubicBezTo>
                    <a:pt x="162" y="153"/>
                    <a:pt x="148" y="114"/>
                    <a:pt x="147" y="97"/>
                  </a:cubicBezTo>
                  <a:cubicBezTo>
                    <a:pt x="147" y="80"/>
                    <a:pt x="152" y="71"/>
                    <a:pt x="167" y="50"/>
                  </a:cubicBezTo>
                  <a:cubicBezTo>
                    <a:pt x="181" y="30"/>
                    <a:pt x="147" y="15"/>
                    <a:pt x="147" y="15"/>
                  </a:cubicBezTo>
                  <a:cubicBezTo>
                    <a:pt x="146" y="11"/>
                    <a:pt x="145" y="8"/>
                    <a:pt x="144" y="5"/>
                  </a:cubicBezTo>
                  <a:cubicBezTo>
                    <a:pt x="144" y="5"/>
                    <a:pt x="144" y="5"/>
                    <a:pt x="144" y="5"/>
                  </a:cubicBezTo>
                  <a:cubicBezTo>
                    <a:pt x="122" y="1"/>
                    <a:pt x="111" y="0"/>
                    <a:pt x="111" y="0"/>
                  </a:cubicBezTo>
                </a:path>
              </a:pathLst>
            </a:custGeom>
            <a:solidFill>
              <a:srgbClr val="B2C5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6" name="任意多边形: 形状 295">
              <a:extLst>
                <a:ext uri="{FF2B5EF4-FFF2-40B4-BE49-F238E27FC236}">
                  <a16:creationId xmlns:a16="http://schemas.microsoft.com/office/drawing/2014/main" id="{F0C66641-3910-4ABE-B642-9A9E717030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4041" y="5486544"/>
              <a:ext cx="317609" cy="386555"/>
            </a:xfrm>
            <a:custGeom>
              <a:avLst/>
              <a:gdLst>
                <a:gd name="T0" fmla="*/ 90 w 135"/>
                <a:gd name="T1" fmla="*/ 0 h 165"/>
                <a:gd name="T2" fmla="*/ 129 w 135"/>
                <a:gd name="T3" fmla="*/ 60 h 165"/>
                <a:gd name="T4" fmla="*/ 99 w 135"/>
                <a:gd name="T5" fmla="*/ 60 h 165"/>
                <a:gd name="T6" fmla="*/ 116 w 135"/>
                <a:gd name="T7" fmla="*/ 122 h 165"/>
                <a:gd name="T8" fmla="*/ 89 w 135"/>
                <a:gd name="T9" fmla="*/ 93 h 165"/>
                <a:gd name="T10" fmla="*/ 92 w 135"/>
                <a:gd name="T11" fmla="*/ 158 h 165"/>
                <a:gd name="T12" fmla="*/ 61 w 135"/>
                <a:gd name="T13" fmla="*/ 99 h 165"/>
                <a:gd name="T14" fmla="*/ 57 w 135"/>
                <a:gd name="T15" fmla="*/ 153 h 165"/>
                <a:gd name="T16" fmla="*/ 34 w 135"/>
                <a:gd name="T17" fmla="*/ 98 h 165"/>
                <a:gd name="T18" fmla="*/ 24 w 135"/>
                <a:gd name="T19" fmla="*/ 147 h 165"/>
                <a:gd name="T20" fmla="*/ 4 w 135"/>
                <a:gd name="T21" fmla="*/ 17 h 165"/>
                <a:gd name="T22" fmla="*/ 90 w 135"/>
                <a:gd name="T23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5" h="165">
                  <a:moveTo>
                    <a:pt x="90" y="0"/>
                  </a:moveTo>
                  <a:cubicBezTo>
                    <a:pt x="90" y="0"/>
                    <a:pt x="135" y="44"/>
                    <a:pt x="129" y="60"/>
                  </a:cubicBezTo>
                  <a:cubicBezTo>
                    <a:pt x="122" y="77"/>
                    <a:pt x="99" y="60"/>
                    <a:pt x="99" y="60"/>
                  </a:cubicBezTo>
                  <a:cubicBezTo>
                    <a:pt x="99" y="60"/>
                    <a:pt x="123" y="113"/>
                    <a:pt x="116" y="122"/>
                  </a:cubicBezTo>
                  <a:cubicBezTo>
                    <a:pt x="109" y="131"/>
                    <a:pt x="89" y="93"/>
                    <a:pt x="89" y="93"/>
                  </a:cubicBezTo>
                  <a:cubicBezTo>
                    <a:pt x="89" y="93"/>
                    <a:pt x="103" y="152"/>
                    <a:pt x="92" y="158"/>
                  </a:cubicBezTo>
                  <a:cubicBezTo>
                    <a:pt x="81" y="165"/>
                    <a:pt x="61" y="99"/>
                    <a:pt x="61" y="99"/>
                  </a:cubicBezTo>
                  <a:cubicBezTo>
                    <a:pt x="61" y="99"/>
                    <a:pt x="68" y="151"/>
                    <a:pt x="57" y="153"/>
                  </a:cubicBezTo>
                  <a:cubicBezTo>
                    <a:pt x="46" y="155"/>
                    <a:pt x="34" y="98"/>
                    <a:pt x="34" y="98"/>
                  </a:cubicBezTo>
                  <a:cubicBezTo>
                    <a:pt x="34" y="98"/>
                    <a:pt x="38" y="144"/>
                    <a:pt x="24" y="147"/>
                  </a:cubicBezTo>
                  <a:cubicBezTo>
                    <a:pt x="11" y="149"/>
                    <a:pt x="0" y="60"/>
                    <a:pt x="4" y="17"/>
                  </a:cubicBezTo>
                  <a:lnTo>
                    <a:pt x="90" y="0"/>
                  </a:lnTo>
                  <a:close/>
                </a:path>
              </a:pathLst>
            </a:custGeom>
            <a:solidFill>
              <a:srgbClr val="FFB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7" name="任意多边形: 形状 296">
              <a:extLst>
                <a:ext uri="{FF2B5EF4-FFF2-40B4-BE49-F238E27FC236}">
                  <a16:creationId xmlns:a16="http://schemas.microsoft.com/office/drawing/2014/main" id="{35C63AB0-9791-4FE6-8807-C464B54F17D9}"/>
                </a:ext>
              </a:extLst>
            </p:cNvPr>
            <p:cNvSpPr>
              <a:spLocks/>
            </p:cNvSpPr>
            <p:nvPr/>
          </p:nvSpPr>
          <p:spPr bwMode="auto">
            <a:xfrm>
              <a:off x="2067586" y="4481727"/>
              <a:ext cx="198929" cy="786674"/>
            </a:xfrm>
            <a:custGeom>
              <a:avLst/>
              <a:gdLst>
                <a:gd name="T0" fmla="*/ 60 w 85"/>
                <a:gd name="T1" fmla="*/ 0 h 335"/>
                <a:gd name="T2" fmla="*/ 8 w 85"/>
                <a:gd name="T3" fmla="*/ 171 h 335"/>
                <a:gd name="T4" fmla="*/ 23 w 85"/>
                <a:gd name="T5" fmla="*/ 335 h 335"/>
                <a:gd name="T6" fmla="*/ 85 w 85"/>
                <a:gd name="T7" fmla="*/ 335 h 335"/>
                <a:gd name="T8" fmla="*/ 60 w 85"/>
                <a:gd name="T9" fmla="*/ 0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335">
                  <a:moveTo>
                    <a:pt x="60" y="0"/>
                  </a:moveTo>
                  <a:cubicBezTo>
                    <a:pt x="60" y="0"/>
                    <a:pt x="16" y="88"/>
                    <a:pt x="8" y="171"/>
                  </a:cubicBezTo>
                  <a:cubicBezTo>
                    <a:pt x="0" y="254"/>
                    <a:pt x="23" y="335"/>
                    <a:pt x="23" y="335"/>
                  </a:cubicBezTo>
                  <a:cubicBezTo>
                    <a:pt x="85" y="335"/>
                    <a:pt x="85" y="335"/>
                    <a:pt x="85" y="335"/>
                  </a:cubicBezTo>
                  <a:cubicBezTo>
                    <a:pt x="23" y="243"/>
                    <a:pt x="60" y="0"/>
                    <a:pt x="60" y="0"/>
                  </a:cubicBezTo>
                </a:path>
              </a:pathLst>
            </a:custGeom>
            <a:solidFill>
              <a:srgbClr val="241A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8" name="任意多边形: 形状 297">
              <a:extLst>
                <a:ext uri="{FF2B5EF4-FFF2-40B4-BE49-F238E27FC236}">
                  <a16:creationId xmlns:a16="http://schemas.microsoft.com/office/drawing/2014/main" id="{34CA5028-D379-4FE9-BC48-13090400CA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5076" y="4455730"/>
              <a:ext cx="241880" cy="795716"/>
            </a:xfrm>
            <a:custGeom>
              <a:avLst/>
              <a:gdLst>
                <a:gd name="T0" fmla="*/ 58 w 103"/>
                <a:gd name="T1" fmla="*/ 339 h 339"/>
                <a:gd name="T2" fmla="*/ 103 w 103"/>
                <a:gd name="T3" fmla="*/ 0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3" h="339">
                  <a:moveTo>
                    <a:pt x="58" y="339"/>
                  </a:moveTo>
                  <a:cubicBezTo>
                    <a:pt x="58" y="339"/>
                    <a:pt x="0" y="151"/>
                    <a:pt x="103" y="0"/>
                  </a:cubicBezTo>
                </a:path>
              </a:pathLst>
            </a:custGeom>
            <a:noFill/>
            <a:ln w="12700" cap="flat">
              <a:solidFill>
                <a:srgbClr val="463EA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9" name="任意多边形: 形状 298">
              <a:extLst>
                <a:ext uri="{FF2B5EF4-FFF2-40B4-BE49-F238E27FC236}">
                  <a16:creationId xmlns:a16="http://schemas.microsoft.com/office/drawing/2014/main" id="{9DB2D75E-56A7-4B30-9DFF-3D60FF111EB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9906" y="3747046"/>
              <a:ext cx="166151" cy="126591"/>
            </a:xfrm>
            <a:custGeom>
              <a:avLst/>
              <a:gdLst>
                <a:gd name="T0" fmla="*/ 43 w 71"/>
                <a:gd name="T1" fmla="*/ 0 h 54"/>
                <a:gd name="T2" fmla="*/ 12 w 71"/>
                <a:gd name="T3" fmla="*/ 52 h 54"/>
                <a:gd name="T4" fmla="*/ 16 w 71"/>
                <a:gd name="T5" fmla="*/ 54 h 54"/>
                <a:gd name="T6" fmla="*/ 22 w 71"/>
                <a:gd name="T7" fmla="*/ 27 h 54"/>
                <a:gd name="T8" fmla="*/ 44 w 71"/>
                <a:gd name="T9" fmla="*/ 12 h 54"/>
                <a:gd name="T10" fmla="*/ 71 w 71"/>
                <a:gd name="T11" fmla="*/ 17 h 54"/>
                <a:gd name="T12" fmla="*/ 71 w 71"/>
                <a:gd name="T13" fmla="*/ 5 h 54"/>
                <a:gd name="T14" fmla="*/ 71 w 71"/>
                <a:gd name="T15" fmla="*/ 5 h 54"/>
                <a:gd name="T16" fmla="*/ 43 w 71"/>
                <a:gd name="T17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54">
                  <a:moveTo>
                    <a:pt x="43" y="0"/>
                  </a:moveTo>
                  <a:cubicBezTo>
                    <a:pt x="0" y="0"/>
                    <a:pt x="12" y="52"/>
                    <a:pt x="12" y="52"/>
                  </a:cubicBezTo>
                  <a:cubicBezTo>
                    <a:pt x="13" y="53"/>
                    <a:pt x="15" y="54"/>
                    <a:pt x="16" y="54"/>
                  </a:cubicBezTo>
                  <a:cubicBezTo>
                    <a:pt x="16" y="47"/>
                    <a:pt x="17" y="37"/>
                    <a:pt x="22" y="27"/>
                  </a:cubicBezTo>
                  <a:cubicBezTo>
                    <a:pt x="26" y="16"/>
                    <a:pt x="34" y="12"/>
                    <a:pt x="44" y="12"/>
                  </a:cubicBezTo>
                  <a:cubicBezTo>
                    <a:pt x="52" y="12"/>
                    <a:pt x="61" y="15"/>
                    <a:pt x="71" y="17"/>
                  </a:cubicBezTo>
                  <a:cubicBezTo>
                    <a:pt x="71" y="13"/>
                    <a:pt x="71" y="9"/>
                    <a:pt x="71" y="5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60" y="1"/>
                    <a:pt x="50" y="0"/>
                    <a:pt x="43" y="0"/>
                  </a:cubicBezTo>
                </a:path>
              </a:pathLst>
            </a:custGeom>
            <a:solidFill>
              <a:srgbClr val="FF53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0" name="任意多边形: 形状 299">
              <a:extLst>
                <a:ext uri="{FF2B5EF4-FFF2-40B4-BE49-F238E27FC236}">
                  <a16:creationId xmlns:a16="http://schemas.microsoft.com/office/drawing/2014/main" id="{B3D8FE1A-BE09-4BFE-8D7B-0793193968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26065" y="2782918"/>
              <a:ext cx="337954" cy="96074"/>
            </a:xfrm>
            <a:custGeom>
              <a:avLst/>
              <a:gdLst>
                <a:gd name="T0" fmla="*/ 0 w 144"/>
                <a:gd name="T1" fmla="*/ 32 h 41"/>
                <a:gd name="T2" fmla="*/ 0 w 144"/>
                <a:gd name="T3" fmla="*/ 32 h 41"/>
                <a:gd name="T4" fmla="*/ 2 w 144"/>
                <a:gd name="T5" fmla="*/ 41 h 41"/>
                <a:gd name="T6" fmla="*/ 2 w 144"/>
                <a:gd name="T7" fmla="*/ 41 h 41"/>
                <a:gd name="T8" fmla="*/ 0 w 144"/>
                <a:gd name="T9" fmla="*/ 32 h 41"/>
                <a:gd name="T10" fmla="*/ 142 w 144"/>
                <a:gd name="T11" fmla="*/ 0 h 41"/>
                <a:gd name="T12" fmla="*/ 142 w 144"/>
                <a:gd name="T13" fmla="*/ 0 h 41"/>
                <a:gd name="T14" fmla="*/ 144 w 144"/>
                <a:gd name="T15" fmla="*/ 9 h 41"/>
                <a:gd name="T16" fmla="*/ 144 w 144"/>
                <a:gd name="T17" fmla="*/ 8 h 41"/>
                <a:gd name="T18" fmla="*/ 142 w 144"/>
                <a:gd name="T19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4" h="41">
                  <a:moveTo>
                    <a:pt x="0" y="32"/>
                  </a:moveTo>
                  <a:cubicBezTo>
                    <a:pt x="0" y="32"/>
                    <a:pt x="0" y="32"/>
                    <a:pt x="0" y="32"/>
                  </a:cubicBezTo>
                  <a:cubicBezTo>
                    <a:pt x="0" y="35"/>
                    <a:pt x="1" y="38"/>
                    <a:pt x="2" y="41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1" y="38"/>
                    <a:pt x="0" y="35"/>
                    <a:pt x="0" y="32"/>
                  </a:cubicBezTo>
                  <a:moveTo>
                    <a:pt x="142" y="0"/>
                  </a:moveTo>
                  <a:cubicBezTo>
                    <a:pt x="142" y="0"/>
                    <a:pt x="142" y="0"/>
                    <a:pt x="142" y="0"/>
                  </a:cubicBezTo>
                  <a:cubicBezTo>
                    <a:pt x="142" y="3"/>
                    <a:pt x="143" y="6"/>
                    <a:pt x="144" y="9"/>
                  </a:cubicBezTo>
                  <a:cubicBezTo>
                    <a:pt x="144" y="8"/>
                    <a:pt x="144" y="8"/>
                    <a:pt x="144" y="8"/>
                  </a:cubicBezTo>
                  <a:cubicBezTo>
                    <a:pt x="143" y="6"/>
                    <a:pt x="142" y="3"/>
                    <a:pt x="142" y="0"/>
                  </a:cubicBezTo>
                </a:path>
              </a:pathLst>
            </a:custGeom>
            <a:solidFill>
              <a:srgbClr val="9C3F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1" name="任意多边形: 形状 300">
              <a:extLst>
                <a:ext uri="{FF2B5EF4-FFF2-40B4-BE49-F238E27FC236}">
                  <a16:creationId xmlns:a16="http://schemas.microsoft.com/office/drawing/2014/main" id="{A9F5177F-7079-43D9-BF3D-9572F3098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6065" y="2782918"/>
              <a:ext cx="337954" cy="96074"/>
            </a:xfrm>
            <a:custGeom>
              <a:avLst/>
              <a:gdLst>
                <a:gd name="T0" fmla="*/ 142 w 144"/>
                <a:gd name="T1" fmla="*/ 0 h 41"/>
                <a:gd name="T2" fmla="*/ 0 w 144"/>
                <a:gd name="T3" fmla="*/ 32 h 41"/>
                <a:gd name="T4" fmla="*/ 2 w 144"/>
                <a:gd name="T5" fmla="*/ 41 h 41"/>
                <a:gd name="T6" fmla="*/ 144 w 144"/>
                <a:gd name="T7" fmla="*/ 9 h 41"/>
                <a:gd name="T8" fmla="*/ 142 w 144"/>
                <a:gd name="T9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4" h="41">
                  <a:moveTo>
                    <a:pt x="142" y="0"/>
                  </a:moveTo>
                  <a:cubicBezTo>
                    <a:pt x="94" y="9"/>
                    <a:pt x="47" y="20"/>
                    <a:pt x="0" y="32"/>
                  </a:cubicBezTo>
                  <a:cubicBezTo>
                    <a:pt x="0" y="35"/>
                    <a:pt x="1" y="38"/>
                    <a:pt x="2" y="41"/>
                  </a:cubicBezTo>
                  <a:cubicBezTo>
                    <a:pt x="48" y="28"/>
                    <a:pt x="96" y="17"/>
                    <a:pt x="144" y="9"/>
                  </a:cubicBezTo>
                  <a:cubicBezTo>
                    <a:pt x="143" y="6"/>
                    <a:pt x="142" y="3"/>
                    <a:pt x="142" y="0"/>
                  </a:cubicBezTo>
                </a:path>
              </a:pathLst>
            </a:custGeom>
            <a:solidFill>
              <a:srgbClr val="FF53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2" name="任意多边形: 形状 301">
              <a:extLst>
                <a:ext uri="{FF2B5EF4-FFF2-40B4-BE49-F238E27FC236}">
                  <a16:creationId xmlns:a16="http://schemas.microsoft.com/office/drawing/2014/main" id="{C4D25E56-A1B7-4735-AFF6-AFFD170C8C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56582" y="2942288"/>
              <a:ext cx="353777" cy="61035"/>
            </a:xfrm>
            <a:custGeom>
              <a:avLst/>
              <a:gdLst>
                <a:gd name="T0" fmla="*/ 0 w 151"/>
                <a:gd name="T1" fmla="*/ 18 h 26"/>
                <a:gd name="T2" fmla="*/ 0 w 151"/>
                <a:gd name="T3" fmla="*/ 18 h 26"/>
                <a:gd name="T4" fmla="*/ 2 w 151"/>
                <a:gd name="T5" fmla="*/ 26 h 26"/>
                <a:gd name="T6" fmla="*/ 2 w 151"/>
                <a:gd name="T7" fmla="*/ 26 h 26"/>
                <a:gd name="T8" fmla="*/ 0 w 151"/>
                <a:gd name="T9" fmla="*/ 18 h 26"/>
                <a:gd name="T10" fmla="*/ 148 w 151"/>
                <a:gd name="T11" fmla="*/ 0 h 26"/>
                <a:gd name="T12" fmla="*/ 148 w 151"/>
                <a:gd name="T13" fmla="*/ 0 h 26"/>
                <a:gd name="T14" fmla="*/ 151 w 151"/>
                <a:gd name="T15" fmla="*/ 8 h 26"/>
                <a:gd name="T16" fmla="*/ 151 w 151"/>
                <a:gd name="T17" fmla="*/ 8 h 26"/>
                <a:gd name="T18" fmla="*/ 148 w 151"/>
                <a:gd name="T1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1" h="26">
                  <a:moveTo>
                    <a:pt x="0" y="18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1" y="21"/>
                    <a:pt x="2" y="24"/>
                    <a:pt x="2" y="26"/>
                  </a:cubicBezTo>
                  <a:cubicBezTo>
                    <a:pt x="2" y="26"/>
                    <a:pt x="2" y="26"/>
                    <a:pt x="2" y="26"/>
                  </a:cubicBezTo>
                  <a:cubicBezTo>
                    <a:pt x="2" y="24"/>
                    <a:pt x="1" y="21"/>
                    <a:pt x="0" y="18"/>
                  </a:cubicBezTo>
                  <a:moveTo>
                    <a:pt x="148" y="0"/>
                  </a:moveTo>
                  <a:cubicBezTo>
                    <a:pt x="148" y="0"/>
                    <a:pt x="148" y="0"/>
                    <a:pt x="148" y="0"/>
                  </a:cubicBezTo>
                  <a:cubicBezTo>
                    <a:pt x="149" y="3"/>
                    <a:pt x="150" y="6"/>
                    <a:pt x="151" y="8"/>
                  </a:cubicBezTo>
                  <a:cubicBezTo>
                    <a:pt x="151" y="8"/>
                    <a:pt x="151" y="8"/>
                    <a:pt x="151" y="8"/>
                  </a:cubicBezTo>
                  <a:cubicBezTo>
                    <a:pt x="150" y="6"/>
                    <a:pt x="149" y="3"/>
                    <a:pt x="148" y="0"/>
                  </a:cubicBezTo>
                </a:path>
              </a:pathLst>
            </a:custGeom>
            <a:solidFill>
              <a:srgbClr val="9C3F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3" name="任意多边形: 形状 302">
              <a:extLst>
                <a:ext uri="{FF2B5EF4-FFF2-40B4-BE49-F238E27FC236}">
                  <a16:creationId xmlns:a16="http://schemas.microsoft.com/office/drawing/2014/main" id="{C7202675-0371-4049-843C-3270E6A710D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6582" y="2942288"/>
              <a:ext cx="353777" cy="61035"/>
            </a:xfrm>
            <a:custGeom>
              <a:avLst/>
              <a:gdLst>
                <a:gd name="T0" fmla="*/ 148 w 151"/>
                <a:gd name="T1" fmla="*/ 0 h 26"/>
                <a:gd name="T2" fmla="*/ 0 w 151"/>
                <a:gd name="T3" fmla="*/ 18 h 26"/>
                <a:gd name="T4" fmla="*/ 2 w 151"/>
                <a:gd name="T5" fmla="*/ 26 h 26"/>
                <a:gd name="T6" fmla="*/ 151 w 151"/>
                <a:gd name="T7" fmla="*/ 8 h 26"/>
                <a:gd name="T8" fmla="*/ 148 w 151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1" h="26">
                  <a:moveTo>
                    <a:pt x="148" y="0"/>
                  </a:moveTo>
                  <a:cubicBezTo>
                    <a:pt x="98" y="1"/>
                    <a:pt x="49" y="7"/>
                    <a:pt x="0" y="18"/>
                  </a:cubicBezTo>
                  <a:cubicBezTo>
                    <a:pt x="1" y="21"/>
                    <a:pt x="2" y="24"/>
                    <a:pt x="2" y="26"/>
                  </a:cubicBezTo>
                  <a:cubicBezTo>
                    <a:pt x="51" y="15"/>
                    <a:pt x="101" y="9"/>
                    <a:pt x="151" y="8"/>
                  </a:cubicBezTo>
                  <a:cubicBezTo>
                    <a:pt x="150" y="6"/>
                    <a:pt x="149" y="3"/>
                    <a:pt x="148" y="0"/>
                  </a:cubicBezTo>
                </a:path>
              </a:pathLst>
            </a:custGeom>
            <a:solidFill>
              <a:srgbClr val="FF53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4" name="任意多边形: 形状 303">
              <a:extLst>
                <a:ext uri="{FF2B5EF4-FFF2-40B4-BE49-F238E27FC236}">
                  <a16:creationId xmlns:a16="http://schemas.microsoft.com/office/drawing/2014/main" id="{6619FC47-4E0B-4AE2-AA60-9AF746B730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26659" y="3092614"/>
              <a:ext cx="346996" cy="122070"/>
            </a:xfrm>
            <a:custGeom>
              <a:avLst/>
              <a:gdLst>
                <a:gd name="T0" fmla="*/ 0 w 148"/>
                <a:gd name="T1" fmla="*/ 49 h 52"/>
                <a:gd name="T2" fmla="*/ 0 w 148"/>
                <a:gd name="T3" fmla="*/ 49 h 52"/>
                <a:gd name="T4" fmla="*/ 1 w 148"/>
                <a:gd name="T5" fmla="*/ 52 h 52"/>
                <a:gd name="T6" fmla="*/ 0 w 148"/>
                <a:gd name="T7" fmla="*/ 49 h 52"/>
                <a:gd name="T8" fmla="*/ 144 w 148"/>
                <a:gd name="T9" fmla="*/ 0 h 52"/>
                <a:gd name="T10" fmla="*/ 144 w 148"/>
                <a:gd name="T11" fmla="*/ 0 h 52"/>
                <a:gd name="T12" fmla="*/ 148 w 148"/>
                <a:gd name="T13" fmla="*/ 7 h 52"/>
                <a:gd name="T14" fmla="*/ 148 w 148"/>
                <a:gd name="T15" fmla="*/ 7 h 52"/>
                <a:gd name="T16" fmla="*/ 144 w 148"/>
                <a:gd name="T1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8" h="52">
                  <a:moveTo>
                    <a:pt x="0" y="49"/>
                  </a:moveTo>
                  <a:cubicBezTo>
                    <a:pt x="0" y="49"/>
                    <a:pt x="0" y="49"/>
                    <a:pt x="0" y="49"/>
                  </a:cubicBezTo>
                  <a:cubicBezTo>
                    <a:pt x="0" y="50"/>
                    <a:pt x="0" y="51"/>
                    <a:pt x="1" y="52"/>
                  </a:cubicBezTo>
                  <a:cubicBezTo>
                    <a:pt x="0" y="51"/>
                    <a:pt x="0" y="50"/>
                    <a:pt x="0" y="49"/>
                  </a:cubicBezTo>
                  <a:moveTo>
                    <a:pt x="144" y="0"/>
                  </a:moveTo>
                  <a:cubicBezTo>
                    <a:pt x="144" y="0"/>
                    <a:pt x="144" y="0"/>
                    <a:pt x="144" y="0"/>
                  </a:cubicBezTo>
                  <a:cubicBezTo>
                    <a:pt x="145" y="2"/>
                    <a:pt x="147" y="5"/>
                    <a:pt x="148" y="7"/>
                  </a:cubicBezTo>
                  <a:cubicBezTo>
                    <a:pt x="148" y="7"/>
                    <a:pt x="148" y="7"/>
                    <a:pt x="148" y="7"/>
                  </a:cubicBezTo>
                  <a:cubicBezTo>
                    <a:pt x="147" y="5"/>
                    <a:pt x="145" y="2"/>
                    <a:pt x="144" y="0"/>
                  </a:cubicBezTo>
                </a:path>
              </a:pathLst>
            </a:custGeom>
            <a:solidFill>
              <a:srgbClr val="9C3F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5" name="任意多边形: 形状 304">
              <a:extLst>
                <a:ext uri="{FF2B5EF4-FFF2-40B4-BE49-F238E27FC236}">
                  <a16:creationId xmlns:a16="http://schemas.microsoft.com/office/drawing/2014/main" id="{6DD5C06C-F7DE-41AD-AE29-E477E327A4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6659" y="3092614"/>
              <a:ext cx="346996" cy="134503"/>
            </a:xfrm>
            <a:custGeom>
              <a:avLst/>
              <a:gdLst>
                <a:gd name="T0" fmla="*/ 144 w 148"/>
                <a:gd name="T1" fmla="*/ 0 h 57"/>
                <a:gd name="T2" fmla="*/ 0 w 148"/>
                <a:gd name="T3" fmla="*/ 49 h 57"/>
                <a:gd name="T4" fmla="*/ 1 w 148"/>
                <a:gd name="T5" fmla="*/ 52 h 57"/>
                <a:gd name="T6" fmla="*/ 3 w 148"/>
                <a:gd name="T7" fmla="*/ 57 h 57"/>
                <a:gd name="T8" fmla="*/ 148 w 148"/>
                <a:gd name="T9" fmla="*/ 7 h 57"/>
                <a:gd name="T10" fmla="*/ 144 w 148"/>
                <a:gd name="T11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8" h="57">
                  <a:moveTo>
                    <a:pt x="144" y="0"/>
                  </a:moveTo>
                  <a:cubicBezTo>
                    <a:pt x="95" y="13"/>
                    <a:pt x="45" y="27"/>
                    <a:pt x="0" y="49"/>
                  </a:cubicBezTo>
                  <a:cubicBezTo>
                    <a:pt x="0" y="50"/>
                    <a:pt x="0" y="51"/>
                    <a:pt x="1" y="52"/>
                  </a:cubicBezTo>
                  <a:cubicBezTo>
                    <a:pt x="1" y="54"/>
                    <a:pt x="2" y="55"/>
                    <a:pt x="3" y="57"/>
                  </a:cubicBezTo>
                  <a:cubicBezTo>
                    <a:pt x="49" y="35"/>
                    <a:pt x="98" y="20"/>
                    <a:pt x="148" y="7"/>
                  </a:cubicBezTo>
                  <a:cubicBezTo>
                    <a:pt x="147" y="5"/>
                    <a:pt x="145" y="2"/>
                    <a:pt x="144" y="0"/>
                  </a:cubicBezTo>
                </a:path>
              </a:pathLst>
            </a:custGeom>
            <a:solidFill>
              <a:srgbClr val="FF53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6" name="任意多边形: 形状 305">
              <a:extLst>
                <a:ext uri="{FF2B5EF4-FFF2-40B4-BE49-F238E27FC236}">
                  <a16:creationId xmlns:a16="http://schemas.microsoft.com/office/drawing/2014/main" id="{40A22703-39CA-4E80-8D9E-D3898D3361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9734" y="3644190"/>
              <a:ext cx="68947" cy="215883"/>
            </a:xfrm>
            <a:custGeom>
              <a:avLst/>
              <a:gdLst>
                <a:gd name="T0" fmla="*/ 23 w 29"/>
                <a:gd name="T1" fmla="*/ 0 h 92"/>
                <a:gd name="T2" fmla="*/ 0 w 29"/>
                <a:gd name="T3" fmla="*/ 89 h 92"/>
                <a:gd name="T4" fmla="*/ 8 w 29"/>
                <a:gd name="T5" fmla="*/ 92 h 92"/>
                <a:gd name="T6" fmla="*/ 29 w 29"/>
                <a:gd name="T7" fmla="*/ 5 h 92"/>
                <a:gd name="T8" fmla="*/ 23 w 29"/>
                <a:gd name="T9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92">
                  <a:moveTo>
                    <a:pt x="23" y="0"/>
                  </a:moveTo>
                  <a:cubicBezTo>
                    <a:pt x="11" y="28"/>
                    <a:pt x="4" y="58"/>
                    <a:pt x="0" y="89"/>
                  </a:cubicBezTo>
                  <a:cubicBezTo>
                    <a:pt x="3" y="90"/>
                    <a:pt x="6" y="91"/>
                    <a:pt x="8" y="92"/>
                  </a:cubicBezTo>
                  <a:cubicBezTo>
                    <a:pt x="11" y="62"/>
                    <a:pt x="18" y="33"/>
                    <a:pt x="29" y="5"/>
                  </a:cubicBezTo>
                  <a:cubicBezTo>
                    <a:pt x="27" y="3"/>
                    <a:pt x="25" y="2"/>
                    <a:pt x="23" y="0"/>
                  </a:cubicBezTo>
                </a:path>
              </a:pathLst>
            </a:custGeom>
            <a:solidFill>
              <a:srgbClr val="FF53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7" name="任意多边形: 形状 306">
              <a:extLst>
                <a:ext uri="{FF2B5EF4-FFF2-40B4-BE49-F238E27FC236}">
                  <a16:creationId xmlns:a16="http://schemas.microsoft.com/office/drawing/2014/main" id="{641A3C2B-73BE-4ECC-8541-719B7A33D7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0341" y="3223727"/>
              <a:ext cx="11303" cy="16955"/>
            </a:xfrm>
            <a:custGeom>
              <a:avLst/>
              <a:gdLst>
                <a:gd name="T0" fmla="*/ 1 w 5"/>
                <a:gd name="T1" fmla="*/ 0 h 7"/>
                <a:gd name="T2" fmla="*/ 0 w 5"/>
                <a:gd name="T3" fmla="*/ 0 h 7"/>
                <a:gd name="T4" fmla="*/ 5 w 5"/>
                <a:gd name="T5" fmla="*/ 7 h 7"/>
                <a:gd name="T6" fmla="*/ 5 w 5"/>
                <a:gd name="T7" fmla="*/ 6 h 7"/>
                <a:gd name="T8" fmla="*/ 1 w 5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2" y="2"/>
                    <a:pt x="4" y="4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4" y="4"/>
                    <a:pt x="2" y="2"/>
                    <a:pt x="1" y="0"/>
                  </a:cubicBezTo>
                </a:path>
              </a:pathLst>
            </a:custGeom>
            <a:solidFill>
              <a:srgbClr val="9C3F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8" name="任意多边形: 形状 307">
              <a:extLst>
                <a:ext uri="{FF2B5EF4-FFF2-40B4-BE49-F238E27FC236}">
                  <a16:creationId xmlns:a16="http://schemas.microsoft.com/office/drawing/2014/main" id="{C61EFA5B-F530-4A01-94D6-C028F17FA9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6909" y="3223727"/>
              <a:ext cx="344735" cy="191017"/>
            </a:xfrm>
            <a:custGeom>
              <a:avLst/>
              <a:gdLst>
                <a:gd name="T0" fmla="*/ 142 w 147"/>
                <a:gd name="T1" fmla="*/ 0 h 81"/>
                <a:gd name="T2" fmla="*/ 25 w 147"/>
                <a:gd name="T3" fmla="*/ 57 h 81"/>
                <a:gd name="T4" fmla="*/ 0 w 147"/>
                <a:gd name="T5" fmla="*/ 74 h 81"/>
                <a:gd name="T6" fmla="*/ 4 w 147"/>
                <a:gd name="T7" fmla="*/ 81 h 81"/>
                <a:gd name="T8" fmla="*/ 35 w 147"/>
                <a:gd name="T9" fmla="*/ 60 h 81"/>
                <a:gd name="T10" fmla="*/ 147 w 147"/>
                <a:gd name="T11" fmla="*/ 7 h 81"/>
                <a:gd name="T12" fmla="*/ 142 w 147"/>
                <a:gd name="T13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7" h="81">
                  <a:moveTo>
                    <a:pt x="142" y="0"/>
                  </a:moveTo>
                  <a:cubicBezTo>
                    <a:pt x="105" y="21"/>
                    <a:pt x="62" y="34"/>
                    <a:pt x="25" y="57"/>
                  </a:cubicBezTo>
                  <a:cubicBezTo>
                    <a:pt x="17" y="62"/>
                    <a:pt x="8" y="68"/>
                    <a:pt x="0" y="74"/>
                  </a:cubicBezTo>
                  <a:cubicBezTo>
                    <a:pt x="1" y="76"/>
                    <a:pt x="3" y="79"/>
                    <a:pt x="4" y="81"/>
                  </a:cubicBezTo>
                  <a:cubicBezTo>
                    <a:pt x="14" y="74"/>
                    <a:pt x="24" y="67"/>
                    <a:pt x="35" y="60"/>
                  </a:cubicBezTo>
                  <a:cubicBezTo>
                    <a:pt x="71" y="39"/>
                    <a:pt x="111" y="27"/>
                    <a:pt x="147" y="7"/>
                  </a:cubicBezTo>
                  <a:cubicBezTo>
                    <a:pt x="146" y="4"/>
                    <a:pt x="144" y="2"/>
                    <a:pt x="142" y="0"/>
                  </a:cubicBezTo>
                </a:path>
              </a:pathLst>
            </a:custGeom>
            <a:solidFill>
              <a:srgbClr val="FF53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9" name="任意多边形: 形状 308">
              <a:extLst>
                <a:ext uri="{FF2B5EF4-FFF2-40B4-BE49-F238E27FC236}">
                  <a16:creationId xmlns:a16="http://schemas.microsoft.com/office/drawing/2014/main" id="{378DB987-A671-49F4-9C85-54D1B73910E5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6551" y="3803560"/>
              <a:ext cx="18084" cy="2261"/>
            </a:xfrm>
            <a:custGeom>
              <a:avLst/>
              <a:gdLst>
                <a:gd name="T0" fmla="*/ 0 w 8"/>
                <a:gd name="T1" fmla="*/ 0 h 1"/>
                <a:gd name="T2" fmla="*/ 0 w 8"/>
                <a:gd name="T3" fmla="*/ 0 h 1"/>
                <a:gd name="T4" fmla="*/ 8 w 8"/>
                <a:gd name="T5" fmla="*/ 1 h 1"/>
                <a:gd name="T6" fmla="*/ 8 w 8"/>
                <a:gd name="T7" fmla="*/ 1 h 1"/>
                <a:gd name="T8" fmla="*/ 0 w 8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5" y="0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5" y="0"/>
                    <a:pt x="3" y="0"/>
                    <a:pt x="0" y="0"/>
                  </a:cubicBezTo>
                </a:path>
              </a:pathLst>
            </a:custGeom>
            <a:solidFill>
              <a:srgbClr val="BFB7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0" name="任意多边形: 形状 309">
              <a:extLst>
                <a:ext uri="{FF2B5EF4-FFF2-40B4-BE49-F238E27FC236}">
                  <a16:creationId xmlns:a16="http://schemas.microsoft.com/office/drawing/2014/main" id="{CEE44FBC-1DC7-4ADB-B5FA-C76BEE3473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6551" y="3526641"/>
              <a:ext cx="196668" cy="279179"/>
            </a:xfrm>
            <a:custGeom>
              <a:avLst/>
              <a:gdLst>
                <a:gd name="T0" fmla="*/ 76 w 84"/>
                <a:gd name="T1" fmla="*/ 0 h 119"/>
                <a:gd name="T2" fmla="*/ 0 w 84"/>
                <a:gd name="T3" fmla="*/ 118 h 119"/>
                <a:gd name="T4" fmla="*/ 8 w 84"/>
                <a:gd name="T5" fmla="*/ 119 h 119"/>
                <a:gd name="T6" fmla="*/ 84 w 84"/>
                <a:gd name="T7" fmla="*/ 3 h 119"/>
                <a:gd name="T8" fmla="*/ 76 w 84"/>
                <a:gd name="T9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" h="119">
                  <a:moveTo>
                    <a:pt x="76" y="0"/>
                  </a:moveTo>
                  <a:cubicBezTo>
                    <a:pt x="45" y="36"/>
                    <a:pt x="17" y="75"/>
                    <a:pt x="0" y="118"/>
                  </a:cubicBezTo>
                  <a:cubicBezTo>
                    <a:pt x="3" y="118"/>
                    <a:pt x="5" y="118"/>
                    <a:pt x="8" y="119"/>
                  </a:cubicBezTo>
                  <a:cubicBezTo>
                    <a:pt x="26" y="77"/>
                    <a:pt x="54" y="39"/>
                    <a:pt x="84" y="3"/>
                  </a:cubicBezTo>
                  <a:cubicBezTo>
                    <a:pt x="81" y="2"/>
                    <a:pt x="78" y="1"/>
                    <a:pt x="76" y="0"/>
                  </a:cubicBezTo>
                </a:path>
              </a:pathLst>
            </a:custGeom>
            <a:solidFill>
              <a:srgbClr val="FF53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1" name="任意多边形: 形状 310">
              <a:extLst>
                <a:ext uri="{FF2B5EF4-FFF2-40B4-BE49-F238E27FC236}">
                  <a16:creationId xmlns:a16="http://schemas.microsoft.com/office/drawing/2014/main" id="{9B0B1A66-ECC9-4FC2-8AF2-3F6134A235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9193" y="3463346"/>
              <a:ext cx="239619" cy="302915"/>
            </a:xfrm>
            <a:custGeom>
              <a:avLst/>
              <a:gdLst>
                <a:gd name="T0" fmla="*/ 92 w 102"/>
                <a:gd name="T1" fmla="*/ 0 h 129"/>
                <a:gd name="T2" fmla="*/ 37 w 102"/>
                <a:gd name="T3" fmla="*/ 59 h 129"/>
                <a:gd name="T4" fmla="*/ 0 w 102"/>
                <a:gd name="T5" fmla="*/ 127 h 129"/>
                <a:gd name="T6" fmla="*/ 8 w 102"/>
                <a:gd name="T7" fmla="*/ 129 h 129"/>
                <a:gd name="T8" fmla="*/ 52 w 102"/>
                <a:gd name="T9" fmla="*/ 53 h 129"/>
                <a:gd name="T10" fmla="*/ 102 w 102"/>
                <a:gd name="T11" fmla="*/ 2 h 129"/>
                <a:gd name="T12" fmla="*/ 92 w 102"/>
                <a:gd name="T13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2" h="129">
                  <a:moveTo>
                    <a:pt x="92" y="0"/>
                  </a:moveTo>
                  <a:cubicBezTo>
                    <a:pt x="71" y="17"/>
                    <a:pt x="53" y="37"/>
                    <a:pt x="37" y="59"/>
                  </a:cubicBezTo>
                  <a:cubicBezTo>
                    <a:pt x="22" y="79"/>
                    <a:pt x="6" y="102"/>
                    <a:pt x="0" y="127"/>
                  </a:cubicBezTo>
                  <a:cubicBezTo>
                    <a:pt x="3" y="127"/>
                    <a:pt x="5" y="128"/>
                    <a:pt x="8" y="129"/>
                  </a:cubicBezTo>
                  <a:cubicBezTo>
                    <a:pt x="14" y="101"/>
                    <a:pt x="35" y="74"/>
                    <a:pt x="52" y="53"/>
                  </a:cubicBezTo>
                  <a:cubicBezTo>
                    <a:pt x="67" y="34"/>
                    <a:pt x="84" y="17"/>
                    <a:pt x="102" y="2"/>
                  </a:cubicBezTo>
                  <a:cubicBezTo>
                    <a:pt x="99" y="1"/>
                    <a:pt x="95" y="1"/>
                    <a:pt x="92" y="0"/>
                  </a:cubicBezTo>
                </a:path>
              </a:pathLst>
            </a:custGeom>
            <a:solidFill>
              <a:srgbClr val="FF53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2" name="任意多边形: 形状 311">
              <a:extLst>
                <a:ext uri="{FF2B5EF4-FFF2-40B4-BE49-F238E27FC236}">
                  <a16:creationId xmlns:a16="http://schemas.microsoft.com/office/drawing/2014/main" id="{6ABC9143-4413-4F73-B60A-81D39AFACB1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5974" y="3367272"/>
              <a:ext cx="14694" cy="11303"/>
            </a:xfrm>
            <a:custGeom>
              <a:avLst/>
              <a:gdLst>
                <a:gd name="T0" fmla="*/ 0 w 6"/>
                <a:gd name="T1" fmla="*/ 0 h 5"/>
                <a:gd name="T2" fmla="*/ 0 w 6"/>
                <a:gd name="T3" fmla="*/ 0 h 5"/>
                <a:gd name="T4" fmla="*/ 6 w 6"/>
                <a:gd name="T5" fmla="*/ 5 h 5"/>
                <a:gd name="T6" fmla="*/ 0 w 6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5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2"/>
                    <a:pt x="4" y="4"/>
                    <a:pt x="6" y="5"/>
                  </a:cubicBezTo>
                  <a:cubicBezTo>
                    <a:pt x="4" y="4"/>
                    <a:pt x="2" y="2"/>
                    <a:pt x="0" y="0"/>
                  </a:cubicBezTo>
                </a:path>
              </a:pathLst>
            </a:custGeom>
            <a:solidFill>
              <a:srgbClr val="9C3F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3" name="任意多边形: 形状 312">
              <a:extLst>
                <a:ext uri="{FF2B5EF4-FFF2-40B4-BE49-F238E27FC236}">
                  <a16:creationId xmlns:a16="http://schemas.microsoft.com/office/drawing/2014/main" id="{E42E3B69-27CE-4D1E-BE4A-CA8EF6412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7754" y="3635148"/>
              <a:ext cx="4521" cy="4521"/>
            </a:xfrm>
            <a:custGeom>
              <a:avLst/>
              <a:gdLst>
                <a:gd name="T0" fmla="*/ 0 w 2"/>
                <a:gd name="T1" fmla="*/ 0 h 2"/>
                <a:gd name="T2" fmla="*/ 1 w 2"/>
                <a:gd name="T3" fmla="*/ 1 h 2"/>
                <a:gd name="T4" fmla="*/ 2 w 2"/>
                <a:gd name="T5" fmla="*/ 2 h 2"/>
                <a:gd name="T6" fmla="*/ 1 w 2"/>
                <a:gd name="T7" fmla="*/ 1 h 2"/>
                <a:gd name="T8" fmla="*/ 0 w 2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cubicBezTo>
                    <a:pt x="0" y="0"/>
                    <a:pt x="0" y="1"/>
                    <a:pt x="1" y="1"/>
                  </a:cubicBezTo>
                  <a:cubicBezTo>
                    <a:pt x="1" y="1"/>
                    <a:pt x="1" y="1"/>
                    <a:pt x="2" y="2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0"/>
                    <a:pt x="0" y="0"/>
                  </a:cubicBezTo>
                </a:path>
              </a:pathLst>
            </a:custGeom>
            <a:solidFill>
              <a:srgbClr val="BFB7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4" name="任意多边形: 形状 313">
              <a:extLst>
                <a:ext uri="{FF2B5EF4-FFF2-40B4-BE49-F238E27FC236}">
                  <a16:creationId xmlns:a16="http://schemas.microsoft.com/office/drawing/2014/main" id="{00ADE9BB-191B-497F-8399-923BF192DE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9842" y="3367272"/>
              <a:ext cx="313087" cy="274658"/>
            </a:xfrm>
            <a:custGeom>
              <a:avLst/>
              <a:gdLst>
                <a:gd name="T0" fmla="*/ 126 w 133"/>
                <a:gd name="T1" fmla="*/ 0 h 117"/>
                <a:gd name="T2" fmla="*/ 0 w 133"/>
                <a:gd name="T3" fmla="*/ 112 h 117"/>
                <a:gd name="T4" fmla="*/ 3 w 133"/>
                <a:gd name="T5" fmla="*/ 114 h 117"/>
                <a:gd name="T6" fmla="*/ 4 w 133"/>
                <a:gd name="T7" fmla="*/ 115 h 117"/>
                <a:gd name="T8" fmla="*/ 5 w 133"/>
                <a:gd name="T9" fmla="*/ 116 h 117"/>
                <a:gd name="T10" fmla="*/ 7 w 133"/>
                <a:gd name="T11" fmla="*/ 117 h 117"/>
                <a:gd name="T12" fmla="*/ 133 w 133"/>
                <a:gd name="T13" fmla="*/ 6 h 117"/>
                <a:gd name="T14" fmla="*/ 132 w 133"/>
                <a:gd name="T15" fmla="*/ 5 h 117"/>
                <a:gd name="T16" fmla="*/ 126 w 133"/>
                <a:gd name="T17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3" h="117">
                  <a:moveTo>
                    <a:pt x="126" y="0"/>
                  </a:moveTo>
                  <a:cubicBezTo>
                    <a:pt x="77" y="30"/>
                    <a:pt x="35" y="67"/>
                    <a:pt x="0" y="112"/>
                  </a:cubicBezTo>
                  <a:cubicBezTo>
                    <a:pt x="1" y="113"/>
                    <a:pt x="2" y="113"/>
                    <a:pt x="3" y="114"/>
                  </a:cubicBezTo>
                  <a:cubicBezTo>
                    <a:pt x="3" y="114"/>
                    <a:pt x="3" y="115"/>
                    <a:pt x="4" y="115"/>
                  </a:cubicBezTo>
                  <a:cubicBezTo>
                    <a:pt x="4" y="115"/>
                    <a:pt x="4" y="115"/>
                    <a:pt x="5" y="116"/>
                  </a:cubicBezTo>
                  <a:cubicBezTo>
                    <a:pt x="5" y="116"/>
                    <a:pt x="6" y="116"/>
                    <a:pt x="7" y="117"/>
                  </a:cubicBezTo>
                  <a:cubicBezTo>
                    <a:pt x="41" y="72"/>
                    <a:pt x="84" y="35"/>
                    <a:pt x="133" y="6"/>
                  </a:cubicBezTo>
                  <a:cubicBezTo>
                    <a:pt x="133" y="6"/>
                    <a:pt x="133" y="5"/>
                    <a:pt x="132" y="5"/>
                  </a:cubicBezTo>
                  <a:cubicBezTo>
                    <a:pt x="130" y="4"/>
                    <a:pt x="128" y="2"/>
                    <a:pt x="126" y="0"/>
                  </a:cubicBezTo>
                </a:path>
              </a:pathLst>
            </a:custGeom>
            <a:solidFill>
              <a:srgbClr val="FF53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5" name="任意多边形: 形状 314">
              <a:extLst>
                <a:ext uri="{FF2B5EF4-FFF2-40B4-BE49-F238E27FC236}">
                  <a16:creationId xmlns:a16="http://schemas.microsoft.com/office/drawing/2014/main" id="{F8A0168F-7747-4D8A-8818-703AF524EA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6498" y="3665666"/>
              <a:ext cx="248661" cy="309696"/>
            </a:xfrm>
            <a:custGeom>
              <a:avLst/>
              <a:gdLst>
                <a:gd name="T0" fmla="*/ 99 w 106"/>
                <a:gd name="T1" fmla="*/ 102 h 132"/>
                <a:gd name="T2" fmla="*/ 104 w 106"/>
                <a:gd name="T3" fmla="*/ 111 h 132"/>
                <a:gd name="T4" fmla="*/ 103 w 106"/>
                <a:gd name="T5" fmla="*/ 112 h 132"/>
                <a:gd name="T6" fmla="*/ 78 w 106"/>
                <a:gd name="T7" fmla="*/ 127 h 132"/>
                <a:gd name="T8" fmla="*/ 58 w 106"/>
                <a:gd name="T9" fmla="*/ 131 h 132"/>
                <a:gd name="T10" fmla="*/ 0 w 106"/>
                <a:gd name="T11" fmla="*/ 111 h 132"/>
                <a:gd name="T12" fmla="*/ 14 w 106"/>
                <a:gd name="T13" fmla="*/ 18 h 132"/>
                <a:gd name="T14" fmla="*/ 14 w 106"/>
                <a:gd name="T15" fmla="*/ 16 h 132"/>
                <a:gd name="T16" fmla="*/ 14 w 106"/>
                <a:gd name="T17" fmla="*/ 16 h 132"/>
                <a:gd name="T18" fmla="*/ 14 w 106"/>
                <a:gd name="T19" fmla="*/ 16 h 132"/>
                <a:gd name="T20" fmla="*/ 12 w 106"/>
                <a:gd name="T21" fmla="*/ 0 h 132"/>
                <a:gd name="T22" fmla="*/ 77 w 106"/>
                <a:gd name="T23" fmla="*/ 3 h 132"/>
                <a:gd name="T24" fmla="*/ 97 w 106"/>
                <a:gd name="T25" fmla="*/ 4 h 132"/>
                <a:gd name="T26" fmla="*/ 97 w 106"/>
                <a:gd name="T27" fmla="*/ 4 h 132"/>
                <a:gd name="T28" fmla="*/ 100 w 106"/>
                <a:gd name="T29" fmla="*/ 4 h 132"/>
                <a:gd name="T30" fmla="*/ 106 w 106"/>
                <a:gd name="T31" fmla="*/ 5 h 132"/>
                <a:gd name="T32" fmla="*/ 106 w 106"/>
                <a:gd name="T33" fmla="*/ 5 h 132"/>
                <a:gd name="T34" fmla="*/ 102 w 106"/>
                <a:gd name="T35" fmla="*/ 12 h 132"/>
                <a:gd name="T36" fmla="*/ 92 w 106"/>
                <a:gd name="T37" fmla="*/ 88 h 132"/>
                <a:gd name="T38" fmla="*/ 99 w 106"/>
                <a:gd name="T39" fmla="*/ 10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6" h="132">
                  <a:moveTo>
                    <a:pt x="99" y="102"/>
                  </a:moveTo>
                  <a:cubicBezTo>
                    <a:pt x="101" y="106"/>
                    <a:pt x="103" y="110"/>
                    <a:pt x="104" y="111"/>
                  </a:cubicBezTo>
                  <a:cubicBezTo>
                    <a:pt x="104" y="111"/>
                    <a:pt x="104" y="112"/>
                    <a:pt x="103" y="112"/>
                  </a:cubicBezTo>
                  <a:cubicBezTo>
                    <a:pt x="93" y="119"/>
                    <a:pt x="86" y="124"/>
                    <a:pt x="78" y="127"/>
                  </a:cubicBezTo>
                  <a:cubicBezTo>
                    <a:pt x="72" y="129"/>
                    <a:pt x="66" y="130"/>
                    <a:pt x="58" y="131"/>
                  </a:cubicBezTo>
                  <a:cubicBezTo>
                    <a:pt x="36" y="132"/>
                    <a:pt x="15" y="129"/>
                    <a:pt x="0" y="111"/>
                  </a:cubicBezTo>
                  <a:cubicBezTo>
                    <a:pt x="21" y="90"/>
                    <a:pt x="19" y="46"/>
                    <a:pt x="14" y="18"/>
                  </a:cubicBezTo>
                  <a:cubicBezTo>
                    <a:pt x="14" y="17"/>
                    <a:pt x="14" y="16"/>
                    <a:pt x="14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3" y="10"/>
                    <a:pt x="12" y="5"/>
                    <a:pt x="12" y="0"/>
                  </a:cubicBezTo>
                  <a:cubicBezTo>
                    <a:pt x="30" y="0"/>
                    <a:pt x="61" y="2"/>
                    <a:pt x="77" y="3"/>
                  </a:cubicBezTo>
                  <a:cubicBezTo>
                    <a:pt x="87" y="3"/>
                    <a:pt x="91" y="4"/>
                    <a:pt x="97" y="4"/>
                  </a:cubicBezTo>
                  <a:cubicBezTo>
                    <a:pt x="97" y="4"/>
                    <a:pt x="97" y="4"/>
                    <a:pt x="97" y="4"/>
                  </a:cubicBezTo>
                  <a:cubicBezTo>
                    <a:pt x="98" y="4"/>
                    <a:pt x="99" y="4"/>
                    <a:pt x="100" y="4"/>
                  </a:cubicBezTo>
                  <a:cubicBezTo>
                    <a:pt x="102" y="4"/>
                    <a:pt x="104" y="4"/>
                    <a:pt x="106" y="5"/>
                  </a:cubicBezTo>
                  <a:cubicBezTo>
                    <a:pt x="106" y="5"/>
                    <a:pt x="106" y="5"/>
                    <a:pt x="106" y="5"/>
                  </a:cubicBezTo>
                  <a:cubicBezTo>
                    <a:pt x="105" y="7"/>
                    <a:pt x="103" y="9"/>
                    <a:pt x="102" y="12"/>
                  </a:cubicBezTo>
                  <a:cubicBezTo>
                    <a:pt x="91" y="29"/>
                    <a:pt x="84" y="68"/>
                    <a:pt x="92" y="88"/>
                  </a:cubicBezTo>
                  <a:cubicBezTo>
                    <a:pt x="93" y="91"/>
                    <a:pt x="96" y="97"/>
                    <a:pt x="99" y="102"/>
                  </a:cubicBezTo>
                </a:path>
              </a:pathLst>
            </a:custGeom>
            <a:solidFill>
              <a:srgbClr val="FFB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6" name="任意多边形: 形状 315">
              <a:extLst>
                <a:ext uri="{FF2B5EF4-FFF2-40B4-BE49-F238E27FC236}">
                  <a16:creationId xmlns:a16="http://schemas.microsoft.com/office/drawing/2014/main" id="{AD772641-5063-4B51-95B8-F3900BF9FB3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6843" y="3665666"/>
              <a:ext cx="228316" cy="255443"/>
            </a:xfrm>
            <a:custGeom>
              <a:avLst/>
              <a:gdLst>
                <a:gd name="T0" fmla="*/ 97 w 97"/>
                <a:gd name="T1" fmla="*/ 4 h 109"/>
                <a:gd name="T2" fmla="*/ 97 w 97"/>
                <a:gd name="T3" fmla="*/ 5 h 109"/>
                <a:gd name="T4" fmla="*/ 93 w 97"/>
                <a:gd name="T5" fmla="*/ 12 h 109"/>
                <a:gd name="T6" fmla="*/ 83 w 97"/>
                <a:gd name="T7" fmla="*/ 88 h 109"/>
                <a:gd name="T8" fmla="*/ 90 w 97"/>
                <a:gd name="T9" fmla="*/ 102 h 109"/>
                <a:gd name="T10" fmla="*/ 5 w 97"/>
                <a:gd name="T11" fmla="*/ 16 h 109"/>
                <a:gd name="T12" fmla="*/ 5 w 97"/>
                <a:gd name="T13" fmla="*/ 16 h 109"/>
                <a:gd name="T14" fmla="*/ 5 w 97"/>
                <a:gd name="T15" fmla="*/ 16 h 109"/>
                <a:gd name="T16" fmla="*/ 5 w 97"/>
                <a:gd name="T17" fmla="*/ 16 h 109"/>
                <a:gd name="T18" fmla="*/ 5 w 97"/>
                <a:gd name="T19" fmla="*/ 16 h 109"/>
                <a:gd name="T20" fmla="*/ 2 w 97"/>
                <a:gd name="T21" fmla="*/ 0 h 109"/>
                <a:gd name="T22" fmla="*/ 3 w 97"/>
                <a:gd name="T23" fmla="*/ 0 h 109"/>
                <a:gd name="T24" fmla="*/ 88 w 97"/>
                <a:gd name="T25" fmla="*/ 4 h 109"/>
                <a:gd name="T26" fmla="*/ 88 w 97"/>
                <a:gd name="T27" fmla="*/ 4 h 109"/>
                <a:gd name="T28" fmla="*/ 91 w 97"/>
                <a:gd name="T29" fmla="*/ 4 h 109"/>
                <a:gd name="T30" fmla="*/ 97 w 97"/>
                <a:gd name="T31" fmla="*/ 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9">
                  <a:moveTo>
                    <a:pt x="97" y="4"/>
                  </a:moveTo>
                  <a:cubicBezTo>
                    <a:pt x="97" y="5"/>
                    <a:pt x="97" y="5"/>
                    <a:pt x="97" y="5"/>
                  </a:cubicBezTo>
                  <a:cubicBezTo>
                    <a:pt x="95" y="7"/>
                    <a:pt x="94" y="9"/>
                    <a:pt x="93" y="12"/>
                  </a:cubicBezTo>
                  <a:cubicBezTo>
                    <a:pt x="82" y="29"/>
                    <a:pt x="75" y="68"/>
                    <a:pt x="83" y="88"/>
                  </a:cubicBezTo>
                  <a:cubicBezTo>
                    <a:pt x="84" y="91"/>
                    <a:pt x="87" y="97"/>
                    <a:pt x="90" y="102"/>
                  </a:cubicBezTo>
                  <a:cubicBezTo>
                    <a:pt x="46" y="109"/>
                    <a:pt x="26" y="49"/>
                    <a:pt x="5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1" y="11"/>
                    <a:pt x="0" y="6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1" y="1"/>
                    <a:pt x="59" y="2"/>
                    <a:pt x="88" y="4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89" y="4"/>
                    <a:pt x="90" y="4"/>
                    <a:pt x="91" y="4"/>
                  </a:cubicBezTo>
                  <a:cubicBezTo>
                    <a:pt x="93" y="4"/>
                    <a:pt x="95" y="4"/>
                    <a:pt x="97" y="4"/>
                  </a:cubicBezTo>
                </a:path>
              </a:pathLst>
            </a:custGeom>
            <a:solidFill>
              <a:srgbClr val="FFA5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7" name="任意多边形: 形状 316">
              <a:extLst>
                <a:ext uri="{FF2B5EF4-FFF2-40B4-BE49-F238E27FC236}">
                  <a16:creationId xmlns:a16="http://schemas.microsoft.com/office/drawing/2014/main" id="{D41B18D8-FF0E-4A7A-9ECD-0760D24EA4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9299" y="3184167"/>
              <a:ext cx="159370" cy="171802"/>
            </a:xfrm>
            <a:custGeom>
              <a:avLst/>
              <a:gdLst>
                <a:gd name="T0" fmla="*/ 68 w 68"/>
                <a:gd name="T1" fmla="*/ 36 h 73"/>
                <a:gd name="T2" fmla="*/ 67 w 68"/>
                <a:gd name="T3" fmla="*/ 42 h 73"/>
                <a:gd name="T4" fmla="*/ 35 w 68"/>
                <a:gd name="T5" fmla="*/ 73 h 73"/>
                <a:gd name="T6" fmla="*/ 0 w 68"/>
                <a:gd name="T7" fmla="*/ 37 h 73"/>
                <a:gd name="T8" fmla="*/ 33 w 68"/>
                <a:gd name="T9" fmla="*/ 0 h 73"/>
                <a:gd name="T10" fmla="*/ 33 w 68"/>
                <a:gd name="T11" fmla="*/ 0 h 73"/>
                <a:gd name="T12" fmla="*/ 68 w 68"/>
                <a:gd name="T13" fmla="*/ 3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" h="73">
                  <a:moveTo>
                    <a:pt x="68" y="36"/>
                  </a:moveTo>
                  <a:cubicBezTo>
                    <a:pt x="68" y="38"/>
                    <a:pt x="68" y="40"/>
                    <a:pt x="67" y="42"/>
                  </a:cubicBezTo>
                  <a:cubicBezTo>
                    <a:pt x="65" y="59"/>
                    <a:pt x="51" y="72"/>
                    <a:pt x="35" y="73"/>
                  </a:cubicBezTo>
                  <a:cubicBezTo>
                    <a:pt x="16" y="73"/>
                    <a:pt x="0" y="57"/>
                    <a:pt x="0" y="37"/>
                  </a:cubicBezTo>
                  <a:cubicBezTo>
                    <a:pt x="0" y="17"/>
                    <a:pt x="14" y="0"/>
                    <a:pt x="33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52" y="0"/>
                    <a:pt x="67" y="16"/>
                    <a:pt x="68" y="36"/>
                  </a:cubicBezTo>
                </a:path>
              </a:pathLst>
            </a:custGeom>
            <a:solidFill>
              <a:srgbClr val="FFB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8" name="任意多边形: 形状 317">
              <a:extLst>
                <a:ext uri="{FF2B5EF4-FFF2-40B4-BE49-F238E27FC236}">
                  <a16:creationId xmlns:a16="http://schemas.microsoft.com/office/drawing/2014/main" id="{CCEAF32C-4424-4594-87D6-A6D3CFD3BB79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8858" y="3227118"/>
              <a:ext cx="80250" cy="85901"/>
            </a:xfrm>
            <a:custGeom>
              <a:avLst/>
              <a:gdLst>
                <a:gd name="T0" fmla="*/ 34 w 34"/>
                <a:gd name="T1" fmla="*/ 18 h 37"/>
                <a:gd name="T2" fmla="*/ 17 w 34"/>
                <a:gd name="T3" fmla="*/ 36 h 37"/>
                <a:gd name="T4" fmla="*/ 0 w 34"/>
                <a:gd name="T5" fmla="*/ 19 h 37"/>
                <a:gd name="T6" fmla="*/ 17 w 34"/>
                <a:gd name="T7" fmla="*/ 0 h 37"/>
                <a:gd name="T8" fmla="*/ 34 w 34"/>
                <a:gd name="T9" fmla="*/ 1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37">
                  <a:moveTo>
                    <a:pt x="34" y="18"/>
                  </a:moveTo>
                  <a:cubicBezTo>
                    <a:pt x="34" y="28"/>
                    <a:pt x="26" y="36"/>
                    <a:pt x="17" y="36"/>
                  </a:cubicBezTo>
                  <a:cubicBezTo>
                    <a:pt x="8" y="37"/>
                    <a:pt x="0" y="29"/>
                    <a:pt x="0" y="19"/>
                  </a:cubicBezTo>
                  <a:cubicBezTo>
                    <a:pt x="0" y="9"/>
                    <a:pt x="7" y="1"/>
                    <a:pt x="17" y="0"/>
                  </a:cubicBezTo>
                  <a:cubicBezTo>
                    <a:pt x="26" y="0"/>
                    <a:pt x="33" y="8"/>
                    <a:pt x="34" y="18"/>
                  </a:cubicBezTo>
                </a:path>
              </a:pathLst>
            </a:custGeom>
            <a:solidFill>
              <a:srgbClr val="FFA5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9" name="任意多边形: 形状 318">
              <a:extLst>
                <a:ext uri="{FF2B5EF4-FFF2-40B4-BE49-F238E27FC236}">
                  <a16:creationId xmlns:a16="http://schemas.microsoft.com/office/drawing/2014/main" id="{CE362027-C4AD-4D2C-B679-3004735F0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8073" y="3268938"/>
              <a:ext cx="98335" cy="87032"/>
            </a:xfrm>
            <a:custGeom>
              <a:avLst/>
              <a:gdLst>
                <a:gd name="T0" fmla="*/ 26 w 42"/>
                <a:gd name="T1" fmla="*/ 0 h 37"/>
                <a:gd name="T2" fmla="*/ 9 w 42"/>
                <a:gd name="T3" fmla="*/ 18 h 37"/>
                <a:gd name="T4" fmla="*/ 1 w 42"/>
                <a:gd name="T5" fmla="*/ 30 h 37"/>
                <a:gd name="T6" fmla="*/ 0 w 42"/>
                <a:gd name="T7" fmla="*/ 35 h 37"/>
                <a:gd name="T8" fmla="*/ 9 w 42"/>
                <a:gd name="T9" fmla="*/ 37 h 37"/>
                <a:gd name="T10" fmla="*/ 10 w 42"/>
                <a:gd name="T11" fmla="*/ 37 h 37"/>
                <a:gd name="T12" fmla="*/ 42 w 42"/>
                <a:gd name="T13" fmla="*/ 6 h 37"/>
                <a:gd name="T14" fmla="*/ 26 w 42"/>
                <a:gd name="T1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37">
                  <a:moveTo>
                    <a:pt x="26" y="0"/>
                  </a:moveTo>
                  <a:cubicBezTo>
                    <a:pt x="26" y="10"/>
                    <a:pt x="19" y="18"/>
                    <a:pt x="9" y="18"/>
                  </a:cubicBezTo>
                  <a:cubicBezTo>
                    <a:pt x="7" y="23"/>
                    <a:pt x="4" y="27"/>
                    <a:pt x="1" y="30"/>
                  </a:cubicBezTo>
                  <a:cubicBezTo>
                    <a:pt x="0" y="32"/>
                    <a:pt x="0" y="34"/>
                    <a:pt x="0" y="35"/>
                  </a:cubicBezTo>
                  <a:cubicBezTo>
                    <a:pt x="2" y="36"/>
                    <a:pt x="6" y="37"/>
                    <a:pt x="9" y="37"/>
                  </a:cubicBezTo>
                  <a:cubicBezTo>
                    <a:pt x="9" y="37"/>
                    <a:pt x="9" y="37"/>
                    <a:pt x="10" y="37"/>
                  </a:cubicBezTo>
                  <a:cubicBezTo>
                    <a:pt x="26" y="36"/>
                    <a:pt x="40" y="23"/>
                    <a:pt x="42" y="6"/>
                  </a:cubicBezTo>
                  <a:cubicBezTo>
                    <a:pt x="36" y="5"/>
                    <a:pt x="30" y="3"/>
                    <a:pt x="26" y="0"/>
                  </a:cubicBezTo>
                </a:path>
              </a:pathLst>
            </a:custGeom>
            <a:solidFill>
              <a:srgbClr val="FFA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0" name="任意多边形: 形状 319">
              <a:extLst>
                <a:ext uri="{FF2B5EF4-FFF2-40B4-BE49-F238E27FC236}">
                  <a16:creationId xmlns:a16="http://schemas.microsoft.com/office/drawing/2014/main" id="{6029CA7E-CCDD-45B5-B753-BA8068BBFE5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9548" y="3254244"/>
              <a:ext cx="39560" cy="56514"/>
            </a:xfrm>
            <a:custGeom>
              <a:avLst/>
              <a:gdLst>
                <a:gd name="T0" fmla="*/ 10 w 17"/>
                <a:gd name="T1" fmla="*/ 0 h 24"/>
                <a:gd name="T2" fmla="*/ 0 w 17"/>
                <a:gd name="T3" fmla="*/ 24 h 24"/>
                <a:gd name="T4" fmla="*/ 17 w 17"/>
                <a:gd name="T5" fmla="*/ 6 h 24"/>
                <a:gd name="T6" fmla="*/ 10 w 17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24">
                  <a:moveTo>
                    <a:pt x="10" y="0"/>
                  </a:moveTo>
                  <a:cubicBezTo>
                    <a:pt x="7" y="10"/>
                    <a:pt x="4" y="18"/>
                    <a:pt x="0" y="24"/>
                  </a:cubicBezTo>
                  <a:cubicBezTo>
                    <a:pt x="10" y="24"/>
                    <a:pt x="17" y="16"/>
                    <a:pt x="17" y="6"/>
                  </a:cubicBezTo>
                  <a:cubicBezTo>
                    <a:pt x="14" y="4"/>
                    <a:pt x="12" y="2"/>
                    <a:pt x="10" y="0"/>
                  </a:cubicBezTo>
                </a:path>
              </a:pathLst>
            </a:custGeom>
            <a:solidFill>
              <a:srgbClr val="FF88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1" name="任意多边形: 形状 320">
              <a:extLst>
                <a:ext uri="{FF2B5EF4-FFF2-40B4-BE49-F238E27FC236}">
                  <a16:creationId xmlns:a16="http://schemas.microsoft.com/office/drawing/2014/main" id="{79D4BBA7-4391-480F-B940-779933F5ECD4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6551" y="3160431"/>
              <a:ext cx="178584" cy="185366"/>
            </a:xfrm>
            <a:custGeom>
              <a:avLst/>
              <a:gdLst>
                <a:gd name="T0" fmla="*/ 64 w 76"/>
                <a:gd name="T1" fmla="*/ 16 h 79"/>
                <a:gd name="T2" fmla="*/ 59 w 76"/>
                <a:gd name="T3" fmla="*/ 67 h 79"/>
                <a:gd name="T4" fmla="*/ 12 w 76"/>
                <a:gd name="T5" fmla="*/ 62 h 79"/>
                <a:gd name="T6" fmla="*/ 16 w 76"/>
                <a:gd name="T7" fmla="*/ 11 h 79"/>
                <a:gd name="T8" fmla="*/ 17 w 76"/>
                <a:gd name="T9" fmla="*/ 10 h 79"/>
                <a:gd name="T10" fmla="*/ 57 w 76"/>
                <a:gd name="T11" fmla="*/ 9 h 79"/>
                <a:gd name="T12" fmla="*/ 64 w 76"/>
                <a:gd name="T13" fmla="*/ 1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" h="79">
                  <a:moveTo>
                    <a:pt x="64" y="16"/>
                  </a:moveTo>
                  <a:cubicBezTo>
                    <a:pt x="76" y="31"/>
                    <a:pt x="74" y="54"/>
                    <a:pt x="59" y="67"/>
                  </a:cubicBezTo>
                  <a:cubicBezTo>
                    <a:pt x="45" y="79"/>
                    <a:pt x="24" y="77"/>
                    <a:pt x="12" y="62"/>
                  </a:cubicBezTo>
                  <a:cubicBezTo>
                    <a:pt x="0" y="46"/>
                    <a:pt x="2" y="24"/>
                    <a:pt x="16" y="11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29" y="0"/>
                    <a:pt x="45" y="0"/>
                    <a:pt x="57" y="9"/>
                  </a:cubicBezTo>
                  <a:cubicBezTo>
                    <a:pt x="60" y="11"/>
                    <a:pt x="62" y="13"/>
                    <a:pt x="64" y="16"/>
                  </a:cubicBezTo>
                </a:path>
              </a:pathLst>
            </a:custGeom>
            <a:solidFill>
              <a:srgbClr val="FFB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2" name="任意多边形: 形状 321">
              <a:extLst>
                <a:ext uri="{FF2B5EF4-FFF2-40B4-BE49-F238E27FC236}">
                  <a16:creationId xmlns:a16="http://schemas.microsoft.com/office/drawing/2014/main" id="{3D35DCDD-E461-4B8E-8222-7BB8FA7CB484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8372" y="3201121"/>
              <a:ext cx="93813" cy="100595"/>
            </a:xfrm>
            <a:custGeom>
              <a:avLst/>
              <a:gdLst>
                <a:gd name="T0" fmla="*/ 34 w 40"/>
                <a:gd name="T1" fmla="*/ 10 h 43"/>
                <a:gd name="T2" fmla="*/ 31 w 40"/>
                <a:gd name="T3" fmla="*/ 36 h 43"/>
                <a:gd name="T4" fmla="*/ 6 w 40"/>
                <a:gd name="T5" fmla="*/ 34 h 43"/>
                <a:gd name="T6" fmla="*/ 8 w 40"/>
                <a:gd name="T7" fmla="*/ 7 h 43"/>
                <a:gd name="T8" fmla="*/ 34 w 40"/>
                <a:gd name="T9" fmla="*/ 1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43">
                  <a:moveTo>
                    <a:pt x="34" y="10"/>
                  </a:moveTo>
                  <a:cubicBezTo>
                    <a:pt x="40" y="18"/>
                    <a:pt x="39" y="30"/>
                    <a:pt x="31" y="36"/>
                  </a:cubicBezTo>
                  <a:cubicBezTo>
                    <a:pt x="24" y="43"/>
                    <a:pt x="12" y="42"/>
                    <a:pt x="6" y="34"/>
                  </a:cubicBezTo>
                  <a:cubicBezTo>
                    <a:pt x="0" y="26"/>
                    <a:pt x="1" y="14"/>
                    <a:pt x="8" y="7"/>
                  </a:cubicBezTo>
                  <a:cubicBezTo>
                    <a:pt x="16" y="0"/>
                    <a:pt x="27" y="2"/>
                    <a:pt x="34" y="10"/>
                  </a:cubicBezTo>
                </a:path>
              </a:pathLst>
            </a:custGeom>
            <a:solidFill>
              <a:srgbClr val="FFA5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3" name="任意多边形: 形状 322">
              <a:extLst>
                <a:ext uri="{FF2B5EF4-FFF2-40B4-BE49-F238E27FC236}">
                  <a16:creationId xmlns:a16="http://schemas.microsoft.com/office/drawing/2014/main" id="{03BF73DE-A9C3-4979-8F15-99EF4BD7644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5593" y="3184167"/>
              <a:ext cx="108507" cy="152588"/>
            </a:xfrm>
            <a:custGeom>
              <a:avLst/>
              <a:gdLst>
                <a:gd name="T0" fmla="*/ 13 w 46"/>
                <a:gd name="T1" fmla="*/ 0 h 65"/>
                <a:gd name="T2" fmla="*/ 13 w 46"/>
                <a:gd name="T3" fmla="*/ 0 h 65"/>
                <a:gd name="T4" fmla="*/ 12 w 46"/>
                <a:gd name="T5" fmla="*/ 1 h 65"/>
                <a:gd name="T6" fmla="*/ 0 w 46"/>
                <a:gd name="T7" fmla="*/ 29 h 65"/>
                <a:gd name="T8" fmla="*/ 8 w 46"/>
                <a:gd name="T9" fmla="*/ 52 h 65"/>
                <a:gd name="T10" fmla="*/ 34 w 46"/>
                <a:gd name="T11" fmla="*/ 65 h 65"/>
                <a:gd name="T12" fmla="*/ 46 w 46"/>
                <a:gd name="T13" fmla="*/ 63 h 65"/>
                <a:gd name="T14" fmla="*/ 42 w 46"/>
                <a:gd name="T15" fmla="*/ 46 h 65"/>
                <a:gd name="T16" fmla="*/ 34 w 46"/>
                <a:gd name="T17" fmla="*/ 48 h 65"/>
                <a:gd name="T18" fmla="*/ 20 w 46"/>
                <a:gd name="T19" fmla="*/ 41 h 65"/>
                <a:gd name="T20" fmla="*/ 22 w 46"/>
                <a:gd name="T21" fmla="*/ 14 h 65"/>
                <a:gd name="T22" fmla="*/ 34 w 46"/>
                <a:gd name="T23" fmla="*/ 10 h 65"/>
                <a:gd name="T24" fmla="*/ 38 w 46"/>
                <a:gd name="T25" fmla="*/ 10 h 65"/>
                <a:gd name="T26" fmla="*/ 38 w 46"/>
                <a:gd name="T27" fmla="*/ 9 h 65"/>
                <a:gd name="T28" fmla="*/ 37 w 46"/>
                <a:gd name="T29" fmla="*/ 8 h 65"/>
                <a:gd name="T30" fmla="*/ 32 w 46"/>
                <a:gd name="T31" fmla="*/ 8 h 65"/>
                <a:gd name="T32" fmla="*/ 13 w 46"/>
                <a:gd name="T33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65"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4" y="8"/>
                    <a:pt x="0" y="18"/>
                    <a:pt x="0" y="29"/>
                  </a:cubicBezTo>
                  <a:cubicBezTo>
                    <a:pt x="0" y="37"/>
                    <a:pt x="3" y="45"/>
                    <a:pt x="8" y="52"/>
                  </a:cubicBezTo>
                  <a:cubicBezTo>
                    <a:pt x="14" y="60"/>
                    <a:pt x="24" y="65"/>
                    <a:pt x="34" y="65"/>
                  </a:cubicBezTo>
                  <a:cubicBezTo>
                    <a:pt x="38" y="65"/>
                    <a:pt x="42" y="64"/>
                    <a:pt x="46" y="63"/>
                  </a:cubicBezTo>
                  <a:cubicBezTo>
                    <a:pt x="44" y="57"/>
                    <a:pt x="43" y="51"/>
                    <a:pt x="42" y="46"/>
                  </a:cubicBezTo>
                  <a:cubicBezTo>
                    <a:pt x="39" y="47"/>
                    <a:pt x="37" y="48"/>
                    <a:pt x="34" y="48"/>
                  </a:cubicBezTo>
                  <a:cubicBezTo>
                    <a:pt x="29" y="48"/>
                    <a:pt x="24" y="45"/>
                    <a:pt x="20" y="41"/>
                  </a:cubicBezTo>
                  <a:cubicBezTo>
                    <a:pt x="14" y="33"/>
                    <a:pt x="15" y="21"/>
                    <a:pt x="22" y="14"/>
                  </a:cubicBezTo>
                  <a:cubicBezTo>
                    <a:pt x="26" y="11"/>
                    <a:pt x="30" y="10"/>
                    <a:pt x="34" y="10"/>
                  </a:cubicBezTo>
                  <a:cubicBezTo>
                    <a:pt x="35" y="10"/>
                    <a:pt x="36" y="10"/>
                    <a:pt x="38" y="10"/>
                  </a:cubicBezTo>
                  <a:cubicBezTo>
                    <a:pt x="38" y="10"/>
                    <a:pt x="38" y="9"/>
                    <a:pt x="38" y="9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35" y="8"/>
                    <a:pt x="33" y="8"/>
                    <a:pt x="32" y="8"/>
                  </a:cubicBezTo>
                  <a:cubicBezTo>
                    <a:pt x="23" y="8"/>
                    <a:pt x="17" y="4"/>
                    <a:pt x="13" y="0"/>
                  </a:cubicBezTo>
                </a:path>
              </a:pathLst>
            </a:custGeom>
            <a:solidFill>
              <a:srgbClr val="FFA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4" name="任意多边形: 形状 323">
              <a:extLst>
                <a:ext uri="{FF2B5EF4-FFF2-40B4-BE49-F238E27FC236}">
                  <a16:creationId xmlns:a16="http://schemas.microsoft.com/office/drawing/2014/main" id="{A421DDEA-B104-46B9-8B74-DA586280E484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8372" y="3207903"/>
              <a:ext cx="65556" cy="89292"/>
            </a:xfrm>
            <a:custGeom>
              <a:avLst/>
              <a:gdLst>
                <a:gd name="T0" fmla="*/ 20 w 28"/>
                <a:gd name="T1" fmla="*/ 0 h 38"/>
                <a:gd name="T2" fmla="*/ 8 w 28"/>
                <a:gd name="T3" fmla="*/ 4 h 38"/>
                <a:gd name="T4" fmla="*/ 6 w 28"/>
                <a:gd name="T5" fmla="*/ 31 h 38"/>
                <a:gd name="T6" fmla="*/ 20 w 28"/>
                <a:gd name="T7" fmla="*/ 38 h 38"/>
                <a:gd name="T8" fmla="*/ 28 w 28"/>
                <a:gd name="T9" fmla="*/ 36 h 38"/>
                <a:gd name="T10" fmla="*/ 24 w 28"/>
                <a:gd name="T11" fmla="*/ 0 h 38"/>
                <a:gd name="T12" fmla="*/ 20 w 28"/>
                <a:gd name="T13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38">
                  <a:moveTo>
                    <a:pt x="20" y="0"/>
                  </a:moveTo>
                  <a:cubicBezTo>
                    <a:pt x="16" y="0"/>
                    <a:pt x="12" y="1"/>
                    <a:pt x="8" y="4"/>
                  </a:cubicBezTo>
                  <a:cubicBezTo>
                    <a:pt x="1" y="11"/>
                    <a:pt x="0" y="23"/>
                    <a:pt x="6" y="31"/>
                  </a:cubicBezTo>
                  <a:cubicBezTo>
                    <a:pt x="10" y="35"/>
                    <a:pt x="15" y="38"/>
                    <a:pt x="20" y="38"/>
                  </a:cubicBezTo>
                  <a:cubicBezTo>
                    <a:pt x="23" y="38"/>
                    <a:pt x="25" y="37"/>
                    <a:pt x="28" y="36"/>
                  </a:cubicBezTo>
                  <a:cubicBezTo>
                    <a:pt x="26" y="24"/>
                    <a:pt x="24" y="12"/>
                    <a:pt x="24" y="0"/>
                  </a:cubicBezTo>
                  <a:cubicBezTo>
                    <a:pt x="22" y="0"/>
                    <a:pt x="21" y="0"/>
                    <a:pt x="20" y="0"/>
                  </a:cubicBezTo>
                </a:path>
              </a:pathLst>
            </a:custGeom>
            <a:solidFill>
              <a:srgbClr val="FF88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5" name="任意多边形: 形状 324">
              <a:extLst>
                <a:ext uri="{FF2B5EF4-FFF2-40B4-BE49-F238E27FC236}">
                  <a16:creationId xmlns:a16="http://schemas.microsoft.com/office/drawing/2014/main" id="{81A88C91-E354-4A8E-AC9B-24674D03469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2625" y="2588510"/>
              <a:ext cx="871445" cy="1135930"/>
            </a:xfrm>
            <a:custGeom>
              <a:avLst/>
              <a:gdLst>
                <a:gd name="T0" fmla="*/ 0 w 371"/>
                <a:gd name="T1" fmla="*/ 240 h 484"/>
                <a:gd name="T2" fmla="*/ 0 w 371"/>
                <a:gd name="T3" fmla="*/ 257 h 484"/>
                <a:gd name="T4" fmla="*/ 1 w 371"/>
                <a:gd name="T5" fmla="*/ 263 h 484"/>
                <a:gd name="T6" fmla="*/ 14 w 371"/>
                <a:gd name="T7" fmla="*/ 335 h 484"/>
                <a:gd name="T8" fmla="*/ 111 w 371"/>
                <a:gd name="T9" fmla="*/ 464 h 484"/>
                <a:gd name="T10" fmla="*/ 183 w 371"/>
                <a:gd name="T11" fmla="*/ 484 h 484"/>
                <a:gd name="T12" fmla="*/ 223 w 371"/>
                <a:gd name="T13" fmla="*/ 479 h 484"/>
                <a:gd name="T14" fmla="*/ 301 w 371"/>
                <a:gd name="T15" fmla="*/ 430 h 484"/>
                <a:gd name="T16" fmla="*/ 362 w 371"/>
                <a:gd name="T17" fmla="*/ 318 h 484"/>
                <a:gd name="T18" fmla="*/ 370 w 371"/>
                <a:gd name="T19" fmla="*/ 269 h 484"/>
                <a:gd name="T20" fmla="*/ 371 w 371"/>
                <a:gd name="T21" fmla="*/ 244 h 484"/>
                <a:gd name="T22" fmla="*/ 371 w 371"/>
                <a:gd name="T23" fmla="*/ 237 h 484"/>
                <a:gd name="T24" fmla="*/ 371 w 371"/>
                <a:gd name="T25" fmla="*/ 234 h 484"/>
                <a:gd name="T26" fmla="*/ 371 w 371"/>
                <a:gd name="T27" fmla="*/ 230 h 484"/>
                <a:gd name="T28" fmla="*/ 370 w 371"/>
                <a:gd name="T29" fmla="*/ 211 h 484"/>
                <a:gd name="T30" fmla="*/ 348 w 371"/>
                <a:gd name="T31" fmla="*/ 123 h 484"/>
                <a:gd name="T32" fmla="*/ 274 w 371"/>
                <a:gd name="T33" fmla="*/ 28 h 484"/>
                <a:gd name="T34" fmla="*/ 188 w 371"/>
                <a:gd name="T35" fmla="*/ 0 h 484"/>
                <a:gd name="T36" fmla="*/ 146 w 371"/>
                <a:gd name="T37" fmla="*/ 6 h 484"/>
                <a:gd name="T38" fmla="*/ 8 w 371"/>
                <a:gd name="T39" fmla="*/ 171 h 484"/>
                <a:gd name="T40" fmla="*/ 0 w 371"/>
                <a:gd name="T41" fmla="*/ 240 h 4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71" h="484">
                  <a:moveTo>
                    <a:pt x="0" y="240"/>
                  </a:moveTo>
                  <a:cubicBezTo>
                    <a:pt x="0" y="246"/>
                    <a:pt x="0" y="251"/>
                    <a:pt x="0" y="257"/>
                  </a:cubicBezTo>
                  <a:cubicBezTo>
                    <a:pt x="0" y="259"/>
                    <a:pt x="0" y="261"/>
                    <a:pt x="1" y="263"/>
                  </a:cubicBezTo>
                  <a:cubicBezTo>
                    <a:pt x="2" y="288"/>
                    <a:pt x="7" y="312"/>
                    <a:pt x="14" y="335"/>
                  </a:cubicBezTo>
                  <a:cubicBezTo>
                    <a:pt x="32" y="393"/>
                    <a:pt x="67" y="439"/>
                    <a:pt x="111" y="464"/>
                  </a:cubicBezTo>
                  <a:cubicBezTo>
                    <a:pt x="133" y="477"/>
                    <a:pt x="157" y="484"/>
                    <a:pt x="183" y="484"/>
                  </a:cubicBezTo>
                  <a:cubicBezTo>
                    <a:pt x="197" y="484"/>
                    <a:pt x="210" y="482"/>
                    <a:pt x="223" y="479"/>
                  </a:cubicBezTo>
                  <a:cubicBezTo>
                    <a:pt x="252" y="471"/>
                    <a:pt x="279" y="454"/>
                    <a:pt x="301" y="430"/>
                  </a:cubicBezTo>
                  <a:cubicBezTo>
                    <a:pt x="329" y="401"/>
                    <a:pt x="350" y="363"/>
                    <a:pt x="362" y="318"/>
                  </a:cubicBezTo>
                  <a:cubicBezTo>
                    <a:pt x="366" y="302"/>
                    <a:pt x="368" y="286"/>
                    <a:pt x="370" y="269"/>
                  </a:cubicBezTo>
                  <a:cubicBezTo>
                    <a:pt x="371" y="261"/>
                    <a:pt x="371" y="252"/>
                    <a:pt x="371" y="244"/>
                  </a:cubicBezTo>
                  <a:cubicBezTo>
                    <a:pt x="371" y="242"/>
                    <a:pt x="371" y="240"/>
                    <a:pt x="371" y="237"/>
                  </a:cubicBezTo>
                  <a:cubicBezTo>
                    <a:pt x="371" y="236"/>
                    <a:pt x="371" y="235"/>
                    <a:pt x="371" y="234"/>
                  </a:cubicBezTo>
                  <a:cubicBezTo>
                    <a:pt x="371" y="232"/>
                    <a:pt x="371" y="231"/>
                    <a:pt x="371" y="230"/>
                  </a:cubicBezTo>
                  <a:cubicBezTo>
                    <a:pt x="371" y="223"/>
                    <a:pt x="370" y="217"/>
                    <a:pt x="370" y="211"/>
                  </a:cubicBezTo>
                  <a:cubicBezTo>
                    <a:pt x="367" y="180"/>
                    <a:pt x="359" y="150"/>
                    <a:pt x="348" y="123"/>
                  </a:cubicBezTo>
                  <a:cubicBezTo>
                    <a:pt x="331" y="83"/>
                    <a:pt x="305" y="50"/>
                    <a:pt x="274" y="28"/>
                  </a:cubicBezTo>
                  <a:cubicBezTo>
                    <a:pt x="248" y="10"/>
                    <a:pt x="219" y="0"/>
                    <a:pt x="188" y="0"/>
                  </a:cubicBezTo>
                  <a:cubicBezTo>
                    <a:pt x="174" y="0"/>
                    <a:pt x="160" y="2"/>
                    <a:pt x="146" y="6"/>
                  </a:cubicBezTo>
                  <a:cubicBezTo>
                    <a:pt x="81" y="24"/>
                    <a:pt x="28" y="88"/>
                    <a:pt x="8" y="171"/>
                  </a:cubicBezTo>
                  <a:cubicBezTo>
                    <a:pt x="3" y="193"/>
                    <a:pt x="0" y="216"/>
                    <a:pt x="0" y="240"/>
                  </a:cubicBezTo>
                </a:path>
              </a:pathLst>
            </a:custGeom>
            <a:solidFill>
              <a:srgbClr val="FFB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6" name="任意多边形: 形状 325">
              <a:extLst>
                <a:ext uri="{FF2B5EF4-FFF2-40B4-BE49-F238E27FC236}">
                  <a16:creationId xmlns:a16="http://schemas.microsoft.com/office/drawing/2014/main" id="{5858AD48-FD39-486D-BF81-C165FB9EF84F}"/>
                </a:ext>
              </a:extLst>
            </p:cNvPr>
            <p:cNvSpPr>
              <a:spLocks/>
            </p:cNvSpPr>
            <p:nvPr/>
          </p:nvSpPr>
          <p:spPr bwMode="auto">
            <a:xfrm>
              <a:off x="2135403" y="3280241"/>
              <a:ext cx="357168" cy="396728"/>
            </a:xfrm>
            <a:custGeom>
              <a:avLst/>
              <a:gdLst>
                <a:gd name="T0" fmla="*/ 97 w 152"/>
                <a:gd name="T1" fmla="*/ 169 h 169"/>
                <a:gd name="T2" fmla="*/ 0 w 152"/>
                <a:gd name="T3" fmla="*/ 40 h 169"/>
                <a:gd name="T4" fmla="*/ 71 w 152"/>
                <a:gd name="T5" fmla="*/ 0 h 169"/>
                <a:gd name="T6" fmla="*/ 151 w 152"/>
                <a:gd name="T7" fmla="*/ 88 h 169"/>
                <a:gd name="T8" fmla="*/ 97 w 152"/>
                <a:gd name="T9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2" h="169">
                  <a:moveTo>
                    <a:pt x="97" y="169"/>
                  </a:moveTo>
                  <a:cubicBezTo>
                    <a:pt x="53" y="144"/>
                    <a:pt x="18" y="98"/>
                    <a:pt x="0" y="40"/>
                  </a:cubicBezTo>
                  <a:cubicBezTo>
                    <a:pt x="17" y="19"/>
                    <a:pt x="46" y="0"/>
                    <a:pt x="71" y="0"/>
                  </a:cubicBezTo>
                  <a:cubicBezTo>
                    <a:pt x="116" y="0"/>
                    <a:pt x="152" y="40"/>
                    <a:pt x="151" y="88"/>
                  </a:cubicBezTo>
                  <a:cubicBezTo>
                    <a:pt x="151" y="126"/>
                    <a:pt x="128" y="157"/>
                    <a:pt x="97" y="169"/>
                  </a:cubicBezTo>
                  <a:close/>
                </a:path>
              </a:pathLst>
            </a:custGeom>
            <a:solidFill>
              <a:srgbClr val="FFA5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7" name="任意多边形: 形状 326">
              <a:extLst>
                <a:ext uri="{FF2B5EF4-FFF2-40B4-BE49-F238E27FC236}">
                  <a16:creationId xmlns:a16="http://schemas.microsoft.com/office/drawing/2014/main" id="{87BDB2BE-D496-4075-8ED4-FC82917205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4183" y="3332233"/>
              <a:ext cx="168412" cy="265616"/>
            </a:xfrm>
            <a:custGeom>
              <a:avLst/>
              <a:gdLst>
                <a:gd name="T0" fmla="*/ 72 w 72"/>
                <a:gd name="T1" fmla="*/ 1 h 113"/>
                <a:gd name="T2" fmla="*/ 11 w 72"/>
                <a:gd name="T3" fmla="*/ 113 h 113"/>
                <a:gd name="T4" fmla="*/ 0 w 72"/>
                <a:gd name="T5" fmla="*/ 72 h 113"/>
                <a:gd name="T6" fmla="*/ 68 w 72"/>
                <a:gd name="T7" fmla="*/ 1 h 113"/>
                <a:gd name="T8" fmla="*/ 72 w 72"/>
                <a:gd name="T9" fmla="*/ 1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113">
                  <a:moveTo>
                    <a:pt x="72" y="1"/>
                  </a:moveTo>
                  <a:cubicBezTo>
                    <a:pt x="60" y="46"/>
                    <a:pt x="39" y="84"/>
                    <a:pt x="11" y="113"/>
                  </a:cubicBezTo>
                  <a:cubicBezTo>
                    <a:pt x="4" y="102"/>
                    <a:pt x="0" y="88"/>
                    <a:pt x="0" y="72"/>
                  </a:cubicBezTo>
                  <a:cubicBezTo>
                    <a:pt x="0" y="32"/>
                    <a:pt x="31" y="0"/>
                    <a:pt x="68" y="1"/>
                  </a:cubicBezTo>
                  <a:cubicBezTo>
                    <a:pt x="69" y="1"/>
                    <a:pt x="70" y="1"/>
                    <a:pt x="72" y="1"/>
                  </a:cubicBezTo>
                  <a:close/>
                </a:path>
              </a:pathLst>
            </a:custGeom>
            <a:solidFill>
              <a:srgbClr val="FFA5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8" name="任意多边形: 形状 327">
              <a:extLst>
                <a:ext uri="{FF2B5EF4-FFF2-40B4-BE49-F238E27FC236}">
                  <a16:creationId xmlns:a16="http://schemas.microsoft.com/office/drawing/2014/main" id="{E21B0A69-4F0E-4799-BD5F-7AB8D81805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0823" y="2461919"/>
              <a:ext cx="1285127" cy="905353"/>
            </a:xfrm>
            <a:custGeom>
              <a:avLst/>
              <a:gdLst>
                <a:gd name="T0" fmla="*/ 450 w 547"/>
                <a:gd name="T1" fmla="*/ 237 h 386"/>
                <a:gd name="T2" fmla="*/ 419 w 547"/>
                <a:gd name="T3" fmla="*/ 386 h 386"/>
                <a:gd name="T4" fmla="*/ 433 w 547"/>
                <a:gd name="T5" fmla="*/ 337 h 386"/>
                <a:gd name="T6" fmla="*/ 413 w 547"/>
                <a:gd name="T7" fmla="*/ 239 h 386"/>
                <a:gd name="T8" fmla="*/ 402 w 547"/>
                <a:gd name="T9" fmla="*/ 239 h 386"/>
                <a:gd name="T10" fmla="*/ 264 w 547"/>
                <a:gd name="T11" fmla="*/ 226 h 386"/>
                <a:gd name="T12" fmla="*/ 264 w 547"/>
                <a:gd name="T13" fmla="*/ 226 h 386"/>
                <a:gd name="T14" fmla="*/ 264 w 547"/>
                <a:gd name="T15" fmla="*/ 226 h 386"/>
                <a:gd name="T16" fmla="*/ 171 w 547"/>
                <a:gd name="T17" fmla="*/ 205 h 386"/>
                <a:gd name="T18" fmla="*/ 122 w 547"/>
                <a:gd name="T19" fmla="*/ 234 h 386"/>
                <a:gd name="T20" fmla="*/ 122 w 547"/>
                <a:gd name="T21" fmla="*/ 234 h 386"/>
                <a:gd name="T22" fmla="*/ 122 w 547"/>
                <a:gd name="T23" fmla="*/ 234 h 386"/>
                <a:gd name="T24" fmla="*/ 122 w 547"/>
                <a:gd name="T25" fmla="*/ 234 h 386"/>
                <a:gd name="T26" fmla="*/ 122 w 547"/>
                <a:gd name="T27" fmla="*/ 380 h 386"/>
                <a:gd name="T28" fmla="*/ 73 w 547"/>
                <a:gd name="T29" fmla="*/ 311 h 386"/>
                <a:gd name="T30" fmla="*/ 264 w 547"/>
                <a:gd name="T31" fmla="*/ 12 h 386"/>
                <a:gd name="T32" fmla="*/ 413 w 547"/>
                <a:gd name="T33" fmla="*/ 67 h 386"/>
                <a:gd name="T34" fmla="*/ 465 w 547"/>
                <a:gd name="T35" fmla="*/ 99 h 386"/>
                <a:gd name="T36" fmla="*/ 541 w 547"/>
                <a:gd name="T37" fmla="*/ 154 h 386"/>
                <a:gd name="T38" fmla="*/ 481 w 547"/>
                <a:gd name="T39" fmla="*/ 187 h 386"/>
                <a:gd name="T40" fmla="*/ 547 w 547"/>
                <a:gd name="T41" fmla="*/ 215 h 386"/>
                <a:gd name="T42" fmla="*/ 450 w 547"/>
                <a:gd name="T43" fmla="*/ 237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47" h="386">
                  <a:moveTo>
                    <a:pt x="450" y="237"/>
                  </a:moveTo>
                  <a:cubicBezTo>
                    <a:pt x="475" y="366"/>
                    <a:pt x="419" y="386"/>
                    <a:pt x="419" y="386"/>
                  </a:cubicBezTo>
                  <a:cubicBezTo>
                    <a:pt x="419" y="386"/>
                    <a:pt x="425" y="372"/>
                    <a:pt x="433" y="337"/>
                  </a:cubicBezTo>
                  <a:cubicBezTo>
                    <a:pt x="440" y="302"/>
                    <a:pt x="413" y="239"/>
                    <a:pt x="413" y="239"/>
                  </a:cubicBezTo>
                  <a:cubicBezTo>
                    <a:pt x="409" y="239"/>
                    <a:pt x="406" y="239"/>
                    <a:pt x="402" y="239"/>
                  </a:cubicBezTo>
                  <a:cubicBezTo>
                    <a:pt x="354" y="239"/>
                    <a:pt x="306" y="234"/>
                    <a:pt x="264" y="226"/>
                  </a:cubicBezTo>
                  <a:cubicBezTo>
                    <a:pt x="264" y="226"/>
                    <a:pt x="264" y="226"/>
                    <a:pt x="264" y="226"/>
                  </a:cubicBezTo>
                  <a:cubicBezTo>
                    <a:pt x="264" y="226"/>
                    <a:pt x="264" y="226"/>
                    <a:pt x="264" y="226"/>
                  </a:cubicBezTo>
                  <a:cubicBezTo>
                    <a:pt x="227" y="220"/>
                    <a:pt x="195" y="212"/>
                    <a:pt x="171" y="205"/>
                  </a:cubicBezTo>
                  <a:cubicBezTo>
                    <a:pt x="156" y="250"/>
                    <a:pt x="122" y="234"/>
                    <a:pt x="122" y="234"/>
                  </a:cubicBezTo>
                  <a:cubicBezTo>
                    <a:pt x="122" y="234"/>
                    <a:pt x="122" y="234"/>
                    <a:pt x="122" y="234"/>
                  </a:cubicBezTo>
                  <a:cubicBezTo>
                    <a:pt x="122" y="234"/>
                    <a:pt x="122" y="234"/>
                    <a:pt x="122" y="234"/>
                  </a:cubicBezTo>
                  <a:cubicBezTo>
                    <a:pt x="122" y="234"/>
                    <a:pt x="122" y="234"/>
                    <a:pt x="122" y="234"/>
                  </a:cubicBezTo>
                  <a:cubicBezTo>
                    <a:pt x="122" y="380"/>
                    <a:pt x="122" y="380"/>
                    <a:pt x="122" y="380"/>
                  </a:cubicBezTo>
                  <a:cubicBezTo>
                    <a:pt x="122" y="380"/>
                    <a:pt x="78" y="369"/>
                    <a:pt x="73" y="311"/>
                  </a:cubicBezTo>
                  <a:cubicBezTo>
                    <a:pt x="0" y="82"/>
                    <a:pt x="175" y="0"/>
                    <a:pt x="264" y="12"/>
                  </a:cubicBezTo>
                  <a:cubicBezTo>
                    <a:pt x="314" y="18"/>
                    <a:pt x="367" y="42"/>
                    <a:pt x="413" y="67"/>
                  </a:cubicBezTo>
                  <a:cubicBezTo>
                    <a:pt x="432" y="78"/>
                    <a:pt x="449" y="89"/>
                    <a:pt x="465" y="99"/>
                  </a:cubicBezTo>
                  <a:cubicBezTo>
                    <a:pt x="510" y="129"/>
                    <a:pt x="541" y="154"/>
                    <a:pt x="541" y="154"/>
                  </a:cubicBezTo>
                  <a:cubicBezTo>
                    <a:pt x="536" y="181"/>
                    <a:pt x="481" y="187"/>
                    <a:pt x="481" y="187"/>
                  </a:cubicBezTo>
                  <a:cubicBezTo>
                    <a:pt x="492" y="202"/>
                    <a:pt x="547" y="215"/>
                    <a:pt x="547" y="215"/>
                  </a:cubicBezTo>
                  <a:cubicBezTo>
                    <a:pt x="517" y="227"/>
                    <a:pt x="484" y="234"/>
                    <a:pt x="450" y="237"/>
                  </a:cubicBezTo>
                </a:path>
              </a:pathLst>
            </a:custGeom>
            <a:solidFill>
              <a:srgbClr val="E62F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9" name="任意多边形: 形状 328">
              <a:extLst>
                <a:ext uri="{FF2B5EF4-FFF2-40B4-BE49-F238E27FC236}">
                  <a16:creationId xmlns:a16="http://schemas.microsoft.com/office/drawing/2014/main" id="{AF484AF2-A8AB-48DD-A707-F7477A4C47F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67586" y="2980717"/>
              <a:ext cx="168412" cy="181975"/>
            </a:xfrm>
            <a:custGeom>
              <a:avLst/>
              <a:gdLst>
                <a:gd name="T0" fmla="*/ 64 w 72"/>
                <a:gd name="T1" fmla="*/ 13 h 78"/>
                <a:gd name="T2" fmla="*/ 64 w 72"/>
                <a:gd name="T3" fmla="*/ 13 h 78"/>
                <a:gd name="T4" fmla="*/ 64 w 72"/>
                <a:gd name="T5" fmla="*/ 13 h 78"/>
                <a:gd name="T6" fmla="*/ 72 w 72"/>
                <a:gd name="T7" fmla="*/ 15 h 78"/>
                <a:gd name="T8" fmla="*/ 69 w 72"/>
                <a:gd name="T9" fmla="*/ 0 h 78"/>
                <a:gd name="T10" fmla="*/ 0 w 72"/>
                <a:gd name="T11" fmla="*/ 24 h 78"/>
                <a:gd name="T12" fmla="*/ 12 w 72"/>
                <a:gd name="T13" fmla="*/ 78 h 78"/>
                <a:gd name="T14" fmla="*/ 64 w 72"/>
                <a:gd name="T15" fmla="*/ 61 h 78"/>
                <a:gd name="T16" fmla="*/ 64 w 72"/>
                <a:gd name="T17" fmla="*/ 13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78">
                  <a:moveTo>
                    <a:pt x="64" y="13"/>
                  </a:moveTo>
                  <a:cubicBezTo>
                    <a:pt x="64" y="13"/>
                    <a:pt x="64" y="13"/>
                    <a:pt x="64" y="13"/>
                  </a:cubicBezTo>
                  <a:cubicBezTo>
                    <a:pt x="64" y="13"/>
                    <a:pt x="64" y="13"/>
                    <a:pt x="64" y="13"/>
                  </a:cubicBezTo>
                  <a:cubicBezTo>
                    <a:pt x="64" y="13"/>
                    <a:pt x="67" y="14"/>
                    <a:pt x="72" y="15"/>
                  </a:cubicBezTo>
                  <a:cubicBezTo>
                    <a:pt x="71" y="6"/>
                    <a:pt x="69" y="0"/>
                    <a:pt x="69" y="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2" y="41"/>
                    <a:pt x="6" y="59"/>
                    <a:pt x="12" y="78"/>
                  </a:cubicBezTo>
                  <a:cubicBezTo>
                    <a:pt x="38" y="73"/>
                    <a:pt x="64" y="61"/>
                    <a:pt x="64" y="61"/>
                  </a:cubicBezTo>
                  <a:cubicBezTo>
                    <a:pt x="64" y="13"/>
                    <a:pt x="64" y="13"/>
                    <a:pt x="64" y="13"/>
                  </a:cubicBezTo>
                  <a:close/>
                </a:path>
              </a:pathLst>
            </a:custGeom>
            <a:solidFill>
              <a:srgbClr val="CF27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0" name="任意多边形: 形状 329">
              <a:extLst>
                <a:ext uri="{FF2B5EF4-FFF2-40B4-BE49-F238E27FC236}">
                  <a16:creationId xmlns:a16="http://schemas.microsoft.com/office/drawing/2014/main" id="{6F80E9C6-E2D2-4A87-97D7-10EF39ED97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1345" y="2619028"/>
              <a:ext cx="472456" cy="372992"/>
            </a:xfrm>
            <a:custGeom>
              <a:avLst/>
              <a:gdLst>
                <a:gd name="T0" fmla="*/ 201 w 201"/>
                <a:gd name="T1" fmla="*/ 32 h 159"/>
                <a:gd name="T2" fmla="*/ 0 w 201"/>
                <a:gd name="T3" fmla="*/ 159 h 159"/>
                <a:gd name="T4" fmla="*/ 0 w 201"/>
                <a:gd name="T5" fmla="*/ 159 h 159"/>
                <a:gd name="T6" fmla="*/ 0 w 201"/>
                <a:gd name="T7" fmla="*/ 159 h 159"/>
                <a:gd name="T8" fmla="*/ 0 w 201"/>
                <a:gd name="T9" fmla="*/ 159 h 159"/>
                <a:gd name="T10" fmla="*/ 149 w 201"/>
                <a:gd name="T11" fmla="*/ 0 h 159"/>
                <a:gd name="T12" fmla="*/ 201 w 201"/>
                <a:gd name="T13" fmla="*/ 32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1" h="159">
                  <a:moveTo>
                    <a:pt x="201" y="32"/>
                  </a:moveTo>
                  <a:cubicBezTo>
                    <a:pt x="153" y="131"/>
                    <a:pt x="5" y="158"/>
                    <a:pt x="0" y="159"/>
                  </a:cubicBezTo>
                  <a:cubicBezTo>
                    <a:pt x="0" y="159"/>
                    <a:pt x="0" y="159"/>
                    <a:pt x="0" y="159"/>
                  </a:cubicBezTo>
                  <a:cubicBezTo>
                    <a:pt x="0" y="159"/>
                    <a:pt x="0" y="159"/>
                    <a:pt x="0" y="159"/>
                  </a:cubicBezTo>
                  <a:cubicBezTo>
                    <a:pt x="0" y="159"/>
                    <a:pt x="0" y="159"/>
                    <a:pt x="0" y="159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68" y="11"/>
                    <a:pt x="185" y="22"/>
                    <a:pt x="201" y="32"/>
                  </a:cubicBezTo>
                  <a:close/>
                </a:path>
              </a:pathLst>
            </a:custGeom>
            <a:solidFill>
              <a:srgbClr val="CF27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1" name="任意多边形: 形状 330">
              <a:extLst>
                <a:ext uri="{FF2B5EF4-FFF2-40B4-BE49-F238E27FC236}">
                  <a16:creationId xmlns:a16="http://schemas.microsoft.com/office/drawing/2014/main" id="{A8941BB5-2DD2-4E78-A568-DF5B08F54BE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5236" y="3190949"/>
              <a:ext cx="134503" cy="84771"/>
            </a:xfrm>
            <a:custGeom>
              <a:avLst/>
              <a:gdLst>
                <a:gd name="T0" fmla="*/ 28 w 57"/>
                <a:gd name="T1" fmla="*/ 36 h 36"/>
                <a:gd name="T2" fmla="*/ 0 w 57"/>
                <a:gd name="T3" fmla="*/ 6 h 36"/>
                <a:gd name="T4" fmla="*/ 5 w 57"/>
                <a:gd name="T5" fmla="*/ 0 h 36"/>
                <a:gd name="T6" fmla="*/ 11 w 57"/>
                <a:gd name="T7" fmla="*/ 6 h 36"/>
                <a:gd name="T8" fmla="*/ 28 w 57"/>
                <a:gd name="T9" fmla="*/ 24 h 36"/>
                <a:gd name="T10" fmla="*/ 46 w 57"/>
                <a:gd name="T11" fmla="*/ 6 h 36"/>
                <a:gd name="T12" fmla="*/ 51 w 57"/>
                <a:gd name="T13" fmla="*/ 0 h 36"/>
                <a:gd name="T14" fmla="*/ 56 w 57"/>
                <a:gd name="T15" fmla="*/ 6 h 36"/>
                <a:gd name="T16" fmla="*/ 28 w 57"/>
                <a:gd name="T1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36">
                  <a:moveTo>
                    <a:pt x="28" y="36"/>
                  </a:moveTo>
                  <a:cubicBezTo>
                    <a:pt x="12" y="36"/>
                    <a:pt x="0" y="22"/>
                    <a:pt x="0" y="6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3"/>
                    <a:pt x="11" y="6"/>
                  </a:cubicBezTo>
                  <a:cubicBezTo>
                    <a:pt x="11" y="16"/>
                    <a:pt x="18" y="24"/>
                    <a:pt x="28" y="24"/>
                  </a:cubicBezTo>
                  <a:cubicBezTo>
                    <a:pt x="38" y="25"/>
                    <a:pt x="45" y="16"/>
                    <a:pt x="46" y="6"/>
                  </a:cubicBezTo>
                  <a:cubicBezTo>
                    <a:pt x="46" y="3"/>
                    <a:pt x="48" y="0"/>
                    <a:pt x="51" y="0"/>
                  </a:cubicBezTo>
                  <a:cubicBezTo>
                    <a:pt x="54" y="0"/>
                    <a:pt x="57" y="3"/>
                    <a:pt x="56" y="6"/>
                  </a:cubicBezTo>
                  <a:cubicBezTo>
                    <a:pt x="56" y="23"/>
                    <a:pt x="43" y="36"/>
                    <a:pt x="28" y="36"/>
                  </a:cubicBezTo>
                  <a:close/>
                </a:path>
              </a:pathLst>
            </a:custGeom>
            <a:solidFill>
              <a:srgbClr val="8740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2" name="任意多边形: 形状 331">
              <a:extLst>
                <a:ext uri="{FF2B5EF4-FFF2-40B4-BE49-F238E27FC236}">
                  <a16:creationId xmlns:a16="http://schemas.microsoft.com/office/drawing/2014/main" id="{83E1CD0B-721E-4968-A4A5-A97914A11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2321" y="3186428"/>
              <a:ext cx="139025" cy="87032"/>
            </a:xfrm>
            <a:custGeom>
              <a:avLst/>
              <a:gdLst>
                <a:gd name="T0" fmla="*/ 29 w 59"/>
                <a:gd name="T1" fmla="*/ 36 h 37"/>
                <a:gd name="T2" fmla="*/ 59 w 59"/>
                <a:gd name="T3" fmla="*/ 7 h 37"/>
                <a:gd name="T4" fmla="*/ 54 w 59"/>
                <a:gd name="T5" fmla="*/ 1 h 37"/>
                <a:gd name="T6" fmla="*/ 48 w 59"/>
                <a:gd name="T7" fmla="*/ 7 h 37"/>
                <a:gd name="T8" fmla="*/ 29 w 59"/>
                <a:gd name="T9" fmla="*/ 25 h 37"/>
                <a:gd name="T10" fmla="*/ 11 w 59"/>
                <a:gd name="T11" fmla="*/ 6 h 37"/>
                <a:gd name="T12" fmla="*/ 6 w 59"/>
                <a:gd name="T13" fmla="*/ 0 h 37"/>
                <a:gd name="T14" fmla="*/ 0 w 59"/>
                <a:gd name="T15" fmla="*/ 6 h 37"/>
                <a:gd name="T16" fmla="*/ 29 w 59"/>
                <a:gd name="T17" fmla="*/ 3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37">
                  <a:moveTo>
                    <a:pt x="29" y="36"/>
                  </a:moveTo>
                  <a:cubicBezTo>
                    <a:pt x="46" y="37"/>
                    <a:pt x="59" y="23"/>
                    <a:pt x="59" y="7"/>
                  </a:cubicBezTo>
                  <a:cubicBezTo>
                    <a:pt x="59" y="4"/>
                    <a:pt x="57" y="1"/>
                    <a:pt x="54" y="1"/>
                  </a:cubicBezTo>
                  <a:cubicBezTo>
                    <a:pt x="51" y="1"/>
                    <a:pt x="48" y="3"/>
                    <a:pt x="48" y="7"/>
                  </a:cubicBezTo>
                  <a:cubicBezTo>
                    <a:pt x="48" y="17"/>
                    <a:pt x="39" y="25"/>
                    <a:pt x="29" y="25"/>
                  </a:cubicBezTo>
                  <a:cubicBezTo>
                    <a:pt x="19" y="25"/>
                    <a:pt x="11" y="16"/>
                    <a:pt x="11" y="6"/>
                  </a:cubicBezTo>
                  <a:cubicBezTo>
                    <a:pt x="11" y="3"/>
                    <a:pt x="9" y="0"/>
                    <a:pt x="6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23"/>
                    <a:pt x="13" y="36"/>
                    <a:pt x="29" y="36"/>
                  </a:cubicBezTo>
                  <a:close/>
                </a:path>
              </a:pathLst>
            </a:custGeom>
            <a:solidFill>
              <a:srgbClr val="87404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3" name="任意多边形: 形状 332">
              <a:extLst>
                <a:ext uri="{FF2B5EF4-FFF2-40B4-BE49-F238E27FC236}">
                  <a16:creationId xmlns:a16="http://schemas.microsoft.com/office/drawing/2014/main" id="{38A38AB8-6C0C-45AE-AA27-D6F1255F11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7282" y="3048534"/>
              <a:ext cx="183105" cy="131112"/>
            </a:xfrm>
            <a:custGeom>
              <a:avLst/>
              <a:gdLst>
                <a:gd name="T0" fmla="*/ 78 w 78"/>
                <a:gd name="T1" fmla="*/ 18 h 56"/>
                <a:gd name="T2" fmla="*/ 11 w 78"/>
                <a:gd name="T3" fmla="*/ 52 h 56"/>
                <a:gd name="T4" fmla="*/ 5 w 78"/>
                <a:gd name="T5" fmla="*/ 37 h 56"/>
                <a:gd name="T6" fmla="*/ 70 w 78"/>
                <a:gd name="T7" fmla="*/ 2 h 56"/>
                <a:gd name="T8" fmla="*/ 78 w 78"/>
                <a:gd name="T9" fmla="*/ 1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56">
                  <a:moveTo>
                    <a:pt x="78" y="18"/>
                  </a:moveTo>
                  <a:cubicBezTo>
                    <a:pt x="78" y="18"/>
                    <a:pt x="16" y="56"/>
                    <a:pt x="11" y="52"/>
                  </a:cubicBezTo>
                  <a:cubicBezTo>
                    <a:pt x="5" y="47"/>
                    <a:pt x="0" y="41"/>
                    <a:pt x="5" y="37"/>
                  </a:cubicBezTo>
                  <a:cubicBezTo>
                    <a:pt x="11" y="32"/>
                    <a:pt x="65" y="0"/>
                    <a:pt x="70" y="2"/>
                  </a:cubicBezTo>
                  <a:cubicBezTo>
                    <a:pt x="74" y="3"/>
                    <a:pt x="77" y="8"/>
                    <a:pt x="78" y="18"/>
                  </a:cubicBezTo>
                  <a:close/>
                </a:path>
              </a:pathLst>
            </a:custGeom>
            <a:solidFill>
              <a:srgbClr val="E62F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4" name="任意多边形: 形状 333">
              <a:extLst>
                <a:ext uri="{FF2B5EF4-FFF2-40B4-BE49-F238E27FC236}">
                  <a16:creationId xmlns:a16="http://schemas.microsoft.com/office/drawing/2014/main" id="{95B85C8C-736F-45FB-A952-5D0099A9CF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5236" y="3057576"/>
              <a:ext cx="165021" cy="128852"/>
            </a:xfrm>
            <a:custGeom>
              <a:avLst/>
              <a:gdLst>
                <a:gd name="T0" fmla="*/ 0 w 70"/>
                <a:gd name="T1" fmla="*/ 13 h 55"/>
                <a:gd name="T2" fmla="*/ 60 w 70"/>
                <a:gd name="T3" fmla="*/ 51 h 55"/>
                <a:gd name="T4" fmla="*/ 66 w 70"/>
                <a:gd name="T5" fmla="*/ 36 h 55"/>
                <a:gd name="T6" fmla="*/ 8 w 70"/>
                <a:gd name="T7" fmla="*/ 1 h 55"/>
                <a:gd name="T8" fmla="*/ 0 w 70"/>
                <a:gd name="T9" fmla="*/ 1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55">
                  <a:moveTo>
                    <a:pt x="0" y="13"/>
                  </a:moveTo>
                  <a:cubicBezTo>
                    <a:pt x="0" y="13"/>
                    <a:pt x="55" y="55"/>
                    <a:pt x="60" y="51"/>
                  </a:cubicBezTo>
                  <a:cubicBezTo>
                    <a:pt x="65" y="46"/>
                    <a:pt x="70" y="41"/>
                    <a:pt x="66" y="36"/>
                  </a:cubicBezTo>
                  <a:cubicBezTo>
                    <a:pt x="61" y="32"/>
                    <a:pt x="12" y="0"/>
                    <a:pt x="8" y="1"/>
                  </a:cubicBezTo>
                  <a:cubicBezTo>
                    <a:pt x="4" y="2"/>
                    <a:pt x="1" y="3"/>
                    <a:pt x="0" y="13"/>
                  </a:cubicBezTo>
                  <a:close/>
                </a:path>
              </a:pathLst>
            </a:custGeom>
            <a:solidFill>
              <a:srgbClr val="E62F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5" name="直接连接符 334">
              <a:extLst>
                <a:ext uri="{FF2B5EF4-FFF2-40B4-BE49-F238E27FC236}">
                  <a16:creationId xmlns:a16="http://schemas.microsoft.com/office/drawing/2014/main" id="{06792375-71B1-42C8-9287-3AF8551D34E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741232" y="3111829"/>
              <a:ext cx="282570" cy="311957"/>
            </a:xfrm>
            <a:prstGeom prst="line">
              <a:avLst/>
            </a:prstGeom>
            <a:noFill/>
            <a:ln w="39688" cap="rnd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6" name="直接连接符 335">
              <a:extLst>
                <a:ext uri="{FF2B5EF4-FFF2-40B4-BE49-F238E27FC236}">
                  <a16:creationId xmlns:a16="http://schemas.microsoft.com/office/drawing/2014/main" id="{8CB34696-2BCF-4EDA-9988-7911875AB7E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706194" y="3179646"/>
              <a:ext cx="256574" cy="281440"/>
            </a:xfrm>
            <a:prstGeom prst="line">
              <a:avLst/>
            </a:prstGeom>
            <a:noFill/>
            <a:ln w="12700" cap="rnd">
              <a:solidFill>
                <a:srgbClr val="FF737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7" name="任意多边形: 形状 336">
              <a:extLst>
                <a:ext uri="{FF2B5EF4-FFF2-40B4-BE49-F238E27FC236}">
                  <a16:creationId xmlns:a16="http://schemas.microsoft.com/office/drawing/2014/main" id="{C79B5EB3-A8AB-453A-93E9-076B24EAC491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342" y="3193209"/>
              <a:ext cx="109637" cy="176323"/>
            </a:xfrm>
            <a:custGeom>
              <a:avLst/>
              <a:gdLst>
                <a:gd name="T0" fmla="*/ 6 w 47"/>
                <a:gd name="T1" fmla="*/ 70 h 75"/>
                <a:gd name="T2" fmla="*/ 45 w 47"/>
                <a:gd name="T3" fmla="*/ 70 h 75"/>
                <a:gd name="T4" fmla="*/ 47 w 47"/>
                <a:gd name="T5" fmla="*/ 59 h 75"/>
                <a:gd name="T6" fmla="*/ 25 w 47"/>
                <a:gd name="T7" fmla="*/ 0 h 75"/>
                <a:gd name="T8" fmla="*/ 23 w 47"/>
                <a:gd name="T9" fmla="*/ 1 h 75"/>
                <a:gd name="T10" fmla="*/ 6 w 47"/>
                <a:gd name="T11" fmla="*/ 7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75">
                  <a:moveTo>
                    <a:pt x="6" y="70"/>
                  </a:moveTo>
                  <a:cubicBezTo>
                    <a:pt x="12" y="75"/>
                    <a:pt x="38" y="75"/>
                    <a:pt x="45" y="70"/>
                  </a:cubicBezTo>
                  <a:cubicBezTo>
                    <a:pt x="46" y="69"/>
                    <a:pt x="47" y="65"/>
                    <a:pt x="47" y="59"/>
                  </a:cubicBezTo>
                  <a:cubicBezTo>
                    <a:pt x="46" y="39"/>
                    <a:pt x="36" y="0"/>
                    <a:pt x="25" y="0"/>
                  </a:cubicBezTo>
                  <a:cubicBezTo>
                    <a:pt x="25" y="0"/>
                    <a:pt x="24" y="0"/>
                    <a:pt x="23" y="1"/>
                  </a:cubicBezTo>
                  <a:cubicBezTo>
                    <a:pt x="11" y="7"/>
                    <a:pt x="0" y="65"/>
                    <a:pt x="6" y="70"/>
                  </a:cubicBezTo>
                </a:path>
              </a:pathLst>
            </a:custGeom>
            <a:solidFill>
              <a:srgbClr val="FF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8" name="任意多边形: 形状 337">
              <a:extLst>
                <a:ext uri="{FF2B5EF4-FFF2-40B4-BE49-F238E27FC236}">
                  <a16:creationId xmlns:a16="http://schemas.microsoft.com/office/drawing/2014/main" id="{347C007D-AAE4-44E1-B1C3-EB91CEA821C3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6384" y="3196600"/>
              <a:ext cx="100595" cy="170672"/>
            </a:xfrm>
            <a:custGeom>
              <a:avLst/>
              <a:gdLst>
                <a:gd name="T0" fmla="*/ 19 w 43"/>
                <a:gd name="T1" fmla="*/ 0 h 73"/>
                <a:gd name="T2" fmla="*/ 0 w 43"/>
                <a:gd name="T3" fmla="*/ 61 h 73"/>
                <a:gd name="T4" fmla="*/ 2 w 43"/>
                <a:gd name="T5" fmla="*/ 69 h 73"/>
                <a:gd name="T6" fmla="*/ 23 w 43"/>
                <a:gd name="T7" fmla="*/ 73 h 73"/>
                <a:gd name="T8" fmla="*/ 41 w 43"/>
                <a:gd name="T9" fmla="*/ 69 h 73"/>
                <a:gd name="T10" fmla="*/ 43 w 43"/>
                <a:gd name="T11" fmla="*/ 60 h 73"/>
                <a:gd name="T12" fmla="*/ 43 w 43"/>
                <a:gd name="T13" fmla="*/ 58 h 73"/>
                <a:gd name="T14" fmla="*/ 43 w 43"/>
                <a:gd name="T15" fmla="*/ 58 h 73"/>
                <a:gd name="T16" fmla="*/ 19 w 43"/>
                <a:gd name="T17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" h="73">
                  <a:moveTo>
                    <a:pt x="19" y="0"/>
                  </a:moveTo>
                  <a:cubicBezTo>
                    <a:pt x="9" y="5"/>
                    <a:pt x="0" y="44"/>
                    <a:pt x="0" y="61"/>
                  </a:cubicBezTo>
                  <a:cubicBezTo>
                    <a:pt x="0" y="65"/>
                    <a:pt x="1" y="68"/>
                    <a:pt x="2" y="69"/>
                  </a:cubicBezTo>
                  <a:cubicBezTo>
                    <a:pt x="5" y="71"/>
                    <a:pt x="14" y="73"/>
                    <a:pt x="23" y="73"/>
                  </a:cubicBezTo>
                  <a:cubicBezTo>
                    <a:pt x="30" y="73"/>
                    <a:pt x="37" y="72"/>
                    <a:pt x="41" y="69"/>
                  </a:cubicBezTo>
                  <a:cubicBezTo>
                    <a:pt x="42" y="68"/>
                    <a:pt x="43" y="65"/>
                    <a:pt x="43" y="60"/>
                  </a:cubicBezTo>
                  <a:cubicBezTo>
                    <a:pt x="43" y="59"/>
                    <a:pt x="43" y="59"/>
                    <a:pt x="43" y="58"/>
                  </a:cubicBezTo>
                  <a:cubicBezTo>
                    <a:pt x="43" y="58"/>
                    <a:pt x="43" y="58"/>
                    <a:pt x="43" y="58"/>
                  </a:cubicBezTo>
                  <a:cubicBezTo>
                    <a:pt x="15" y="50"/>
                    <a:pt x="16" y="18"/>
                    <a:pt x="19" y="0"/>
                  </a:cubicBezTo>
                </a:path>
              </a:pathLst>
            </a:custGeom>
            <a:solidFill>
              <a:srgbClr val="FF5D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9" name="任意多边形: 形状 338">
              <a:extLst>
                <a:ext uri="{FF2B5EF4-FFF2-40B4-BE49-F238E27FC236}">
                  <a16:creationId xmlns:a16="http://schemas.microsoft.com/office/drawing/2014/main" id="{2BC61C3C-0438-4D2E-9D19-49D18C0671E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5866" y="3430568"/>
              <a:ext cx="174063" cy="54253"/>
            </a:xfrm>
            <a:custGeom>
              <a:avLst/>
              <a:gdLst>
                <a:gd name="T0" fmla="*/ 0 w 74"/>
                <a:gd name="T1" fmla="*/ 23 h 23"/>
                <a:gd name="T2" fmla="*/ 74 w 74"/>
                <a:gd name="T3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4" h="23">
                  <a:moveTo>
                    <a:pt x="0" y="23"/>
                  </a:moveTo>
                  <a:cubicBezTo>
                    <a:pt x="0" y="23"/>
                    <a:pt x="51" y="0"/>
                    <a:pt x="74" y="23"/>
                  </a:cubicBezTo>
                </a:path>
              </a:pathLst>
            </a:custGeom>
            <a:noFill/>
            <a:ln w="26988" cap="rnd">
              <a:solidFill>
                <a:srgbClr val="87404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0" name="任意多边形: 形状 339">
              <a:extLst>
                <a:ext uri="{FF2B5EF4-FFF2-40B4-BE49-F238E27FC236}">
                  <a16:creationId xmlns:a16="http://schemas.microsoft.com/office/drawing/2014/main" id="{ED865CE4-3C1D-4E75-A171-913C31B788E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3333" y="2365846"/>
              <a:ext cx="860142" cy="632956"/>
            </a:xfrm>
            <a:custGeom>
              <a:avLst/>
              <a:gdLst>
                <a:gd name="T0" fmla="*/ 256 w 366"/>
                <a:gd name="T1" fmla="*/ 186 h 270"/>
                <a:gd name="T2" fmla="*/ 163 w 366"/>
                <a:gd name="T3" fmla="*/ 235 h 270"/>
                <a:gd name="T4" fmla="*/ 1 w 366"/>
                <a:gd name="T5" fmla="*/ 262 h 270"/>
                <a:gd name="T6" fmla="*/ 2 w 366"/>
                <a:gd name="T7" fmla="*/ 219 h 270"/>
                <a:gd name="T8" fmla="*/ 99 w 366"/>
                <a:gd name="T9" fmla="*/ 52 h 270"/>
                <a:gd name="T10" fmla="*/ 354 w 366"/>
                <a:gd name="T11" fmla="*/ 79 h 270"/>
                <a:gd name="T12" fmla="*/ 256 w 366"/>
                <a:gd name="T13" fmla="*/ 186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6" h="270">
                  <a:moveTo>
                    <a:pt x="256" y="186"/>
                  </a:moveTo>
                  <a:cubicBezTo>
                    <a:pt x="226" y="205"/>
                    <a:pt x="193" y="223"/>
                    <a:pt x="163" y="235"/>
                  </a:cubicBezTo>
                  <a:cubicBezTo>
                    <a:pt x="75" y="270"/>
                    <a:pt x="1" y="262"/>
                    <a:pt x="1" y="262"/>
                  </a:cubicBezTo>
                  <a:cubicBezTo>
                    <a:pt x="1" y="262"/>
                    <a:pt x="0" y="244"/>
                    <a:pt x="2" y="219"/>
                  </a:cubicBezTo>
                  <a:cubicBezTo>
                    <a:pt x="6" y="168"/>
                    <a:pt x="24" y="86"/>
                    <a:pt x="99" y="52"/>
                  </a:cubicBezTo>
                  <a:cubicBezTo>
                    <a:pt x="210" y="0"/>
                    <a:pt x="335" y="47"/>
                    <a:pt x="354" y="79"/>
                  </a:cubicBezTo>
                  <a:cubicBezTo>
                    <a:pt x="366" y="101"/>
                    <a:pt x="317" y="147"/>
                    <a:pt x="256" y="186"/>
                  </a:cubicBezTo>
                  <a:close/>
                </a:path>
              </a:pathLst>
            </a:custGeom>
            <a:solidFill>
              <a:srgbClr val="186F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1" name="任意多边形: 形状 340">
              <a:extLst>
                <a:ext uri="{FF2B5EF4-FFF2-40B4-BE49-F238E27FC236}">
                  <a16:creationId xmlns:a16="http://schemas.microsoft.com/office/drawing/2014/main" id="{5E70F01E-6315-4576-BEEB-4DF358ACC0F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3333" y="2778397"/>
              <a:ext cx="601308" cy="220405"/>
            </a:xfrm>
            <a:custGeom>
              <a:avLst/>
              <a:gdLst>
                <a:gd name="T0" fmla="*/ 256 w 256"/>
                <a:gd name="T1" fmla="*/ 10 h 94"/>
                <a:gd name="T2" fmla="*/ 163 w 256"/>
                <a:gd name="T3" fmla="*/ 59 h 94"/>
                <a:gd name="T4" fmla="*/ 1 w 256"/>
                <a:gd name="T5" fmla="*/ 86 h 94"/>
                <a:gd name="T6" fmla="*/ 2 w 256"/>
                <a:gd name="T7" fmla="*/ 43 h 94"/>
                <a:gd name="T8" fmla="*/ 203 w 256"/>
                <a:gd name="T9" fmla="*/ 12 h 94"/>
                <a:gd name="T10" fmla="*/ 256 w 256"/>
                <a:gd name="T11" fmla="*/ 1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6" h="94">
                  <a:moveTo>
                    <a:pt x="256" y="10"/>
                  </a:moveTo>
                  <a:cubicBezTo>
                    <a:pt x="226" y="29"/>
                    <a:pt x="193" y="47"/>
                    <a:pt x="163" y="59"/>
                  </a:cubicBezTo>
                  <a:cubicBezTo>
                    <a:pt x="75" y="94"/>
                    <a:pt x="1" y="86"/>
                    <a:pt x="1" y="86"/>
                  </a:cubicBezTo>
                  <a:cubicBezTo>
                    <a:pt x="1" y="86"/>
                    <a:pt x="0" y="68"/>
                    <a:pt x="2" y="43"/>
                  </a:cubicBezTo>
                  <a:cubicBezTo>
                    <a:pt x="19" y="44"/>
                    <a:pt x="95" y="47"/>
                    <a:pt x="203" y="12"/>
                  </a:cubicBezTo>
                  <a:cubicBezTo>
                    <a:pt x="239" y="0"/>
                    <a:pt x="254" y="2"/>
                    <a:pt x="256" y="10"/>
                  </a:cubicBezTo>
                  <a:close/>
                </a:path>
              </a:pathLst>
            </a:custGeom>
            <a:solidFill>
              <a:srgbClr val="1562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2" name="任意多边形: 形状 341">
              <a:extLst>
                <a:ext uri="{FF2B5EF4-FFF2-40B4-BE49-F238E27FC236}">
                  <a16:creationId xmlns:a16="http://schemas.microsoft.com/office/drawing/2014/main" id="{F19BB28B-ECF2-49AA-B074-612D28020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9597" y="2551211"/>
              <a:ext cx="986733" cy="584354"/>
            </a:xfrm>
            <a:custGeom>
              <a:avLst/>
              <a:gdLst>
                <a:gd name="T0" fmla="*/ 25 w 420"/>
                <a:gd name="T1" fmla="*/ 242 h 249"/>
                <a:gd name="T2" fmla="*/ 420 w 420"/>
                <a:gd name="T3" fmla="*/ 43 h 249"/>
                <a:gd name="T4" fmla="*/ 364 w 420"/>
                <a:gd name="T5" fmla="*/ 0 h 249"/>
                <a:gd name="T6" fmla="*/ 195 w 420"/>
                <a:gd name="T7" fmla="*/ 121 h 249"/>
                <a:gd name="T8" fmla="*/ 11 w 420"/>
                <a:gd name="T9" fmla="*/ 183 h 249"/>
                <a:gd name="T10" fmla="*/ 25 w 420"/>
                <a:gd name="T11" fmla="*/ 242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0" h="249">
                  <a:moveTo>
                    <a:pt x="25" y="242"/>
                  </a:moveTo>
                  <a:cubicBezTo>
                    <a:pt x="246" y="249"/>
                    <a:pt x="420" y="43"/>
                    <a:pt x="420" y="43"/>
                  </a:cubicBezTo>
                  <a:cubicBezTo>
                    <a:pt x="413" y="11"/>
                    <a:pt x="364" y="0"/>
                    <a:pt x="364" y="0"/>
                  </a:cubicBezTo>
                  <a:cubicBezTo>
                    <a:pt x="323" y="43"/>
                    <a:pt x="261" y="90"/>
                    <a:pt x="195" y="121"/>
                  </a:cubicBezTo>
                  <a:cubicBezTo>
                    <a:pt x="104" y="164"/>
                    <a:pt x="11" y="183"/>
                    <a:pt x="11" y="183"/>
                  </a:cubicBezTo>
                  <a:cubicBezTo>
                    <a:pt x="11" y="183"/>
                    <a:pt x="0" y="226"/>
                    <a:pt x="25" y="242"/>
                  </a:cubicBezTo>
                  <a:close/>
                </a:path>
              </a:pathLst>
            </a:custGeom>
            <a:solidFill>
              <a:srgbClr val="5699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3" name="任意多边形: 形状 342">
              <a:extLst>
                <a:ext uri="{FF2B5EF4-FFF2-40B4-BE49-F238E27FC236}">
                  <a16:creationId xmlns:a16="http://schemas.microsoft.com/office/drawing/2014/main" id="{B1B9E032-EEB8-41D8-9341-E9632B374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2952" y="2907249"/>
              <a:ext cx="82511" cy="176323"/>
            </a:xfrm>
            <a:custGeom>
              <a:avLst/>
              <a:gdLst>
                <a:gd name="T0" fmla="*/ 21 w 35"/>
                <a:gd name="T1" fmla="*/ 45 h 75"/>
                <a:gd name="T2" fmla="*/ 8 w 35"/>
                <a:gd name="T3" fmla="*/ 0 h 75"/>
                <a:gd name="T4" fmla="*/ 0 w 35"/>
                <a:gd name="T5" fmla="*/ 2 h 75"/>
                <a:gd name="T6" fmla="*/ 13 w 35"/>
                <a:gd name="T7" fmla="*/ 47 h 75"/>
                <a:gd name="T8" fmla="*/ 26 w 35"/>
                <a:gd name="T9" fmla="*/ 75 h 75"/>
                <a:gd name="T10" fmla="*/ 35 w 35"/>
                <a:gd name="T11" fmla="*/ 73 h 75"/>
                <a:gd name="T12" fmla="*/ 21 w 35"/>
                <a:gd name="T13" fmla="*/ 4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75">
                  <a:moveTo>
                    <a:pt x="21" y="45"/>
                  </a:moveTo>
                  <a:cubicBezTo>
                    <a:pt x="16" y="31"/>
                    <a:pt x="9" y="15"/>
                    <a:pt x="8" y="0"/>
                  </a:cubicBezTo>
                  <a:cubicBezTo>
                    <a:pt x="5" y="1"/>
                    <a:pt x="2" y="2"/>
                    <a:pt x="0" y="2"/>
                  </a:cubicBezTo>
                  <a:cubicBezTo>
                    <a:pt x="2" y="18"/>
                    <a:pt x="7" y="33"/>
                    <a:pt x="13" y="47"/>
                  </a:cubicBezTo>
                  <a:cubicBezTo>
                    <a:pt x="16" y="57"/>
                    <a:pt x="21" y="67"/>
                    <a:pt x="26" y="75"/>
                  </a:cubicBezTo>
                  <a:cubicBezTo>
                    <a:pt x="29" y="75"/>
                    <a:pt x="32" y="74"/>
                    <a:pt x="35" y="73"/>
                  </a:cubicBezTo>
                  <a:cubicBezTo>
                    <a:pt x="29" y="64"/>
                    <a:pt x="24" y="55"/>
                    <a:pt x="21" y="45"/>
                  </a:cubicBezTo>
                  <a:close/>
                </a:path>
              </a:pathLst>
            </a:custGeom>
            <a:solidFill>
              <a:srgbClr val="85B9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4" name="任意多边形: 形状 343">
              <a:extLst>
                <a:ext uri="{FF2B5EF4-FFF2-40B4-BE49-F238E27FC236}">
                  <a16:creationId xmlns:a16="http://schemas.microsoft.com/office/drawing/2014/main" id="{D172871F-6D19-40FA-A67C-04F9EB79F17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3410" y="2959242"/>
              <a:ext cx="66687" cy="157109"/>
            </a:xfrm>
            <a:custGeom>
              <a:avLst/>
              <a:gdLst>
                <a:gd name="T0" fmla="*/ 9 w 28"/>
                <a:gd name="T1" fmla="*/ 0 h 67"/>
                <a:gd name="T2" fmla="*/ 0 w 28"/>
                <a:gd name="T3" fmla="*/ 2 h 67"/>
                <a:gd name="T4" fmla="*/ 19 w 28"/>
                <a:gd name="T5" fmla="*/ 67 h 67"/>
                <a:gd name="T6" fmla="*/ 28 w 28"/>
                <a:gd name="T7" fmla="*/ 66 h 67"/>
                <a:gd name="T8" fmla="*/ 9 w 28"/>
                <a:gd name="T9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67">
                  <a:moveTo>
                    <a:pt x="9" y="0"/>
                  </a:moveTo>
                  <a:cubicBezTo>
                    <a:pt x="6" y="0"/>
                    <a:pt x="3" y="1"/>
                    <a:pt x="0" y="2"/>
                  </a:cubicBezTo>
                  <a:cubicBezTo>
                    <a:pt x="3" y="25"/>
                    <a:pt x="9" y="46"/>
                    <a:pt x="19" y="67"/>
                  </a:cubicBezTo>
                  <a:cubicBezTo>
                    <a:pt x="22" y="67"/>
                    <a:pt x="25" y="67"/>
                    <a:pt x="28" y="66"/>
                  </a:cubicBezTo>
                  <a:cubicBezTo>
                    <a:pt x="17" y="45"/>
                    <a:pt x="11" y="23"/>
                    <a:pt x="9" y="0"/>
                  </a:cubicBezTo>
                  <a:close/>
                </a:path>
              </a:pathLst>
            </a:custGeom>
            <a:solidFill>
              <a:srgbClr val="85B9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5" name="任意多边形: 形状 344">
              <a:extLst>
                <a:ext uri="{FF2B5EF4-FFF2-40B4-BE49-F238E27FC236}">
                  <a16:creationId xmlns:a16="http://schemas.microsoft.com/office/drawing/2014/main" id="{50E91695-0BEE-42FD-9845-9C760D9DB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5980" y="2863168"/>
              <a:ext cx="109637" cy="170672"/>
            </a:xfrm>
            <a:custGeom>
              <a:avLst/>
              <a:gdLst>
                <a:gd name="T0" fmla="*/ 31 w 47"/>
                <a:gd name="T1" fmla="*/ 42 h 73"/>
                <a:gd name="T2" fmla="*/ 8 w 47"/>
                <a:gd name="T3" fmla="*/ 0 h 73"/>
                <a:gd name="T4" fmla="*/ 0 w 47"/>
                <a:gd name="T5" fmla="*/ 3 h 73"/>
                <a:gd name="T6" fmla="*/ 16 w 47"/>
                <a:gd name="T7" fmla="*/ 33 h 73"/>
                <a:gd name="T8" fmla="*/ 39 w 47"/>
                <a:gd name="T9" fmla="*/ 73 h 73"/>
                <a:gd name="T10" fmla="*/ 47 w 47"/>
                <a:gd name="T11" fmla="*/ 69 h 73"/>
                <a:gd name="T12" fmla="*/ 31 w 47"/>
                <a:gd name="T13" fmla="*/ 4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73">
                  <a:moveTo>
                    <a:pt x="31" y="42"/>
                  </a:moveTo>
                  <a:cubicBezTo>
                    <a:pt x="24" y="30"/>
                    <a:pt x="13" y="15"/>
                    <a:pt x="8" y="0"/>
                  </a:cubicBezTo>
                  <a:cubicBezTo>
                    <a:pt x="5" y="1"/>
                    <a:pt x="3" y="2"/>
                    <a:pt x="0" y="3"/>
                  </a:cubicBezTo>
                  <a:cubicBezTo>
                    <a:pt x="4" y="13"/>
                    <a:pt x="11" y="23"/>
                    <a:pt x="16" y="33"/>
                  </a:cubicBezTo>
                  <a:cubicBezTo>
                    <a:pt x="24" y="46"/>
                    <a:pt x="32" y="59"/>
                    <a:pt x="39" y="73"/>
                  </a:cubicBezTo>
                  <a:cubicBezTo>
                    <a:pt x="42" y="72"/>
                    <a:pt x="45" y="70"/>
                    <a:pt x="47" y="69"/>
                  </a:cubicBezTo>
                  <a:cubicBezTo>
                    <a:pt x="42" y="60"/>
                    <a:pt x="37" y="51"/>
                    <a:pt x="31" y="42"/>
                  </a:cubicBezTo>
                  <a:close/>
                </a:path>
              </a:pathLst>
            </a:custGeom>
            <a:solidFill>
              <a:srgbClr val="85B9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6" name="任意多边形: 形状 345">
              <a:extLst>
                <a:ext uri="{FF2B5EF4-FFF2-40B4-BE49-F238E27FC236}">
                  <a16:creationId xmlns:a16="http://schemas.microsoft.com/office/drawing/2014/main" id="{07CE46D9-48C5-4847-85D7-A5E7C005B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4201" y="2703799"/>
              <a:ext cx="103986" cy="161630"/>
            </a:xfrm>
            <a:custGeom>
              <a:avLst/>
              <a:gdLst>
                <a:gd name="T0" fmla="*/ 6 w 44"/>
                <a:gd name="T1" fmla="*/ 0 h 69"/>
                <a:gd name="T2" fmla="*/ 0 w 44"/>
                <a:gd name="T3" fmla="*/ 5 h 69"/>
                <a:gd name="T4" fmla="*/ 36 w 44"/>
                <a:gd name="T5" fmla="*/ 66 h 69"/>
                <a:gd name="T6" fmla="*/ 36 w 44"/>
                <a:gd name="T7" fmla="*/ 67 h 69"/>
                <a:gd name="T8" fmla="*/ 37 w 44"/>
                <a:gd name="T9" fmla="*/ 69 h 69"/>
                <a:gd name="T10" fmla="*/ 44 w 44"/>
                <a:gd name="T11" fmla="*/ 64 h 69"/>
                <a:gd name="T12" fmla="*/ 6 w 44"/>
                <a:gd name="T13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69">
                  <a:moveTo>
                    <a:pt x="6" y="0"/>
                  </a:moveTo>
                  <a:cubicBezTo>
                    <a:pt x="4" y="2"/>
                    <a:pt x="2" y="3"/>
                    <a:pt x="0" y="5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6" y="66"/>
                    <a:pt x="36" y="67"/>
                    <a:pt x="36" y="67"/>
                  </a:cubicBezTo>
                  <a:cubicBezTo>
                    <a:pt x="37" y="68"/>
                    <a:pt x="37" y="69"/>
                    <a:pt x="37" y="69"/>
                  </a:cubicBezTo>
                  <a:cubicBezTo>
                    <a:pt x="40" y="67"/>
                    <a:pt x="42" y="66"/>
                    <a:pt x="44" y="64"/>
                  </a:cubicBezTo>
                  <a:lnTo>
                    <a:pt x="6" y="0"/>
                  </a:lnTo>
                  <a:close/>
                </a:path>
              </a:pathLst>
            </a:custGeom>
            <a:solidFill>
              <a:srgbClr val="85B9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7" name="任意多边形: 形状 346">
              <a:extLst>
                <a:ext uri="{FF2B5EF4-FFF2-40B4-BE49-F238E27FC236}">
                  <a16:creationId xmlns:a16="http://schemas.microsoft.com/office/drawing/2014/main" id="{F98ACC95-5E92-4C0D-99A2-32BF9FBDAC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5753" y="2630331"/>
              <a:ext cx="89292" cy="174063"/>
            </a:xfrm>
            <a:custGeom>
              <a:avLst/>
              <a:gdLst>
                <a:gd name="T0" fmla="*/ 7 w 38"/>
                <a:gd name="T1" fmla="*/ 0 h 74"/>
                <a:gd name="T2" fmla="*/ 0 w 38"/>
                <a:gd name="T3" fmla="*/ 5 h 74"/>
                <a:gd name="T4" fmla="*/ 31 w 38"/>
                <a:gd name="T5" fmla="*/ 74 h 74"/>
                <a:gd name="T6" fmla="*/ 38 w 38"/>
                <a:gd name="T7" fmla="*/ 68 h 74"/>
                <a:gd name="T8" fmla="*/ 7 w 38"/>
                <a:gd name="T9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74">
                  <a:moveTo>
                    <a:pt x="7" y="0"/>
                  </a:moveTo>
                  <a:cubicBezTo>
                    <a:pt x="5" y="1"/>
                    <a:pt x="3" y="3"/>
                    <a:pt x="0" y="5"/>
                  </a:cubicBezTo>
                  <a:cubicBezTo>
                    <a:pt x="15" y="26"/>
                    <a:pt x="27" y="49"/>
                    <a:pt x="31" y="74"/>
                  </a:cubicBezTo>
                  <a:cubicBezTo>
                    <a:pt x="33" y="72"/>
                    <a:pt x="36" y="70"/>
                    <a:pt x="38" y="68"/>
                  </a:cubicBezTo>
                  <a:cubicBezTo>
                    <a:pt x="33" y="43"/>
                    <a:pt x="21" y="21"/>
                    <a:pt x="7" y="0"/>
                  </a:cubicBezTo>
                  <a:close/>
                </a:path>
              </a:pathLst>
            </a:custGeom>
            <a:solidFill>
              <a:srgbClr val="85B9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8" name="任意多边形: 形状 347">
              <a:extLst>
                <a:ext uri="{FF2B5EF4-FFF2-40B4-BE49-F238E27FC236}">
                  <a16:creationId xmlns:a16="http://schemas.microsoft.com/office/drawing/2014/main" id="{57B30579-8D4B-40F4-8F68-FCAB2448C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0179" y="2573817"/>
              <a:ext cx="135633" cy="127722"/>
            </a:xfrm>
            <a:custGeom>
              <a:avLst/>
              <a:gdLst>
                <a:gd name="T0" fmla="*/ 6 w 58"/>
                <a:gd name="T1" fmla="*/ 0 h 54"/>
                <a:gd name="T2" fmla="*/ 0 w 58"/>
                <a:gd name="T3" fmla="*/ 6 h 54"/>
                <a:gd name="T4" fmla="*/ 52 w 58"/>
                <a:gd name="T5" fmla="*/ 54 h 54"/>
                <a:gd name="T6" fmla="*/ 58 w 58"/>
                <a:gd name="T7" fmla="*/ 48 h 54"/>
                <a:gd name="T8" fmla="*/ 6 w 58"/>
                <a:gd name="T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54">
                  <a:moveTo>
                    <a:pt x="6" y="0"/>
                  </a:moveTo>
                  <a:cubicBezTo>
                    <a:pt x="4" y="2"/>
                    <a:pt x="2" y="4"/>
                    <a:pt x="0" y="6"/>
                  </a:cubicBezTo>
                  <a:cubicBezTo>
                    <a:pt x="20" y="18"/>
                    <a:pt x="41" y="33"/>
                    <a:pt x="52" y="54"/>
                  </a:cubicBezTo>
                  <a:cubicBezTo>
                    <a:pt x="54" y="52"/>
                    <a:pt x="56" y="50"/>
                    <a:pt x="58" y="48"/>
                  </a:cubicBezTo>
                  <a:cubicBezTo>
                    <a:pt x="46" y="27"/>
                    <a:pt x="26" y="12"/>
                    <a:pt x="6" y="0"/>
                  </a:cubicBezTo>
                  <a:close/>
                </a:path>
              </a:pathLst>
            </a:custGeom>
            <a:solidFill>
              <a:srgbClr val="85B9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9" name="任意多边形: 形状 348">
              <a:extLst>
                <a:ext uri="{FF2B5EF4-FFF2-40B4-BE49-F238E27FC236}">
                  <a16:creationId xmlns:a16="http://schemas.microsoft.com/office/drawing/2014/main" id="{C78E9EFB-5CC8-4840-8856-9A21929D7C7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6307" y="2789700"/>
              <a:ext cx="119809" cy="160500"/>
            </a:xfrm>
            <a:custGeom>
              <a:avLst/>
              <a:gdLst>
                <a:gd name="T0" fmla="*/ 0 w 51"/>
                <a:gd name="T1" fmla="*/ 4 h 68"/>
                <a:gd name="T2" fmla="*/ 44 w 51"/>
                <a:gd name="T3" fmla="*/ 68 h 68"/>
                <a:gd name="T4" fmla="*/ 51 w 51"/>
                <a:gd name="T5" fmla="*/ 63 h 68"/>
                <a:gd name="T6" fmla="*/ 8 w 51"/>
                <a:gd name="T7" fmla="*/ 0 h 68"/>
                <a:gd name="T8" fmla="*/ 0 w 51"/>
                <a:gd name="T9" fmla="*/ 4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68">
                  <a:moveTo>
                    <a:pt x="0" y="4"/>
                  </a:moveTo>
                  <a:cubicBezTo>
                    <a:pt x="15" y="25"/>
                    <a:pt x="30" y="47"/>
                    <a:pt x="44" y="68"/>
                  </a:cubicBezTo>
                  <a:cubicBezTo>
                    <a:pt x="47" y="66"/>
                    <a:pt x="49" y="65"/>
                    <a:pt x="51" y="63"/>
                  </a:cubicBezTo>
                  <a:cubicBezTo>
                    <a:pt x="37" y="42"/>
                    <a:pt x="22" y="21"/>
                    <a:pt x="8" y="0"/>
                  </a:cubicBezTo>
                  <a:cubicBezTo>
                    <a:pt x="5" y="2"/>
                    <a:pt x="3" y="3"/>
                    <a:pt x="0" y="4"/>
                  </a:cubicBezTo>
                  <a:close/>
                </a:path>
              </a:pathLst>
            </a:custGeom>
            <a:solidFill>
              <a:srgbClr val="85B9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50" name="任意多边形: 形状 349">
              <a:extLst>
                <a:ext uri="{FF2B5EF4-FFF2-40B4-BE49-F238E27FC236}">
                  <a16:creationId xmlns:a16="http://schemas.microsoft.com/office/drawing/2014/main" id="{C26B1B55-FA3D-4725-8261-CE73D1B2E0E0}"/>
                </a:ext>
              </a:extLst>
            </p:cNvPr>
            <p:cNvSpPr>
              <a:spLocks/>
            </p:cNvSpPr>
            <p:nvPr/>
          </p:nvSpPr>
          <p:spPr bwMode="auto">
            <a:xfrm>
              <a:off x="2283470" y="3700704"/>
              <a:ext cx="590005" cy="363950"/>
            </a:xfrm>
            <a:custGeom>
              <a:avLst/>
              <a:gdLst>
                <a:gd name="T0" fmla="*/ 21 w 251"/>
                <a:gd name="T1" fmla="*/ 106 h 155"/>
                <a:gd name="T2" fmla="*/ 16 w 251"/>
                <a:gd name="T3" fmla="*/ 47 h 155"/>
                <a:gd name="T4" fmla="*/ 68 w 251"/>
                <a:gd name="T5" fmla="*/ 38 h 155"/>
                <a:gd name="T6" fmla="*/ 114 w 251"/>
                <a:gd name="T7" fmla="*/ 42 h 155"/>
                <a:gd name="T8" fmla="*/ 190 w 251"/>
                <a:gd name="T9" fmla="*/ 22 h 155"/>
                <a:gd name="T10" fmla="*/ 186 w 251"/>
                <a:gd name="T11" fmla="*/ 117 h 155"/>
                <a:gd name="T12" fmla="*/ 21 w 251"/>
                <a:gd name="T13" fmla="*/ 106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1" h="155">
                  <a:moveTo>
                    <a:pt x="21" y="106"/>
                  </a:moveTo>
                  <a:cubicBezTo>
                    <a:pt x="20" y="103"/>
                    <a:pt x="0" y="86"/>
                    <a:pt x="16" y="47"/>
                  </a:cubicBezTo>
                  <a:cubicBezTo>
                    <a:pt x="24" y="26"/>
                    <a:pt x="45" y="32"/>
                    <a:pt x="68" y="38"/>
                  </a:cubicBezTo>
                  <a:cubicBezTo>
                    <a:pt x="84" y="42"/>
                    <a:pt x="100" y="46"/>
                    <a:pt x="114" y="42"/>
                  </a:cubicBezTo>
                  <a:cubicBezTo>
                    <a:pt x="149" y="32"/>
                    <a:pt x="173" y="0"/>
                    <a:pt x="190" y="22"/>
                  </a:cubicBezTo>
                  <a:cubicBezTo>
                    <a:pt x="208" y="44"/>
                    <a:pt x="251" y="96"/>
                    <a:pt x="186" y="117"/>
                  </a:cubicBezTo>
                  <a:cubicBezTo>
                    <a:pt x="122" y="137"/>
                    <a:pt x="26" y="155"/>
                    <a:pt x="21" y="106"/>
                  </a:cubicBezTo>
                </a:path>
              </a:pathLst>
            </a:custGeom>
            <a:solidFill>
              <a:srgbClr val="FF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51" name="任意多边形: 形状 350">
              <a:extLst>
                <a:ext uri="{FF2B5EF4-FFF2-40B4-BE49-F238E27FC236}">
                  <a16:creationId xmlns:a16="http://schemas.microsoft.com/office/drawing/2014/main" id="{2598E035-73E7-4E35-97FC-35A06AD56D2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8050" y="3799039"/>
              <a:ext cx="18084" cy="2261"/>
            </a:xfrm>
            <a:custGeom>
              <a:avLst/>
              <a:gdLst>
                <a:gd name="T0" fmla="*/ 0 w 8"/>
                <a:gd name="T1" fmla="*/ 0 h 1"/>
                <a:gd name="T2" fmla="*/ 0 w 8"/>
                <a:gd name="T3" fmla="*/ 0 h 1"/>
                <a:gd name="T4" fmla="*/ 8 w 8"/>
                <a:gd name="T5" fmla="*/ 1 h 1"/>
                <a:gd name="T6" fmla="*/ 8 w 8"/>
                <a:gd name="T7" fmla="*/ 1 h 1"/>
                <a:gd name="T8" fmla="*/ 0 w 8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1"/>
                    <a:pt x="5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5" y="1"/>
                    <a:pt x="3" y="1"/>
                    <a:pt x="0" y="0"/>
                  </a:cubicBezTo>
                </a:path>
              </a:pathLst>
            </a:custGeom>
            <a:solidFill>
              <a:srgbClr val="FFA7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52" name="任意多边形: 形状 351">
              <a:extLst>
                <a:ext uri="{FF2B5EF4-FFF2-40B4-BE49-F238E27FC236}">
                  <a16:creationId xmlns:a16="http://schemas.microsoft.com/office/drawing/2014/main" id="{0AA6EB70-88C1-4C7F-81D9-39187A459A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8050" y="3799039"/>
              <a:ext cx="100595" cy="213623"/>
            </a:xfrm>
            <a:custGeom>
              <a:avLst/>
              <a:gdLst>
                <a:gd name="T0" fmla="*/ 0 w 43"/>
                <a:gd name="T1" fmla="*/ 0 h 91"/>
                <a:gd name="T2" fmla="*/ 6 w 43"/>
                <a:gd name="T3" fmla="*/ 32 h 91"/>
                <a:gd name="T4" fmla="*/ 35 w 43"/>
                <a:gd name="T5" fmla="*/ 91 h 91"/>
                <a:gd name="T6" fmla="*/ 43 w 43"/>
                <a:gd name="T7" fmla="*/ 89 h 91"/>
                <a:gd name="T8" fmla="*/ 31 w 43"/>
                <a:gd name="T9" fmla="*/ 59 h 91"/>
                <a:gd name="T10" fmla="*/ 8 w 43"/>
                <a:gd name="T11" fmla="*/ 1 h 91"/>
                <a:gd name="T12" fmla="*/ 0 w 43"/>
                <a:gd name="T13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91">
                  <a:moveTo>
                    <a:pt x="0" y="0"/>
                  </a:moveTo>
                  <a:cubicBezTo>
                    <a:pt x="0" y="11"/>
                    <a:pt x="2" y="22"/>
                    <a:pt x="6" y="32"/>
                  </a:cubicBezTo>
                  <a:cubicBezTo>
                    <a:pt x="15" y="53"/>
                    <a:pt x="31" y="69"/>
                    <a:pt x="35" y="91"/>
                  </a:cubicBezTo>
                  <a:cubicBezTo>
                    <a:pt x="38" y="90"/>
                    <a:pt x="40" y="90"/>
                    <a:pt x="43" y="89"/>
                  </a:cubicBezTo>
                  <a:cubicBezTo>
                    <a:pt x="41" y="79"/>
                    <a:pt x="37" y="69"/>
                    <a:pt x="31" y="59"/>
                  </a:cubicBezTo>
                  <a:cubicBezTo>
                    <a:pt x="20" y="39"/>
                    <a:pt x="10" y="22"/>
                    <a:pt x="8" y="1"/>
                  </a:cubicBezTo>
                  <a:cubicBezTo>
                    <a:pt x="5" y="1"/>
                    <a:pt x="3" y="1"/>
                    <a:pt x="0" y="0"/>
                  </a:cubicBezTo>
                </a:path>
              </a:pathLst>
            </a:custGeom>
            <a:solidFill>
              <a:srgbClr val="FF5C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53" name="任意多边形: 形状 352">
              <a:extLst>
                <a:ext uri="{FF2B5EF4-FFF2-40B4-BE49-F238E27FC236}">
                  <a16:creationId xmlns:a16="http://schemas.microsoft.com/office/drawing/2014/main" id="{503C27CA-8D3D-497A-83EE-79E5F179DC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91976" y="3777563"/>
              <a:ext cx="83641" cy="244140"/>
            </a:xfrm>
            <a:custGeom>
              <a:avLst/>
              <a:gdLst>
                <a:gd name="T0" fmla="*/ 2 w 36"/>
                <a:gd name="T1" fmla="*/ 0 h 104"/>
                <a:gd name="T2" fmla="*/ 7 w 36"/>
                <a:gd name="T3" fmla="*/ 49 h 104"/>
                <a:gd name="T4" fmla="*/ 17 w 36"/>
                <a:gd name="T5" fmla="*/ 81 h 104"/>
                <a:gd name="T6" fmla="*/ 27 w 36"/>
                <a:gd name="T7" fmla="*/ 104 h 104"/>
                <a:gd name="T8" fmla="*/ 31 w 36"/>
                <a:gd name="T9" fmla="*/ 104 h 104"/>
                <a:gd name="T10" fmla="*/ 36 w 36"/>
                <a:gd name="T11" fmla="*/ 104 h 104"/>
                <a:gd name="T12" fmla="*/ 21 w 36"/>
                <a:gd name="T13" fmla="*/ 68 h 104"/>
                <a:gd name="T14" fmla="*/ 10 w 36"/>
                <a:gd name="T15" fmla="*/ 2 h 104"/>
                <a:gd name="T16" fmla="*/ 2 w 36"/>
                <a:gd name="T1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104">
                  <a:moveTo>
                    <a:pt x="2" y="0"/>
                  </a:moveTo>
                  <a:cubicBezTo>
                    <a:pt x="0" y="16"/>
                    <a:pt x="3" y="33"/>
                    <a:pt x="7" y="49"/>
                  </a:cubicBezTo>
                  <a:cubicBezTo>
                    <a:pt x="9" y="60"/>
                    <a:pt x="13" y="70"/>
                    <a:pt x="17" y="81"/>
                  </a:cubicBezTo>
                  <a:cubicBezTo>
                    <a:pt x="20" y="89"/>
                    <a:pt x="24" y="96"/>
                    <a:pt x="27" y="104"/>
                  </a:cubicBezTo>
                  <a:cubicBezTo>
                    <a:pt x="28" y="104"/>
                    <a:pt x="30" y="104"/>
                    <a:pt x="31" y="104"/>
                  </a:cubicBezTo>
                  <a:cubicBezTo>
                    <a:pt x="33" y="104"/>
                    <a:pt x="34" y="104"/>
                    <a:pt x="36" y="104"/>
                  </a:cubicBezTo>
                  <a:cubicBezTo>
                    <a:pt x="32" y="92"/>
                    <a:pt x="25" y="80"/>
                    <a:pt x="21" y="68"/>
                  </a:cubicBezTo>
                  <a:cubicBezTo>
                    <a:pt x="14" y="48"/>
                    <a:pt x="7" y="24"/>
                    <a:pt x="10" y="2"/>
                  </a:cubicBezTo>
                  <a:cubicBezTo>
                    <a:pt x="7" y="1"/>
                    <a:pt x="5" y="1"/>
                    <a:pt x="2" y="0"/>
                  </a:cubicBezTo>
                </a:path>
              </a:pathLst>
            </a:custGeom>
            <a:solidFill>
              <a:srgbClr val="FF5C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54" name="任意多边形: 形状 353">
              <a:extLst>
                <a:ext uri="{FF2B5EF4-FFF2-40B4-BE49-F238E27FC236}">
                  <a16:creationId xmlns:a16="http://schemas.microsoft.com/office/drawing/2014/main" id="{0A6D96D8-927C-4F4D-85F7-EB846BCDD7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3415" y="3733482"/>
              <a:ext cx="82511" cy="233968"/>
            </a:xfrm>
            <a:custGeom>
              <a:avLst/>
              <a:gdLst>
                <a:gd name="T0" fmla="*/ 8 w 35"/>
                <a:gd name="T1" fmla="*/ 0 h 100"/>
                <a:gd name="T2" fmla="*/ 0 w 35"/>
                <a:gd name="T3" fmla="*/ 3 h 100"/>
                <a:gd name="T4" fmla="*/ 16 w 35"/>
                <a:gd name="T5" fmla="*/ 57 h 100"/>
                <a:gd name="T6" fmla="*/ 24 w 35"/>
                <a:gd name="T7" fmla="*/ 88 h 100"/>
                <a:gd name="T8" fmla="*/ 27 w 35"/>
                <a:gd name="T9" fmla="*/ 100 h 100"/>
                <a:gd name="T10" fmla="*/ 35 w 35"/>
                <a:gd name="T11" fmla="*/ 96 h 100"/>
                <a:gd name="T12" fmla="*/ 29 w 35"/>
                <a:gd name="T13" fmla="*/ 75 h 100"/>
                <a:gd name="T14" fmla="*/ 8 w 35"/>
                <a:gd name="T15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100">
                  <a:moveTo>
                    <a:pt x="8" y="0"/>
                  </a:moveTo>
                  <a:cubicBezTo>
                    <a:pt x="5" y="1"/>
                    <a:pt x="3" y="2"/>
                    <a:pt x="0" y="3"/>
                  </a:cubicBezTo>
                  <a:cubicBezTo>
                    <a:pt x="5" y="21"/>
                    <a:pt x="11" y="39"/>
                    <a:pt x="16" y="57"/>
                  </a:cubicBezTo>
                  <a:cubicBezTo>
                    <a:pt x="19" y="68"/>
                    <a:pt x="21" y="78"/>
                    <a:pt x="24" y="88"/>
                  </a:cubicBezTo>
                  <a:cubicBezTo>
                    <a:pt x="24" y="92"/>
                    <a:pt x="25" y="96"/>
                    <a:pt x="27" y="100"/>
                  </a:cubicBezTo>
                  <a:cubicBezTo>
                    <a:pt x="30" y="99"/>
                    <a:pt x="32" y="98"/>
                    <a:pt x="35" y="96"/>
                  </a:cubicBezTo>
                  <a:cubicBezTo>
                    <a:pt x="33" y="89"/>
                    <a:pt x="30" y="81"/>
                    <a:pt x="29" y="75"/>
                  </a:cubicBezTo>
                  <a:cubicBezTo>
                    <a:pt x="23" y="50"/>
                    <a:pt x="15" y="25"/>
                    <a:pt x="8" y="0"/>
                  </a:cubicBezTo>
                </a:path>
              </a:pathLst>
            </a:custGeom>
            <a:solidFill>
              <a:srgbClr val="FF5C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55" name="任意多边形: 形状 354">
              <a:extLst>
                <a:ext uri="{FF2B5EF4-FFF2-40B4-BE49-F238E27FC236}">
                  <a16:creationId xmlns:a16="http://schemas.microsoft.com/office/drawing/2014/main" id="{D7E3954E-81A0-4F2A-B0DC-F1DEB1402C6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6384" y="3777563"/>
              <a:ext cx="19215" cy="10173"/>
            </a:xfrm>
            <a:custGeom>
              <a:avLst/>
              <a:gdLst>
                <a:gd name="T0" fmla="*/ 8 w 8"/>
                <a:gd name="T1" fmla="*/ 0 h 4"/>
                <a:gd name="T2" fmla="*/ 0 w 8"/>
                <a:gd name="T3" fmla="*/ 4 h 4"/>
                <a:gd name="T4" fmla="*/ 0 w 8"/>
                <a:gd name="T5" fmla="*/ 4 h 4"/>
                <a:gd name="T6" fmla="*/ 8 w 8"/>
                <a:gd name="T7" fmla="*/ 0 h 4"/>
                <a:gd name="T8" fmla="*/ 8 w 8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8" y="0"/>
                  </a:moveTo>
                  <a:cubicBezTo>
                    <a:pt x="5" y="1"/>
                    <a:pt x="3" y="2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3" y="2"/>
                    <a:pt x="5" y="1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solidFill>
              <a:srgbClr val="FFA7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56" name="任意多边形: 形状 355">
              <a:extLst>
                <a:ext uri="{FF2B5EF4-FFF2-40B4-BE49-F238E27FC236}">
                  <a16:creationId xmlns:a16="http://schemas.microsoft.com/office/drawing/2014/main" id="{6625F076-5EC8-4C19-8C36-BE7092CC162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6384" y="3777563"/>
              <a:ext cx="103986" cy="211362"/>
            </a:xfrm>
            <a:custGeom>
              <a:avLst/>
              <a:gdLst>
                <a:gd name="T0" fmla="*/ 8 w 44"/>
                <a:gd name="T1" fmla="*/ 0 h 90"/>
                <a:gd name="T2" fmla="*/ 0 w 44"/>
                <a:gd name="T3" fmla="*/ 4 h 90"/>
                <a:gd name="T4" fmla="*/ 13 w 44"/>
                <a:gd name="T5" fmla="*/ 45 h 90"/>
                <a:gd name="T6" fmla="*/ 37 w 44"/>
                <a:gd name="T7" fmla="*/ 90 h 90"/>
                <a:gd name="T8" fmla="*/ 44 w 44"/>
                <a:gd name="T9" fmla="*/ 88 h 90"/>
                <a:gd name="T10" fmla="*/ 32 w 44"/>
                <a:gd name="T11" fmla="*/ 65 h 90"/>
                <a:gd name="T12" fmla="*/ 8 w 44"/>
                <a:gd name="T13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90">
                  <a:moveTo>
                    <a:pt x="8" y="0"/>
                  </a:moveTo>
                  <a:cubicBezTo>
                    <a:pt x="5" y="1"/>
                    <a:pt x="3" y="2"/>
                    <a:pt x="0" y="4"/>
                  </a:cubicBezTo>
                  <a:cubicBezTo>
                    <a:pt x="3" y="18"/>
                    <a:pt x="7" y="31"/>
                    <a:pt x="13" y="45"/>
                  </a:cubicBezTo>
                  <a:cubicBezTo>
                    <a:pt x="18" y="58"/>
                    <a:pt x="29" y="74"/>
                    <a:pt x="37" y="90"/>
                  </a:cubicBezTo>
                  <a:cubicBezTo>
                    <a:pt x="39" y="89"/>
                    <a:pt x="41" y="88"/>
                    <a:pt x="44" y="88"/>
                  </a:cubicBezTo>
                  <a:cubicBezTo>
                    <a:pt x="40" y="80"/>
                    <a:pt x="35" y="73"/>
                    <a:pt x="32" y="65"/>
                  </a:cubicBezTo>
                  <a:cubicBezTo>
                    <a:pt x="21" y="44"/>
                    <a:pt x="12" y="23"/>
                    <a:pt x="8" y="0"/>
                  </a:cubicBezTo>
                </a:path>
              </a:pathLst>
            </a:custGeom>
            <a:solidFill>
              <a:srgbClr val="FF5C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57" name="任意多边形: 形状 356">
              <a:extLst>
                <a:ext uri="{FF2B5EF4-FFF2-40B4-BE49-F238E27FC236}">
                  <a16:creationId xmlns:a16="http://schemas.microsoft.com/office/drawing/2014/main" id="{931C2DDE-E090-416A-BF11-664D0782E65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9134" y="3907545"/>
              <a:ext cx="2764661" cy="1627601"/>
            </a:xfrm>
            <a:custGeom>
              <a:avLst/>
              <a:gdLst>
                <a:gd name="T0" fmla="*/ 1177 w 1177"/>
                <a:gd name="T1" fmla="*/ 168 h 694"/>
                <a:gd name="T2" fmla="*/ 912 w 1177"/>
                <a:gd name="T3" fmla="*/ 395 h 694"/>
                <a:gd name="T4" fmla="*/ 630 w 1177"/>
                <a:gd name="T5" fmla="*/ 291 h 694"/>
                <a:gd name="T6" fmla="*/ 631 w 1177"/>
                <a:gd name="T7" fmla="*/ 294 h 694"/>
                <a:gd name="T8" fmla="*/ 646 w 1177"/>
                <a:gd name="T9" fmla="*/ 417 h 694"/>
                <a:gd name="T10" fmla="*/ 654 w 1177"/>
                <a:gd name="T11" fmla="*/ 586 h 694"/>
                <a:gd name="T12" fmla="*/ 237 w 1177"/>
                <a:gd name="T13" fmla="*/ 586 h 694"/>
                <a:gd name="T14" fmla="*/ 253 w 1177"/>
                <a:gd name="T15" fmla="*/ 671 h 694"/>
                <a:gd name="T16" fmla="*/ 131 w 1177"/>
                <a:gd name="T17" fmla="*/ 694 h 694"/>
                <a:gd name="T18" fmla="*/ 161 w 1177"/>
                <a:gd name="T19" fmla="*/ 163 h 694"/>
                <a:gd name="T20" fmla="*/ 352 w 1177"/>
                <a:gd name="T21" fmla="*/ 8 h 694"/>
                <a:gd name="T22" fmla="*/ 455 w 1177"/>
                <a:gd name="T23" fmla="*/ 9 h 694"/>
                <a:gd name="T24" fmla="*/ 880 w 1177"/>
                <a:gd name="T25" fmla="*/ 237 h 694"/>
                <a:gd name="T26" fmla="*/ 1058 w 1177"/>
                <a:gd name="T27" fmla="*/ 111 h 694"/>
                <a:gd name="T28" fmla="*/ 1155 w 1177"/>
                <a:gd name="T29" fmla="*/ 158 h 694"/>
                <a:gd name="T30" fmla="*/ 1177 w 1177"/>
                <a:gd name="T31" fmla="*/ 168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77" h="694">
                  <a:moveTo>
                    <a:pt x="1177" y="168"/>
                  </a:moveTo>
                  <a:cubicBezTo>
                    <a:pt x="1177" y="168"/>
                    <a:pt x="1108" y="376"/>
                    <a:pt x="912" y="395"/>
                  </a:cubicBezTo>
                  <a:cubicBezTo>
                    <a:pt x="764" y="410"/>
                    <a:pt x="630" y="291"/>
                    <a:pt x="630" y="291"/>
                  </a:cubicBezTo>
                  <a:cubicBezTo>
                    <a:pt x="631" y="294"/>
                    <a:pt x="631" y="294"/>
                    <a:pt x="631" y="294"/>
                  </a:cubicBezTo>
                  <a:cubicBezTo>
                    <a:pt x="635" y="308"/>
                    <a:pt x="651" y="360"/>
                    <a:pt x="646" y="417"/>
                  </a:cubicBezTo>
                  <a:cubicBezTo>
                    <a:pt x="641" y="470"/>
                    <a:pt x="681" y="536"/>
                    <a:pt x="654" y="586"/>
                  </a:cubicBezTo>
                  <a:cubicBezTo>
                    <a:pt x="237" y="586"/>
                    <a:pt x="237" y="586"/>
                    <a:pt x="237" y="586"/>
                  </a:cubicBezTo>
                  <a:cubicBezTo>
                    <a:pt x="253" y="671"/>
                    <a:pt x="253" y="671"/>
                    <a:pt x="253" y="671"/>
                  </a:cubicBezTo>
                  <a:cubicBezTo>
                    <a:pt x="131" y="694"/>
                    <a:pt x="131" y="694"/>
                    <a:pt x="131" y="694"/>
                  </a:cubicBezTo>
                  <a:cubicBezTo>
                    <a:pt x="0" y="492"/>
                    <a:pt x="66" y="288"/>
                    <a:pt x="161" y="163"/>
                  </a:cubicBezTo>
                  <a:cubicBezTo>
                    <a:pt x="245" y="52"/>
                    <a:pt x="352" y="8"/>
                    <a:pt x="352" y="8"/>
                  </a:cubicBezTo>
                  <a:cubicBezTo>
                    <a:pt x="455" y="9"/>
                    <a:pt x="455" y="9"/>
                    <a:pt x="455" y="9"/>
                  </a:cubicBezTo>
                  <a:cubicBezTo>
                    <a:pt x="638" y="0"/>
                    <a:pt x="775" y="205"/>
                    <a:pt x="880" y="237"/>
                  </a:cubicBezTo>
                  <a:cubicBezTo>
                    <a:pt x="985" y="270"/>
                    <a:pt x="1058" y="111"/>
                    <a:pt x="1058" y="111"/>
                  </a:cubicBezTo>
                  <a:cubicBezTo>
                    <a:pt x="1155" y="158"/>
                    <a:pt x="1155" y="158"/>
                    <a:pt x="1155" y="158"/>
                  </a:cubicBezTo>
                  <a:cubicBezTo>
                    <a:pt x="1177" y="168"/>
                    <a:pt x="1177" y="168"/>
                    <a:pt x="1177" y="168"/>
                  </a:cubicBezTo>
                </a:path>
              </a:pathLst>
            </a:custGeom>
            <a:solidFill>
              <a:srgbClr val="322C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3" name="矩形 452">
            <a:extLst>
              <a:ext uri="{FF2B5EF4-FFF2-40B4-BE49-F238E27FC236}">
                <a16:creationId xmlns:a16="http://schemas.microsoft.com/office/drawing/2014/main" id="{48198B62-E041-4F9B-9523-9FB5A5D49626}"/>
              </a:ext>
            </a:extLst>
          </p:cNvPr>
          <p:cNvSpPr/>
          <p:nvPr userDrawn="1"/>
        </p:nvSpPr>
        <p:spPr>
          <a:xfrm>
            <a:off x="-34105" y="-18667"/>
            <a:ext cx="12231025" cy="687666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1943101"/>
            <a:ext cx="5167086" cy="2083472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4711299"/>
            <a:ext cx="5167086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2" y="4415028"/>
            <a:ext cx="5167086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390" name="任意多边形: 形状 389">
            <a:extLst>
              <a:ext uri="{FF2B5EF4-FFF2-40B4-BE49-F238E27FC236}">
                <a16:creationId xmlns:a16="http://schemas.microsoft.com/office/drawing/2014/main" id="{201C6B34-23D7-4123-9C08-A8CA6C05C905}"/>
              </a:ext>
            </a:extLst>
          </p:cNvPr>
          <p:cNvSpPr>
            <a:spLocks/>
          </p:cNvSpPr>
          <p:nvPr/>
        </p:nvSpPr>
        <p:spPr bwMode="auto">
          <a:xfrm flipH="1">
            <a:off x="6484994" y="1337731"/>
            <a:ext cx="5334000" cy="4027488"/>
          </a:xfrm>
          <a:custGeom>
            <a:avLst/>
            <a:gdLst>
              <a:gd name="T0" fmla="*/ 1494 w 1617"/>
              <a:gd name="T1" fmla="*/ 759 h 1222"/>
              <a:gd name="T2" fmla="*/ 1296 w 1617"/>
              <a:gd name="T3" fmla="*/ 1222 h 1222"/>
              <a:gd name="T4" fmla="*/ 481 w 1617"/>
              <a:gd name="T5" fmla="*/ 1222 h 1222"/>
              <a:gd name="T6" fmla="*/ 223 w 1617"/>
              <a:gd name="T7" fmla="*/ 583 h 1222"/>
              <a:gd name="T8" fmla="*/ 577 w 1617"/>
              <a:gd name="T9" fmla="*/ 410 h 1222"/>
              <a:gd name="T10" fmla="*/ 647 w 1617"/>
              <a:gd name="T11" fmla="*/ 410 h 1222"/>
              <a:gd name="T12" fmla="*/ 1021 w 1617"/>
              <a:gd name="T13" fmla="*/ 22 h 1222"/>
              <a:gd name="T14" fmla="*/ 1323 w 1617"/>
              <a:gd name="T15" fmla="*/ 39 h 1222"/>
              <a:gd name="T16" fmla="*/ 1494 w 1617"/>
              <a:gd name="T17" fmla="*/ 759 h 1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17" h="1222">
                <a:moveTo>
                  <a:pt x="1494" y="759"/>
                </a:moveTo>
                <a:cubicBezTo>
                  <a:pt x="1416" y="1007"/>
                  <a:pt x="1296" y="1222"/>
                  <a:pt x="1296" y="1222"/>
                </a:cubicBezTo>
                <a:cubicBezTo>
                  <a:pt x="481" y="1222"/>
                  <a:pt x="481" y="1222"/>
                  <a:pt x="481" y="1222"/>
                </a:cubicBezTo>
                <a:cubicBezTo>
                  <a:pt x="481" y="1222"/>
                  <a:pt x="0" y="900"/>
                  <a:pt x="223" y="583"/>
                </a:cubicBezTo>
                <a:cubicBezTo>
                  <a:pt x="347" y="407"/>
                  <a:pt x="472" y="409"/>
                  <a:pt x="577" y="410"/>
                </a:cubicBezTo>
                <a:cubicBezTo>
                  <a:pt x="602" y="411"/>
                  <a:pt x="625" y="411"/>
                  <a:pt x="647" y="410"/>
                </a:cubicBezTo>
                <a:cubicBezTo>
                  <a:pt x="737" y="402"/>
                  <a:pt x="770" y="94"/>
                  <a:pt x="1021" y="22"/>
                </a:cubicBezTo>
                <a:cubicBezTo>
                  <a:pt x="1098" y="0"/>
                  <a:pt x="1196" y="0"/>
                  <a:pt x="1323" y="39"/>
                </a:cubicBezTo>
                <a:cubicBezTo>
                  <a:pt x="1617" y="129"/>
                  <a:pt x="1586" y="467"/>
                  <a:pt x="1494" y="759"/>
                </a:cubicBezTo>
              </a:path>
            </a:pathLst>
          </a:custGeom>
          <a:solidFill>
            <a:srgbClr val="C7DBF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91" name="椭圆 390">
            <a:extLst>
              <a:ext uri="{FF2B5EF4-FFF2-40B4-BE49-F238E27FC236}">
                <a16:creationId xmlns:a16="http://schemas.microsoft.com/office/drawing/2014/main" id="{FF7FFAC0-7D1F-4C8C-BF83-C3AF06B77DA6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6277032" y="2653769"/>
            <a:ext cx="260350" cy="203200"/>
          </a:xfrm>
          <a:prstGeom prst="ellipse">
            <a:avLst/>
          </a:prstGeom>
          <a:solidFill>
            <a:srgbClr val="C7DBF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92" name="任意多边形: 形状 391">
            <a:extLst>
              <a:ext uri="{FF2B5EF4-FFF2-40B4-BE49-F238E27FC236}">
                <a16:creationId xmlns:a16="http://schemas.microsoft.com/office/drawing/2014/main" id="{61C2CE08-9802-4666-A0AC-CF9FB9C22FE9}"/>
              </a:ext>
            </a:extLst>
          </p:cNvPr>
          <p:cNvSpPr>
            <a:spLocks/>
          </p:cNvSpPr>
          <p:nvPr/>
        </p:nvSpPr>
        <p:spPr bwMode="auto">
          <a:xfrm flipH="1">
            <a:off x="10944281" y="4253969"/>
            <a:ext cx="608013" cy="890588"/>
          </a:xfrm>
          <a:custGeom>
            <a:avLst/>
            <a:gdLst>
              <a:gd name="T0" fmla="*/ 21 w 184"/>
              <a:gd name="T1" fmla="*/ 11 h 270"/>
              <a:gd name="T2" fmla="*/ 97 w 184"/>
              <a:gd name="T3" fmla="*/ 132 h 270"/>
              <a:gd name="T4" fmla="*/ 179 w 184"/>
              <a:gd name="T5" fmla="*/ 258 h 270"/>
              <a:gd name="T6" fmla="*/ 54 w 184"/>
              <a:gd name="T7" fmla="*/ 162 h 270"/>
              <a:gd name="T8" fmla="*/ 21 w 184"/>
              <a:gd name="T9" fmla="*/ 11 h 2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4" h="270">
                <a:moveTo>
                  <a:pt x="21" y="11"/>
                </a:moveTo>
                <a:cubicBezTo>
                  <a:pt x="42" y="0"/>
                  <a:pt x="62" y="71"/>
                  <a:pt x="97" y="132"/>
                </a:cubicBezTo>
                <a:cubicBezTo>
                  <a:pt x="133" y="194"/>
                  <a:pt x="184" y="246"/>
                  <a:pt x="179" y="258"/>
                </a:cubicBezTo>
                <a:cubicBezTo>
                  <a:pt x="174" y="270"/>
                  <a:pt x="98" y="225"/>
                  <a:pt x="54" y="162"/>
                </a:cubicBezTo>
                <a:cubicBezTo>
                  <a:pt x="12" y="101"/>
                  <a:pt x="0" y="22"/>
                  <a:pt x="21" y="11"/>
                </a:cubicBezTo>
                <a:close/>
              </a:path>
            </a:pathLst>
          </a:custGeom>
          <a:solidFill>
            <a:srgbClr val="C7DBF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93" name="任意多边形: 形状 392">
            <a:extLst>
              <a:ext uri="{FF2B5EF4-FFF2-40B4-BE49-F238E27FC236}">
                <a16:creationId xmlns:a16="http://schemas.microsoft.com/office/drawing/2014/main" id="{0BEEF4DE-B817-4300-82A2-D08FDDA1A2AE}"/>
              </a:ext>
            </a:extLst>
          </p:cNvPr>
          <p:cNvSpPr>
            <a:spLocks/>
          </p:cNvSpPr>
          <p:nvPr/>
        </p:nvSpPr>
        <p:spPr bwMode="auto">
          <a:xfrm flipH="1">
            <a:off x="6683432" y="4307944"/>
            <a:ext cx="533400" cy="925513"/>
          </a:xfrm>
          <a:custGeom>
            <a:avLst/>
            <a:gdLst>
              <a:gd name="T0" fmla="*/ 140 w 162"/>
              <a:gd name="T1" fmla="*/ 9 h 281"/>
              <a:gd name="T2" fmla="*/ 76 w 162"/>
              <a:gd name="T3" fmla="*/ 137 h 281"/>
              <a:gd name="T4" fmla="*/ 6 w 162"/>
              <a:gd name="T5" fmla="*/ 270 h 281"/>
              <a:gd name="T6" fmla="*/ 110 w 162"/>
              <a:gd name="T7" fmla="*/ 150 h 281"/>
              <a:gd name="T8" fmla="*/ 140 w 162"/>
              <a:gd name="T9" fmla="*/ 9 h 2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2" h="281">
                <a:moveTo>
                  <a:pt x="140" y="9"/>
                </a:moveTo>
                <a:cubicBezTo>
                  <a:pt x="118" y="0"/>
                  <a:pt x="105" y="72"/>
                  <a:pt x="76" y="137"/>
                </a:cubicBezTo>
                <a:cubicBezTo>
                  <a:pt x="46" y="201"/>
                  <a:pt x="0" y="259"/>
                  <a:pt x="6" y="270"/>
                </a:cubicBezTo>
                <a:cubicBezTo>
                  <a:pt x="12" y="281"/>
                  <a:pt x="72" y="217"/>
                  <a:pt x="110" y="150"/>
                </a:cubicBezTo>
                <a:cubicBezTo>
                  <a:pt x="147" y="85"/>
                  <a:pt x="162" y="17"/>
                  <a:pt x="140" y="9"/>
                </a:cubicBezTo>
                <a:close/>
              </a:path>
            </a:pathLst>
          </a:custGeom>
          <a:solidFill>
            <a:srgbClr val="C7DBF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94" name="任意多边形: 形状 393">
            <a:extLst>
              <a:ext uri="{FF2B5EF4-FFF2-40B4-BE49-F238E27FC236}">
                <a16:creationId xmlns:a16="http://schemas.microsoft.com/office/drawing/2014/main" id="{ED5D4CE0-E791-47CF-A022-95E883D70DCC}"/>
              </a:ext>
            </a:extLst>
          </p:cNvPr>
          <p:cNvSpPr>
            <a:spLocks/>
          </p:cNvSpPr>
          <p:nvPr/>
        </p:nvSpPr>
        <p:spPr bwMode="auto">
          <a:xfrm flipH="1">
            <a:off x="6497694" y="1110719"/>
            <a:ext cx="722313" cy="800100"/>
          </a:xfrm>
          <a:custGeom>
            <a:avLst/>
            <a:gdLst>
              <a:gd name="T0" fmla="*/ 17 w 219"/>
              <a:gd name="T1" fmla="*/ 17 h 243"/>
              <a:gd name="T2" fmla="*/ 110 w 219"/>
              <a:gd name="T3" fmla="*/ 126 h 243"/>
              <a:gd name="T4" fmla="*/ 206 w 219"/>
              <a:gd name="T5" fmla="*/ 242 h 243"/>
              <a:gd name="T6" fmla="*/ 135 w 219"/>
              <a:gd name="T7" fmla="*/ 99 h 243"/>
              <a:gd name="T8" fmla="*/ 17 w 219"/>
              <a:gd name="T9" fmla="*/ 17 h 2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9" h="243">
                <a:moveTo>
                  <a:pt x="17" y="17"/>
                </a:moveTo>
                <a:cubicBezTo>
                  <a:pt x="0" y="34"/>
                  <a:pt x="62" y="74"/>
                  <a:pt x="110" y="126"/>
                </a:cubicBezTo>
                <a:cubicBezTo>
                  <a:pt x="158" y="178"/>
                  <a:pt x="193" y="243"/>
                  <a:pt x="206" y="242"/>
                </a:cubicBezTo>
                <a:cubicBezTo>
                  <a:pt x="219" y="240"/>
                  <a:pt x="183" y="160"/>
                  <a:pt x="135" y="99"/>
                </a:cubicBezTo>
                <a:cubicBezTo>
                  <a:pt x="90" y="41"/>
                  <a:pt x="34" y="0"/>
                  <a:pt x="17" y="17"/>
                </a:cubicBezTo>
                <a:close/>
              </a:path>
            </a:pathLst>
          </a:custGeom>
          <a:solidFill>
            <a:srgbClr val="C7DBF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95" name="任意多边形: 形状 394">
            <a:extLst>
              <a:ext uri="{FF2B5EF4-FFF2-40B4-BE49-F238E27FC236}">
                <a16:creationId xmlns:a16="http://schemas.microsoft.com/office/drawing/2014/main" id="{08F1B1B6-6E8E-4742-BF63-43493849A92C}"/>
              </a:ext>
            </a:extLst>
          </p:cNvPr>
          <p:cNvSpPr>
            <a:spLocks/>
          </p:cNvSpPr>
          <p:nvPr/>
        </p:nvSpPr>
        <p:spPr bwMode="auto">
          <a:xfrm flipH="1">
            <a:off x="10441044" y="5346169"/>
            <a:ext cx="979488" cy="38100"/>
          </a:xfrm>
          <a:custGeom>
            <a:avLst/>
            <a:gdLst>
              <a:gd name="T0" fmla="*/ 293 w 297"/>
              <a:gd name="T1" fmla="*/ 0 h 12"/>
              <a:gd name="T2" fmla="*/ 297 w 297"/>
              <a:gd name="T3" fmla="*/ 12 h 12"/>
              <a:gd name="T4" fmla="*/ 6 w 297"/>
              <a:gd name="T5" fmla="*/ 12 h 12"/>
              <a:gd name="T6" fmla="*/ 0 w 297"/>
              <a:gd name="T7" fmla="*/ 6 h 12"/>
              <a:gd name="T8" fmla="*/ 6 w 297"/>
              <a:gd name="T9" fmla="*/ 0 h 12"/>
              <a:gd name="T10" fmla="*/ 293 w 297"/>
              <a:gd name="T11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97" h="12">
                <a:moveTo>
                  <a:pt x="293" y="0"/>
                </a:moveTo>
                <a:cubicBezTo>
                  <a:pt x="294" y="4"/>
                  <a:pt x="295" y="8"/>
                  <a:pt x="297" y="12"/>
                </a:cubicBezTo>
                <a:cubicBezTo>
                  <a:pt x="6" y="12"/>
                  <a:pt x="6" y="12"/>
                  <a:pt x="6" y="12"/>
                </a:cubicBezTo>
                <a:cubicBezTo>
                  <a:pt x="3" y="12"/>
                  <a:pt x="0" y="9"/>
                  <a:pt x="0" y="6"/>
                </a:cubicBezTo>
                <a:cubicBezTo>
                  <a:pt x="0" y="3"/>
                  <a:pt x="3" y="0"/>
                  <a:pt x="6" y="0"/>
                </a:cubicBezTo>
                <a:lnTo>
                  <a:pt x="293" y="0"/>
                </a:lnTo>
                <a:close/>
              </a:path>
            </a:pathLst>
          </a:custGeom>
          <a:solidFill>
            <a:srgbClr val="C7DBF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96" name="任意多边形: 形状 395">
            <a:extLst>
              <a:ext uri="{FF2B5EF4-FFF2-40B4-BE49-F238E27FC236}">
                <a16:creationId xmlns:a16="http://schemas.microsoft.com/office/drawing/2014/main" id="{ADABA2B2-46D2-4111-9E2B-D9FA65FB5221}"/>
              </a:ext>
            </a:extLst>
          </p:cNvPr>
          <p:cNvSpPr>
            <a:spLocks/>
          </p:cNvSpPr>
          <p:nvPr/>
        </p:nvSpPr>
        <p:spPr bwMode="auto">
          <a:xfrm flipH="1">
            <a:off x="6686607" y="5346169"/>
            <a:ext cx="3238500" cy="38100"/>
          </a:xfrm>
          <a:custGeom>
            <a:avLst/>
            <a:gdLst>
              <a:gd name="T0" fmla="*/ 982 w 982"/>
              <a:gd name="T1" fmla="*/ 6 h 12"/>
              <a:gd name="T2" fmla="*/ 976 w 982"/>
              <a:gd name="T3" fmla="*/ 12 h 12"/>
              <a:gd name="T4" fmla="*/ 3 w 982"/>
              <a:gd name="T5" fmla="*/ 12 h 12"/>
              <a:gd name="T6" fmla="*/ 0 w 982"/>
              <a:gd name="T7" fmla="*/ 0 h 12"/>
              <a:gd name="T8" fmla="*/ 976 w 982"/>
              <a:gd name="T9" fmla="*/ 0 h 12"/>
              <a:gd name="T10" fmla="*/ 982 w 982"/>
              <a:gd name="T11" fmla="*/ 6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982" h="12">
                <a:moveTo>
                  <a:pt x="982" y="6"/>
                </a:moveTo>
                <a:cubicBezTo>
                  <a:pt x="982" y="9"/>
                  <a:pt x="979" y="12"/>
                  <a:pt x="976" y="12"/>
                </a:cubicBezTo>
                <a:cubicBezTo>
                  <a:pt x="3" y="12"/>
                  <a:pt x="3" y="12"/>
                  <a:pt x="3" y="12"/>
                </a:cubicBezTo>
                <a:cubicBezTo>
                  <a:pt x="0" y="0"/>
                  <a:pt x="0" y="0"/>
                  <a:pt x="0" y="0"/>
                </a:cubicBezTo>
                <a:cubicBezTo>
                  <a:pt x="976" y="0"/>
                  <a:pt x="976" y="0"/>
                  <a:pt x="976" y="0"/>
                </a:cubicBezTo>
                <a:cubicBezTo>
                  <a:pt x="979" y="0"/>
                  <a:pt x="982" y="3"/>
                  <a:pt x="982" y="6"/>
                </a:cubicBezTo>
              </a:path>
            </a:pathLst>
          </a:custGeom>
          <a:solidFill>
            <a:srgbClr val="C7DBF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258B125B-8138-40A8-88B6-473D515D42E0}"/>
              </a:ext>
            </a:extLst>
          </p:cNvPr>
          <p:cNvGrpSpPr/>
          <p:nvPr userDrawn="1"/>
        </p:nvGrpSpPr>
        <p:grpSpPr>
          <a:xfrm flipH="1">
            <a:off x="6526269" y="2568044"/>
            <a:ext cx="736600" cy="1244600"/>
            <a:chOff x="6408794" y="2568044"/>
            <a:chExt cx="736600" cy="1244600"/>
          </a:xfrm>
        </p:grpSpPr>
        <p:sp>
          <p:nvSpPr>
            <p:cNvPr id="397" name="椭圆 396">
              <a:extLst>
                <a:ext uri="{FF2B5EF4-FFF2-40B4-BE49-F238E27FC236}">
                  <a16:creationId xmlns:a16="http://schemas.microsoft.com/office/drawing/2014/main" id="{0C87451C-8362-4719-BF27-2D5266180BDF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6805669" y="2890306"/>
              <a:ext cx="303213" cy="2413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98" name="椭圆 397">
              <a:extLst>
                <a:ext uri="{FF2B5EF4-FFF2-40B4-BE49-F238E27FC236}">
                  <a16:creationId xmlns:a16="http://schemas.microsoft.com/office/drawing/2014/main" id="{6408EFDE-40E9-43FE-953A-7C38763042FB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6643744" y="2969681"/>
              <a:ext cx="211138" cy="1682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99" name="任意多边形: 形状 398">
              <a:extLst>
                <a:ext uri="{FF2B5EF4-FFF2-40B4-BE49-F238E27FC236}">
                  <a16:creationId xmlns:a16="http://schemas.microsoft.com/office/drawing/2014/main" id="{B964AA5C-3B28-41DE-B610-19DBEAE8BE65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597706" y="3052231"/>
              <a:ext cx="547688" cy="760413"/>
            </a:xfrm>
            <a:custGeom>
              <a:avLst/>
              <a:gdLst>
                <a:gd name="T0" fmla="*/ 166 w 166"/>
                <a:gd name="T1" fmla="*/ 0 h 231"/>
                <a:gd name="T2" fmla="*/ 166 w 166"/>
                <a:gd name="T3" fmla="*/ 185 h 231"/>
                <a:gd name="T4" fmla="*/ 120 w 166"/>
                <a:gd name="T5" fmla="*/ 231 h 231"/>
                <a:gd name="T6" fmla="*/ 46 w 166"/>
                <a:gd name="T7" fmla="*/ 231 h 231"/>
                <a:gd name="T8" fmla="*/ 24 w 166"/>
                <a:gd name="T9" fmla="*/ 226 h 231"/>
                <a:gd name="T10" fmla="*/ 0 w 166"/>
                <a:gd name="T11" fmla="*/ 185 h 231"/>
                <a:gd name="T12" fmla="*/ 0 w 166"/>
                <a:gd name="T13" fmla="*/ 0 h 231"/>
                <a:gd name="T14" fmla="*/ 166 w 166"/>
                <a:gd name="T15" fmla="*/ 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6" h="231">
                  <a:moveTo>
                    <a:pt x="166" y="0"/>
                  </a:moveTo>
                  <a:cubicBezTo>
                    <a:pt x="166" y="185"/>
                    <a:pt x="166" y="185"/>
                    <a:pt x="166" y="185"/>
                  </a:cubicBezTo>
                  <a:cubicBezTo>
                    <a:pt x="166" y="211"/>
                    <a:pt x="145" y="231"/>
                    <a:pt x="120" y="231"/>
                  </a:cubicBezTo>
                  <a:cubicBezTo>
                    <a:pt x="46" y="231"/>
                    <a:pt x="46" y="231"/>
                    <a:pt x="46" y="231"/>
                  </a:cubicBezTo>
                  <a:cubicBezTo>
                    <a:pt x="38" y="231"/>
                    <a:pt x="31" y="229"/>
                    <a:pt x="24" y="226"/>
                  </a:cubicBezTo>
                  <a:cubicBezTo>
                    <a:pt x="10" y="218"/>
                    <a:pt x="0" y="203"/>
                    <a:pt x="0" y="18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6" y="0"/>
                    <a:pt x="166" y="0"/>
                    <a:pt x="166" y="0"/>
                  </a:cubicBezTo>
                </a:path>
              </a:pathLst>
            </a:custGeom>
            <a:solidFill>
              <a:srgbClr val="5699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00" name="任意多边形: 形状 399">
              <a:extLst>
                <a:ext uri="{FF2B5EF4-FFF2-40B4-BE49-F238E27FC236}">
                  <a16:creationId xmlns:a16="http://schemas.microsoft.com/office/drawing/2014/main" id="{7D1A0246-A832-4904-9E5F-AC798AA3FE7E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408794" y="3255431"/>
              <a:ext cx="241300" cy="354013"/>
            </a:xfrm>
            <a:custGeom>
              <a:avLst/>
              <a:gdLst>
                <a:gd name="T0" fmla="*/ 42 w 73"/>
                <a:gd name="T1" fmla="*/ 107 h 107"/>
                <a:gd name="T2" fmla="*/ 0 w 73"/>
                <a:gd name="T3" fmla="*/ 107 h 107"/>
                <a:gd name="T4" fmla="*/ 0 w 73"/>
                <a:gd name="T5" fmla="*/ 0 h 107"/>
                <a:gd name="T6" fmla="*/ 42 w 73"/>
                <a:gd name="T7" fmla="*/ 0 h 107"/>
                <a:gd name="T8" fmla="*/ 73 w 73"/>
                <a:gd name="T9" fmla="*/ 32 h 107"/>
                <a:gd name="T10" fmla="*/ 73 w 73"/>
                <a:gd name="T11" fmla="*/ 76 h 107"/>
                <a:gd name="T12" fmla="*/ 42 w 73"/>
                <a:gd name="T13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107">
                  <a:moveTo>
                    <a:pt x="42" y="107"/>
                  </a:moveTo>
                  <a:cubicBezTo>
                    <a:pt x="0" y="107"/>
                    <a:pt x="0" y="107"/>
                    <a:pt x="0" y="10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59" y="0"/>
                    <a:pt x="73" y="14"/>
                    <a:pt x="73" y="32"/>
                  </a:cubicBezTo>
                  <a:cubicBezTo>
                    <a:pt x="73" y="76"/>
                    <a:pt x="73" y="76"/>
                    <a:pt x="73" y="76"/>
                  </a:cubicBezTo>
                  <a:cubicBezTo>
                    <a:pt x="73" y="93"/>
                    <a:pt x="59" y="107"/>
                    <a:pt x="42" y="107"/>
                  </a:cubicBezTo>
                  <a:close/>
                </a:path>
              </a:pathLst>
            </a:custGeom>
            <a:noFill/>
            <a:ln w="52388" cap="flat">
              <a:solidFill>
                <a:srgbClr val="5699E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01" name="任意多边形: 形状 400">
              <a:extLst>
                <a:ext uri="{FF2B5EF4-FFF2-40B4-BE49-F238E27FC236}">
                  <a16:creationId xmlns:a16="http://schemas.microsoft.com/office/drawing/2014/main" id="{8D3A9EA4-05F8-41DF-AFF7-7492212EACA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923144" y="2568044"/>
              <a:ext cx="88900" cy="282575"/>
            </a:xfrm>
            <a:custGeom>
              <a:avLst/>
              <a:gdLst>
                <a:gd name="T0" fmla="*/ 22 w 27"/>
                <a:gd name="T1" fmla="*/ 0 h 86"/>
                <a:gd name="T2" fmla="*/ 20 w 27"/>
                <a:gd name="T3" fmla="*/ 2 h 86"/>
                <a:gd name="T4" fmla="*/ 20 w 27"/>
                <a:gd name="T5" fmla="*/ 2 h 86"/>
                <a:gd name="T6" fmla="*/ 13 w 27"/>
                <a:gd name="T7" fmla="*/ 21 h 86"/>
                <a:gd name="T8" fmla="*/ 4 w 27"/>
                <a:gd name="T9" fmla="*/ 40 h 86"/>
                <a:gd name="T10" fmla="*/ 1 w 27"/>
                <a:gd name="T11" fmla="*/ 46 h 86"/>
                <a:gd name="T12" fmla="*/ 0 w 27"/>
                <a:gd name="T13" fmla="*/ 50 h 86"/>
                <a:gd name="T14" fmla="*/ 0 w 27"/>
                <a:gd name="T15" fmla="*/ 54 h 86"/>
                <a:gd name="T16" fmla="*/ 3 w 27"/>
                <a:gd name="T17" fmla="*/ 68 h 86"/>
                <a:gd name="T18" fmla="*/ 20 w 27"/>
                <a:gd name="T19" fmla="*/ 85 h 86"/>
                <a:gd name="T20" fmla="*/ 21 w 27"/>
                <a:gd name="T21" fmla="*/ 86 h 86"/>
                <a:gd name="T22" fmla="*/ 22 w 27"/>
                <a:gd name="T23" fmla="*/ 86 h 86"/>
                <a:gd name="T24" fmla="*/ 23 w 27"/>
                <a:gd name="T25" fmla="*/ 83 h 86"/>
                <a:gd name="T26" fmla="*/ 23 w 27"/>
                <a:gd name="T27" fmla="*/ 83 h 86"/>
                <a:gd name="T28" fmla="*/ 18 w 27"/>
                <a:gd name="T29" fmla="*/ 62 h 86"/>
                <a:gd name="T30" fmla="*/ 17 w 27"/>
                <a:gd name="T31" fmla="*/ 55 h 86"/>
                <a:gd name="T32" fmla="*/ 18 w 27"/>
                <a:gd name="T33" fmla="*/ 53 h 86"/>
                <a:gd name="T34" fmla="*/ 18 w 27"/>
                <a:gd name="T35" fmla="*/ 52 h 86"/>
                <a:gd name="T36" fmla="*/ 20 w 27"/>
                <a:gd name="T37" fmla="*/ 47 h 86"/>
                <a:gd name="T38" fmla="*/ 26 w 27"/>
                <a:gd name="T39" fmla="*/ 25 h 86"/>
                <a:gd name="T40" fmla="*/ 27 w 27"/>
                <a:gd name="T41" fmla="*/ 13 h 86"/>
                <a:gd name="T42" fmla="*/ 24 w 27"/>
                <a:gd name="T43" fmla="*/ 1 h 86"/>
                <a:gd name="T44" fmla="*/ 22 w 27"/>
                <a:gd name="T45" fmla="*/ 0 h 86"/>
                <a:gd name="T46" fmla="*/ 22 w 27"/>
                <a:gd name="T47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7" h="86">
                  <a:moveTo>
                    <a:pt x="22" y="0"/>
                  </a:moveTo>
                  <a:cubicBezTo>
                    <a:pt x="21" y="0"/>
                    <a:pt x="20" y="0"/>
                    <a:pt x="20" y="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9" y="9"/>
                    <a:pt x="16" y="15"/>
                    <a:pt x="13" y="21"/>
                  </a:cubicBezTo>
                  <a:cubicBezTo>
                    <a:pt x="10" y="27"/>
                    <a:pt x="7" y="34"/>
                    <a:pt x="4" y="40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1" y="47"/>
                    <a:pt x="1" y="48"/>
                    <a:pt x="0" y="50"/>
                  </a:cubicBezTo>
                  <a:cubicBezTo>
                    <a:pt x="0" y="51"/>
                    <a:pt x="0" y="53"/>
                    <a:pt x="0" y="54"/>
                  </a:cubicBezTo>
                  <a:cubicBezTo>
                    <a:pt x="0" y="59"/>
                    <a:pt x="1" y="64"/>
                    <a:pt x="3" y="68"/>
                  </a:cubicBezTo>
                  <a:cubicBezTo>
                    <a:pt x="7" y="75"/>
                    <a:pt x="13" y="81"/>
                    <a:pt x="20" y="85"/>
                  </a:cubicBezTo>
                  <a:cubicBezTo>
                    <a:pt x="21" y="86"/>
                    <a:pt x="21" y="86"/>
                    <a:pt x="21" y="86"/>
                  </a:cubicBezTo>
                  <a:cubicBezTo>
                    <a:pt x="21" y="86"/>
                    <a:pt x="22" y="86"/>
                    <a:pt x="22" y="86"/>
                  </a:cubicBezTo>
                  <a:cubicBezTo>
                    <a:pt x="23" y="85"/>
                    <a:pt x="24" y="84"/>
                    <a:pt x="23" y="83"/>
                  </a:cubicBezTo>
                  <a:cubicBezTo>
                    <a:pt x="23" y="83"/>
                    <a:pt x="23" y="83"/>
                    <a:pt x="23" y="83"/>
                  </a:cubicBezTo>
                  <a:cubicBezTo>
                    <a:pt x="22" y="75"/>
                    <a:pt x="19" y="68"/>
                    <a:pt x="18" y="62"/>
                  </a:cubicBezTo>
                  <a:cubicBezTo>
                    <a:pt x="17" y="59"/>
                    <a:pt x="17" y="57"/>
                    <a:pt x="17" y="55"/>
                  </a:cubicBezTo>
                  <a:cubicBezTo>
                    <a:pt x="18" y="54"/>
                    <a:pt x="17" y="54"/>
                    <a:pt x="18" y="53"/>
                  </a:cubicBezTo>
                  <a:cubicBezTo>
                    <a:pt x="18" y="53"/>
                    <a:pt x="18" y="53"/>
                    <a:pt x="18" y="52"/>
                  </a:cubicBezTo>
                  <a:cubicBezTo>
                    <a:pt x="20" y="47"/>
                    <a:pt x="20" y="47"/>
                    <a:pt x="20" y="47"/>
                  </a:cubicBezTo>
                  <a:cubicBezTo>
                    <a:pt x="23" y="40"/>
                    <a:pt x="25" y="33"/>
                    <a:pt x="26" y="25"/>
                  </a:cubicBezTo>
                  <a:cubicBezTo>
                    <a:pt x="27" y="21"/>
                    <a:pt x="27" y="17"/>
                    <a:pt x="27" y="13"/>
                  </a:cubicBezTo>
                  <a:cubicBezTo>
                    <a:pt x="27" y="9"/>
                    <a:pt x="26" y="4"/>
                    <a:pt x="24" y="1"/>
                  </a:cubicBezTo>
                  <a:cubicBezTo>
                    <a:pt x="23" y="0"/>
                    <a:pt x="23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</a:path>
              </a:pathLst>
            </a:custGeom>
            <a:solidFill>
              <a:srgbClr val="9AC1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02" name="任意多边形: 形状 401">
              <a:extLst>
                <a:ext uri="{FF2B5EF4-FFF2-40B4-BE49-F238E27FC236}">
                  <a16:creationId xmlns:a16="http://schemas.microsoft.com/office/drawing/2014/main" id="{643465C4-6FDE-48B3-B4DA-F20F123D3F91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729469" y="2649006"/>
              <a:ext cx="85725" cy="247650"/>
            </a:xfrm>
            <a:custGeom>
              <a:avLst/>
              <a:gdLst>
                <a:gd name="T0" fmla="*/ 5 w 26"/>
                <a:gd name="T1" fmla="*/ 0 h 75"/>
                <a:gd name="T2" fmla="*/ 4 w 26"/>
                <a:gd name="T3" fmla="*/ 1 h 75"/>
                <a:gd name="T4" fmla="*/ 0 w 26"/>
                <a:gd name="T5" fmla="*/ 11 h 75"/>
                <a:gd name="T6" fmla="*/ 1 w 26"/>
                <a:gd name="T7" fmla="*/ 22 h 75"/>
                <a:gd name="T8" fmla="*/ 6 w 26"/>
                <a:gd name="T9" fmla="*/ 42 h 75"/>
                <a:gd name="T10" fmla="*/ 8 w 26"/>
                <a:gd name="T11" fmla="*/ 46 h 75"/>
                <a:gd name="T12" fmla="*/ 8 w 26"/>
                <a:gd name="T13" fmla="*/ 47 h 75"/>
                <a:gd name="T14" fmla="*/ 8 w 26"/>
                <a:gd name="T15" fmla="*/ 48 h 75"/>
                <a:gd name="T16" fmla="*/ 8 w 26"/>
                <a:gd name="T17" fmla="*/ 54 h 75"/>
                <a:gd name="T18" fmla="*/ 4 w 26"/>
                <a:gd name="T19" fmla="*/ 72 h 75"/>
                <a:gd name="T20" fmla="*/ 4 w 26"/>
                <a:gd name="T21" fmla="*/ 72 h 75"/>
                <a:gd name="T22" fmla="*/ 4 w 26"/>
                <a:gd name="T23" fmla="*/ 74 h 75"/>
                <a:gd name="T24" fmla="*/ 6 w 26"/>
                <a:gd name="T25" fmla="*/ 75 h 75"/>
                <a:gd name="T26" fmla="*/ 7 w 26"/>
                <a:gd name="T27" fmla="*/ 75 h 75"/>
                <a:gd name="T28" fmla="*/ 23 w 26"/>
                <a:gd name="T29" fmla="*/ 60 h 75"/>
                <a:gd name="T30" fmla="*/ 26 w 26"/>
                <a:gd name="T31" fmla="*/ 47 h 75"/>
                <a:gd name="T32" fmla="*/ 25 w 26"/>
                <a:gd name="T33" fmla="*/ 43 h 75"/>
                <a:gd name="T34" fmla="*/ 24 w 26"/>
                <a:gd name="T35" fmla="*/ 39 h 75"/>
                <a:gd name="T36" fmla="*/ 22 w 26"/>
                <a:gd name="T37" fmla="*/ 35 h 75"/>
                <a:gd name="T38" fmla="*/ 14 w 26"/>
                <a:gd name="T39" fmla="*/ 18 h 75"/>
                <a:gd name="T40" fmla="*/ 7 w 26"/>
                <a:gd name="T41" fmla="*/ 2 h 75"/>
                <a:gd name="T42" fmla="*/ 7 w 26"/>
                <a:gd name="T43" fmla="*/ 1 h 75"/>
                <a:gd name="T44" fmla="*/ 6 w 26"/>
                <a:gd name="T45" fmla="*/ 0 h 75"/>
                <a:gd name="T46" fmla="*/ 5 w 26"/>
                <a:gd name="T4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" h="75">
                  <a:moveTo>
                    <a:pt x="5" y="0"/>
                  </a:moveTo>
                  <a:cubicBezTo>
                    <a:pt x="5" y="0"/>
                    <a:pt x="4" y="0"/>
                    <a:pt x="4" y="1"/>
                  </a:cubicBezTo>
                  <a:cubicBezTo>
                    <a:pt x="2" y="4"/>
                    <a:pt x="1" y="8"/>
                    <a:pt x="0" y="11"/>
                  </a:cubicBezTo>
                  <a:cubicBezTo>
                    <a:pt x="0" y="15"/>
                    <a:pt x="0" y="19"/>
                    <a:pt x="1" y="22"/>
                  </a:cubicBezTo>
                  <a:cubicBezTo>
                    <a:pt x="2" y="29"/>
                    <a:pt x="4" y="36"/>
                    <a:pt x="6" y="42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7"/>
                  </a:cubicBezTo>
                  <a:cubicBezTo>
                    <a:pt x="8" y="48"/>
                    <a:pt x="8" y="48"/>
                    <a:pt x="8" y="48"/>
                  </a:cubicBezTo>
                  <a:cubicBezTo>
                    <a:pt x="8" y="49"/>
                    <a:pt x="8" y="52"/>
                    <a:pt x="8" y="54"/>
                  </a:cubicBezTo>
                  <a:cubicBezTo>
                    <a:pt x="7" y="59"/>
                    <a:pt x="5" y="65"/>
                    <a:pt x="4" y="72"/>
                  </a:cubicBezTo>
                  <a:cubicBezTo>
                    <a:pt x="4" y="72"/>
                    <a:pt x="4" y="72"/>
                    <a:pt x="4" y="72"/>
                  </a:cubicBezTo>
                  <a:cubicBezTo>
                    <a:pt x="4" y="73"/>
                    <a:pt x="4" y="73"/>
                    <a:pt x="4" y="74"/>
                  </a:cubicBezTo>
                  <a:cubicBezTo>
                    <a:pt x="4" y="74"/>
                    <a:pt x="5" y="75"/>
                    <a:pt x="6" y="75"/>
                  </a:cubicBezTo>
                  <a:cubicBezTo>
                    <a:pt x="6" y="75"/>
                    <a:pt x="7" y="75"/>
                    <a:pt x="7" y="75"/>
                  </a:cubicBezTo>
                  <a:cubicBezTo>
                    <a:pt x="14" y="71"/>
                    <a:pt x="19" y="66"/>
                    <a:pt x="23" y="60"/>
                  </a:cubicBezTo>
                  <a:cubicBezTo>
                    <a:pt x="24" y="56"/>
                    <a:pt x="26" y="52"/>
                    <a:pt x="26" y="47"/>
                  </a:cubicBezTo>
                  <a:cubicBezTo>
                    <a:pt x="26" y="46"/>
                    <a:pt x="26" y="45"/>
                    <a:pt x="25" y="43"/>
                  </a:cubicBezTo>
                  <a:cubicBezTo>
                    <a:pt x="25" y="42"/>
                    <a:pt x="25" y="40"/>
                    <a:pt x="24" y="39"/>
                  </a:cubicBezTo>
                  <a:cubicBezTo>
                    <a:pt x="22" y="35"/>
                    <a:pt x="22" y="35"/>
                    <a:pt x="22" y="35"/>
                  </a:cubicBezTo>
                  <a:cubicBezTo>
                    <a:pt x="20" y="29"/>
                    <a:pt x="17" y="24"/>
                    <a:pt x="14" y="18"/>
                  </a:cubicBezTo>
                  <a:cubicBezTo>
                    <a:pt x="12" y="13"/>
                    <a:pt x="9" y="8"/>
                    <a:pt x="7" y="2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</a:path>
              </a:pathLst>
            </a:custGeom>
            <a:solidFill>
              <a:srgbClr val="9AC1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403" name="任意多边形: 形状 402">
            <a:extLst>
              <a:ext uri="{FF2B5EF4-FFF2-40B4-BE49-F238E27FC236}">
                <a16:creationId xmlns:a16="http://schemas.microsoft.com/office/drawing/2014/main" id="{66178AEB-AA3D-41F8-B6EE-DBB71DB274B4}"/>
              </a:ext>
            </a:extLst>
          </p:cNvPr>
          <p:cNvSpPr>
            <a:spLocks/>
          </p:cNvSpPr>
          <p:nvPr/>
        </p:nvSpPr>
        <p:spPr bwMode="auto">
          <a:xfrm flipH="1">
            <a:off x="6897744" y="3518956"/>
            <a:ext cx="119063" cy="293688"/>
          </a:xfrm>
          <a:custGeom>
            <a:avLst/>
            <a:gdLst>
              <a:gd name="T0" fmla="*/ 12 w 36"/>
              <a:gd name="T1" fmla="*/ 0 h 89"/>
              <a:gd name="T2" fmla="*/ 0 w 36"/>
              <a:gd name="T3" fmla="*/ 89 h 89"/>
              <a:gd name="T4" fmla="*/ 7 w 36"/>
              <a:gd name="T5" fmla="*/ 89 h 89"/>
              <a:gd name="T6" fmla="*/ 26 w 36"/>
              <a:gd name="T7" fmla="*/ 89 h 89"/>
              <a:gd name="T8" fmla="*/ 30 w 36"/>
              <a:gd name="T9" fmla="*/ 38 h 89"/>
              <a:gd name="T10" fmla="*/ 12 w 36"/>
              <a:gd name="T11" fmla="*/ 0 h 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6" h="89">
                <a:moveTo>
                  <a:pt x="12" y="0"/>
                </a:moveTo>
                <a:cubicBezTo>
                  <a:pt x="23" y="17"/>
                  <a:pt x="2" y="82"/>
                  <a:pt x="0" y="89"/>
                </a:cubicBezTo>
                <a:cubicBezTo>
                  <a:pt x="2" y="89"/>
                  <a:pt x="4" y="89"/>
                  <a:pt x="7" y="89"/>
                </a:cubicBezTo>
                <a:cubicBezTo>
                  <a:pt x="26" y="89"/>
                  <a:pt x="26" y="89"/>
                  <a:pt x="26" y="89"/>
                </a:cubicBezTo>
                <a:cubicBezTo>
                  <a:pt x="25" y="78"/>
                  <a:pt x="26" y="60"/>
                  <a:pt x="30" y="38"/>
                </a:cubicBezTo>
                <a:cubicBezTo>
                  <a:pt x="36" y="7"/>
                  <a:pt x="19" y="1"/>
                  <a:pt x="12" y="0"/>
                </a:cubicBezTo>
              </a:path>
            </a:pathLst>
          </a:custGeom>
          <a:solidFill>
            <a:srgbClr val="427B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04" name="任意多边形: 形状 403">
            <a:extLst>
              <a:ext uri="{FF2B5EF4-FFF2-40B4-BE49-F238E27FC236}">
                <a16:creationId xmlns:a16="http://schemas.microsoft.com/office/drawing/2014/main" id="{25A4B0F3-5588-4E58-91A3-C2598A7E3CD8}"/>
              </a:ext>
            </a:extLst>
          </p:cNvPr>
          <p:cNvSpPr>
            <a:spLocks/>
          </p:cNvSpPr>
          <p:nvPr/>
        </p:nvSpPr>
        <p:spPr bwMode="auto">
          <a:xfrm flipH="1">
            <a:off x="6748519" y="3487206"/>
            <a:ext cx="412750" cy="506413"/>
          </a:xfrm>
          <a:custGeom>
            <a:avLst/>
            <a:gdLst>
              <a:gd name="T0" fmla="*/ 0 w 125"/>
              <a:gd name="T1" fmla="*/ 110 h 154"/>
              <a:gd name="T2" fmla="*/ 52 w 125"/>
              <a:gd name="T3" fmla="*/ 6 h 154"/>
              <a:gd name="T4" fmla="*/ 43 w 125"/>
              <a:gd name="T5" fmla="*/ 99 h 154"/>
              <a:gd name="T6" fmla="*/ 125 w 125"/>
              <a:gd name="T7" fmla="*/ 99 h 154"/>
              <a:gd name="T8" fmla="*/ 92 w 125"/>
              <a:gd name="T9" fmla="*/ 154 h 154"/>
              <a:gd name="T10" fmla="*/ 0 w 125"/>
              <a:gd name="T11" fmla="*/ 110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5" h="154">
                <a:moveTo>
                  <a:pt x="0" y="110"/>
                </a:moveTo>
                <a:cubicBezTo>
                  <a:pt x="0" y="110"/>
                  <a:pt x="30" y="0"/>
                  <a:pt x="52" y="6"/>
                </a:cubicBezTo>
                <a:cubicBezTo>
                  <a:pt x="73" y="12"/>
                  <a:pt x="43" y="99"/>
                  <a:pt x="43" y="99"/>
                </a:cubicBezTo>
                <a:cubicBezTo>
                  <a:pt x="125" y="99"/>
                  <a:pt x="125" y="99"/>
                  <a:pt x="125" y="99"/>
                </a:cubicBezTo>
                <a:cubicBezTo>
                  <a:pt x="125" y="99"/>
                  <a:pt x="109" y="154"/>
                  <a:pt x="92" y="154"/>
                </a:cubicBezTo>
                <a:cubicBezTo>
                  <a:pt x="0" y="110"/>
                  <a:pt x="0" y="110"/>
                  <a:pt x="0" y="110"/>
                </a:cubicBezTo>
              </a:path>
            </a:pathLst>
          </a:custGeom>
          <a:solidFill>
            <a:srgbClr val="FFBEA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05" name="任意多边形: 形状 404">
            <a:extLst>
              <a:ext uri="{FF2B5EF4-FFF2-40B4-BE49-F238E27FC236}">
                <a16:creationId xmlns:a16="http://schemas.microsoft.com/office/drawing/2014/main" id="{FE4FA31F-C8B8-43E3-AE65-4A912E769587}"/>
              </a:ext>
            </a:extLst>
          </p:cNvPr>
          <p:cNvSpPr>
            <a:spLocks/>
          </p:cNvSpPr>
          <p:nvPr/>
        </p:nvSpPr>
        <p:spPr bwMode="auto">
          <a:xfrm flipH="1">
            <a:off x="6818369" y="3955519"/>
            <a:ext cx="1804988" cy="787400"/>
          </a:xfrm>
          <a:custGeom>
            <a:avLst/>
            <a:gdLst>
              <a:gd name="T0" fmla="*/ 525 w 547"/>
              <a:gd name="T1" fmla="*/ 0 h 239"/>
              <a:gd name="T2" fmla="*/ 266 w 547"/>
              <a:gd name="T3" fmla="*/ 210 h 239"/>
              <a:gd name="T4" fmla="*/ 224 w 547"/>
              <a:gd name="T5" fmla="*/ 215 h 239"/>
              <a:gd name="T6" fmla="*/ 0 w 547"/>
              <a:gd name="T7" fmla="*/ 133 h 239"/>
              <a:gd name="T8" fmla="*/ 256 w 547"/>
              <a:gd name="T9" fmla="*/ 239 h 239"/>
              <a:gd name="T10" fmla="*/ 282 w 547"/>
              <a:gd name="T11" fmla="*/ 237 h 239"/>
              <a:gd name="T12" fmla="*/ 547 w 547"/>
              <a:gd name="T13" fmla="*/ 10 h 239"/>
              <a:gd name="T14" fmla="*/ 525 w 547"/>
              <a:gd name="T15" fmla="*/ 0 h 2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47" h="239">
                <a:moveTo>
                  <a:pt x="525" y="0"/>
                </a:moveTo>
                <a:cubicBezTo>
                  <a:pt x="525" y="0"/>
                  <a:pt x="387" y="184"/>
                  <a:pt x="266" y="210"/>
                </a:cubicBezTo>
                <a:cubicBezTo>
                  <a:pt x="252" y="213"/>
                  <a:pt x="238" y="215"/>
                  <a:pt x="224" y="215"/>
                </a:cubicBezTo>
                <a:cubicBezTo>
                  <a:pt x="114" y="215"/>
                  <a:pt x="0" y="133"/>
                  <a:pt x="0" y="133"/>
                </a:cubicBezTo>
                <a:cubicBezTo>
                  <a:pt x="0" y="133"/>
                  <a:pt x="119" y="239"/>
                  <a:pt x="256" y="239"/>
                </a:cubicBezTo>
                <a:cubicBezTo>
                  <a:pt x="265" y="239"/>
                  <a:pt x="274" y="238"/>
                  <a:pt x="282" y="237"/>
                </a:cubicBezTo>
                <a:cubicBezTo>
                  <a:pt x="478" y="218"/>
                  <a:pt x="547" y="10"/>
                  <a:pt x="547" y="10"/>
                </a:cubicBezTo>
                <a:cubicBezTo>
                  <a:pt x="525" y="0"/>
                  <a:pt x="525" y="0"/>
                  <a:pt x="525" y="0"/>
                </a:cubicBezTo>
              </a:path>
            </a:pathLst>
          </a:custGeom>
          <a:solidFill>
            <a:srgbClr val="241A6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06" name="任意多边形: 形状 405">
            <a:extLst>
              <a:ext uri="{FF2B5EF4-FFF2-40B4-BE49-F238E27FC236}">
                <a16:creationId xmlns:a16="http://schemas.microsoft.com/office/drawing/2014/main" id="{2996D326-CD48-46CC-94E1-E4D9A5CDDE65}"/>
              </a:ext>
            </a:extLst>
          </p:cNvPr>
          <p:cNvSpPr>
            <a:spLocks/>
          </p:cNvSpPr>
          <p:nvPr/>
        </p:nvSpPr>
        <p:spPr bwMode="auto">
          <a:xfrm flipH="1">
            <a:off x="9309156" y="1453619"/>
            <a:ext cx="2090738" cy="2082800"/>
          </a:xfrm>
          <a:custGeom>
            <a:avLst/>
            <a:gdLst>
              <a:gd name="T0" fmla="*/ 634 w 634"/>
              <a:gd name="T1" fmla="*/ 524 h 632"/>
              <a:gd name="T2" fmla="*/ 610 w 634"/>
              <a:gd name="T3" fmla="*/ 557 h 632"/>
              <a:gd name="T4" fmla="*/ 558 w 634"/>
              <a:gd name="T5" fmla="*/ 632 h 632"/>
              <a:gd name="T6" fmla="*/ 522 w 634"/>
              <a:gd name="T7" fmla="*/ 585 h 632"/>
              <a:gd name="T8" fmla="*/ 178 w 634"/>
              <a:gd name="T9" fmla="*/ 486 h 632"/>
              <a:gd name="T10" fmla="*/ 0 w 634"/>
              <a:gd name="T11" fmla="*/ 39 h 632"/>
              <a:gd name="T12" fmla="*/ 144 w 634"/>
              <a:gd name="T13" fmla="*/ 0 h 632"/>
              <a:gd name="T14" fmla="*/ 384 w 634"/>
              <a:gd name="T15" fmla="*/ 411 h 632"/>
              <a:gd name="T16" fmla="*/ 634 w 634"/>
              <a:gd name="T17" fmla="*/ 524 h 6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34" h="632">
                <a:moveTo>
                  <a:pt x="634" y="524"/>
                </a:moveTo>
                <a:cubicBezTo>
                  <a:pt x="610" y="557"/>
                  <a:pt x="610" y="557"/>
                  <a:pt x="610" y="557"/>
                </a:cubicBezTo>
                <a:cubicBezTo>
                  <a:pt x="558" y="632"/>
                  <a:pt x="558" y="632"/>
                  <a:pt x="558" y="632"/>
                </a:cubicBezTo>
                <a:cubicBezTo>
                  <a:pt x="554" y="610"/>
                  <a:pt x="541" y="595"/>
                  <a:pt x="522" y="585"/>
                </a:cubicBezTo>
                <a:cubicBezTo>
                  <a:pt x="450" y="547"/>
                  <a:pt x="290" y="568"/>
                  <a:pt x="178" y="486"/>
                </a:cubicBezTo>
                <a:cubicBezTo>
                  <a:pt x="51" y="392"/>
                  <a:pt x="0" y="39"/>
                  <a:pt x="0" y="39"/>
                </a:cubicBezTo>
                <a:cubicBezTo>
                  <a:pt x="144" y="0"/>
                  <a:pt x="144" y="0"/>
                  <a:pt x="144" y="0"/>
                </a:cubicBezTo>
                <a:cubicBezTo>
                  <a:pt x="165" y="186"/>
                  <a:pt x="232" y="379"/>
                  <a:pt x="384" y="411"/>
                </a:cubicBezTo>
                <a:cubicBezTo>
                  <a:pt x="509" y="437"/>
                  <a:pt x="634" y="524"/>
                  <a:pt x="634" y="524"/>
                </a:cubicBezTo>
              </a:path>
            </a:pathLst>
          </a:custGeom>
          <a:solidFill>
            <a:srgbClr val="FF737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07" name="任意多边形: 形状 406">
            <a:extLst>
              <a:ext uri="{FF2B5EF4-FFF2-40B4-BE49-F238E27FC236}">
                <a16:creationId xmlns:a16="http://schemas.microsoft.com/office/drawing/2014/main" id="{F3606FB6-6AB5-4253-9DF5-1DE2E818BD7A}"/>
              </a:ext>
            </a:extLst>
          </p:cNvPr>
          <p:cNvSpPr>
            <a:spLocks noEditPoints="1"/>
          </p:cNvSpPr>
          <p:nvPr/>
        </p:nvSpPr>
        <p:spPr bwMode="auto">
          <a:xfrm flipH="1">
            <a:off x="10898244" y="1625069"/>
            <a:ext cx="488950" cy="61913"/>
          </a:xfrm>
          <a:custGeom>
            <a:avLst/>
            <a:gdLst>
              <a:gd name="T0" fmla="*/ 0 w 148"/>
              <a:gd name="T1" fmla="*/ 11 h 19"/>
              <a:gd name="T2" fmla="*/ 0 w 148"/>
              <a:gd name="T3" fmla="*/ 11 h 19"/>
              <a:gd name="T4" fmla="*/ 2 w 148"/>
              <a:gd name="T5" fmla="*/ 19 h 19"/>
              <a:gd name="T6" fmla="*/ 2 w 148"/>
              <a:gd name="T7" fmla="*/ 19 h 19"/>
              <a:gd name="T8" fmla="*/ 0 w 148"/>
              <a:gd name="T9" fmla="*/ 11 h 19"/>
              <a:gd name="T10" fmla="*/ 147 w 148"/>
              <a:gd name="T11" fmla="*/ 0 h 19"/>
              <a:gd name="T12" fmla="*/ 148 w 148"/>
              <a:gd name="T13" fmla="*/ 8 h 19"/>
              <a:gd name="T14" fmla="*/ 148 w 148"/>
              <a:gd name="T15" fmla="*/ 8 h 19"/>
              <a:gd name="T16" fmla="*/ 147 w 148"/>
              <a:gd name="T17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48" h="19">
                <a:moveTo>
                  <a:pt x="0" y="11"/>
                </a:moveTo>
                <a:cubicBezTo>
                  <a:pt x="0" y="11"/>
                  <a:pt x="0" y="11"/>
                  <a:pt x="0" y="11"/>
                </a:cubicBezTo>
                <a:cubicBezTo>
                  <a:pt x="1" y="14"/>
                  <a:pt x="1" y="16"/>
                  <a:pt x="2" y="19"/>
                </a:cubicBezTo>
                <a:cubicBezTo>
                  <a:pt x="2" y="19"/>
                  <a:pt x="2" y="19"/>
                  <a:pt x="2" y="19"/>
                </a:cubicBezTo>
                <a:cubicBezTo>
                  <a:pt x="1" y="16"/>
                  <a:pt x="1" y="14"/>
                  <a:pt x="0" y="11"/>
                </a:cubicBezTo>
                <a:moveTo>
                  <a:pt x="147" y="0"/>
                </a:moveTo>
                <a:cubicBezTo>
                  <a:pt x="147" y="2"/>
                  <a:pt x="148" y="5"/>
                  <a:pt x="148" y="8"/>
                </a:cubicBezTo>
                <a:cubicBezTo>
                  <a:pt x="148" y="8"/>
                  <a:pt x="148" y="8"/>
                  <a:pt x="148" y="8"/>
                </a:cubicBezTo>
                <a:cubicBezTo>
                  <a:pt x="148" y="5"/>
                  <a:pt x="147" y="2"/>
                  <a:pt x="147" y="0"/>
                </a:cubicBezTo>
              </a:path>
            </a:pathLst>
          </a:custGeom>
          <a:solidFill>
            <a:srgbClr val="9C3F3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08" name="任意多边形: 形状 407">
            <a:extLst>
              <a:ext uri="{FF2B5EF4-FFF2-40B4-BE49-F238E27FC236}">
                <a16:creationId xmlns:a16="http://schemas.microsoft.com/office/drawing/2014/main" id="{FC8CFDF6-7242-4038-AF2B-926EA1180896}"/>
              </a:ext>
            </a:extLst>
          </p:cNvPr>
          <p:cNvSpPr>
            <a:spLocks/>
          </p:cNvSpPr>
          <p:nvPr/>
        </p:nvSpPr>
        <p:spPr bwMode="auto">
          <a:xfrm flipH="1">
            <a:off x="10898244" y="1621894"/>
            <a:ext cx="488950" cy="65088"/>
          </a:xfrm>
          <a:custGeom>
            <a:avLst/>
            <a:gdLst>
              <a:gd name="T0" fmla="*/ 147 w 148"/>
              <a:gd name="T1" fmla="*/ 0 h 20"/>
              <a:gd name="T2" fmla="*/ 0 w 148"/>
              <a:gd name="T3" fmla="*/ 12 h 20"/>
              <a:gd name="T4" fmla="*/ 2 w 148"/>
              <a:gd name="T5" fmla="*/ 20 h 20"/>
              <a:gd name="T6" fmla="*/ 148 w 148"/>
              <a:gd name="T7" fmla="*/ 9 h 20"/>
              <a:gd name="T8" fmla="*/ 147 w 148"/>
              <a:gd name="T9" fmla="*/ 1 h 20"/>
              <a:gd name="T10" fmla="*/ 147 w 148"/>
              <a:gd name="T11" fmla="*/ 0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8" h="20">
                <a:moveTo>
                  <a:pt x="147" y="0"/>
                </a:moveTo>
                <a:cubicBezTo>
                  <a:pt x="98" y="4"/>
                  <a:pt x="49" y="8"/>
                  <a:pt x="0" y="12"/>
                </a:cubicBezTo>
                <a:cubicBezTo>
                  <a:pt x="1" y="15"/>
                  <a:pt x="1" y="17"/>
                  <a:pt x="2" y="20"/>
                </a:cubicBezTo>
                <a:cubicBezTo>
                  <a:pt x="50" y="16"/>
                  <a:pt x="99" y="13"/>
                  <a:pt x="148" y="9"/>
                </a:cubicBezTo>
                <a:cubicBezTo>
                  <a:pt x="148" y="6"/>
                  <a:pt x="147" y="3"/>
                  <a:pt x="147" y="1"/>
                </a:cubicBezTo>
                <a:cubicBezTo>
                  <a:pt x="147" y="1"/>
                  <a:pt x="147" y="1"/>
                  <a:pt x="147" y="0"/>
                </a:cubicBezTo>
              </a:path>
            </a:pathLst>
          </a:custGeom>
          <a:solidFill>
            <a:srgbClr val="FF535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pic>
        <p:nvPicPr>
          <p:cNvPr id="409" name="图片 408">
            <a:extLst>
              <a:ext uri="{FF2B5EF4-FFF2-40B4-BE49-F238E27FC236}">
                <a16:creationId xmlns:a16="http://schemas.microsoft.com/office/drawing/2014/main" id="{146822D4-D91B-40EB-921D-F082D5E34D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77000"/>
          </a:blip>
          <a:srcRect l="64189"/>
          <a:stretch>
            <a:fillRect/>
          </a:stretch>
        </p:blipFill>
        <p:spPr>
          <a:xfrm rot="16200000" flipH="1" flipV="1">
            <a:off x="8883237" y="3128235"/>
            <a:ext cx="373333" cy="4839621"/>
          </a:xfrm>
          <a:prstGeom prst="rect">
            <a:avLst/>
          </a:prstGeom>
          <a:effectLst>
            <a:outerShdw blurRad="12700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410" name="任意多边形: 形状 409">
            <a:extLst>
              <a:ext uri="{FF2B5EF4-FFF2-40B4-BE49-F238E27FC236}">
                <a16:creationId xmlns:a16="http://schemas.microsoft.com/office/drawing/2014/main" id="{C7ECE999-9715-4F23-9288-C6AD58766FA1}"/>
              </a:ext>
            </a:extLst>
          </p:cNvPr>
          <p:cNvSpPr>
            <a:spLocks/>
          </p:cNvSpPr>
          <p:nvPr/>
        </p:nvSpPr>
        <p:spPr bwMode="auto">
          <a:xfrm flipH="1">
            <a:off x="9272644" y="5747806"/>
            <a:ext cx="969963" cy="738188"/>
          </a:xfrm>
          <a:custGeom>
            <a:avLst/>
            <a:gdLst>
              <a:gd name="T0" fmla="*/ 294 w 294"/>
              <a:gd name="T1" fmla="*/ 99 h 224"/>
              <a:gd name="T2" fmla="*/ 223 w 294"/>
              <a:gd name="T3" fmla="*/ 148 h 224"/>
              <a:gd name="T4" fmla="*/ 88 w 294"/>
              <a:gd name="T5" fmla="*/ 209 h 224"/>
              <a:gd name="T6" fmla="*/ 0 w 294"/>
              <a:gd name="T7" fmla="*/ 166 h 224"/>
              <a:gd name="T8" fmla="*/ 0 w 294"/>
              <a:gd name="T9" fmla="*/ 166 h 224"/>
              <a:gd name="T10" fmla="*/ 0 w 294"/>
              <a:gd name="T11" fmla="*/ 165 h 224"/>
              <a:gd name="T12" fmla="*/ 111 w 294"/>
              <a:gd name="T13" fmla="*/ 0 h 224"/>
              <a:gd name="T14" fmla="*/ 144 w 294"/>
              <a:gd name="T15" fmla="*/ 5 h 224"/>
              <a:gd name="T16" fmla="*/ 208 w 294"/>
              <a:gd name="T17" fmla="*/ 19 h 224"/>
              <a:gd name="T18" fmla="*/ 294 w 294"/>
              <a:gd name="T19" fmla="*/ 99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94" h="224">
                <a:moveTo>
                  <a:pt x="294" y="99"/>
                </a:moveTo>
                <a:cubicBezTo>
                  <a:pt x="294" y="99"/>
                  <a:pt x="245" y="90"/>
                  <a:pt x="223" y="148"/>
                </a:cubicBezTo>
                <a:cubicBezTo>
                  <a:pt x="202" y="206"/>
                  <a:pt x="135" y="224"/>
                  <a:pt x="88" y="209"/>
                </a:cubicBezTo>
                <a:cubicBezTo>
                  <a:pt x="41" y="195"/>
                  <a:pt x="0" y="166"/>
                  <a:pt x="0" y="166"/>
                </a:cubicBezTo>
                <a:cubicBezTo>
                  <a:pt x="0" y="166"/>
                  <a:pt x="0" y="166"/>
                  <a:pt x="0" y="166"/>
                </a:cubicBezTo>
                <a:cubicBezTo>
                  <a:pt x="0" y="165"/>
                  <a:pt x="0" y="165"/>
                  <a:pt x="0" y="165"/>
                </a:cubicBezTo>
                <a:cubicBezTo>
                  <a:pt x="3" y="161"/>
                  <a:pt x="111" y="22"/>
                  <a:pt x="111" y="0"/>
                </a:cubicBezTo>
                <a:cubicBezTo>
                  <a:pt x="111" y="0"/>
                  <a:pt x="122" y="1"/>
                  <a:pt x="144" y="5"/>
                </a:cubicBezTo>
                <a:cubicBezTo>
                  <a:pt x="160" y="8"/>
                  <a:pt x="182" y="12"/>
                  <a:pt x="208" y="19"/>
                </a:cubicBezTo>
                <a:cubicBezTo>
                  <a:pt x="272" y="37"/>
                  <a:pt x="294" y="99"/>
                  <a:pt x="294" y="99"/>
                </a:cubicBezTo>
              </a:path>
            </a:pathLst>
          </a:custGeom>
          <a:solidFill>
            <a:srgbClr val="C7DBF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11" name="任意多边形: 形状 410">
            <a:extLst>
              <a:ext uri="{FF2B5EF4-FFF2-40B4-BE49-F238E27FC236}">
                <a16:creationId xmlns:a16="http://schemas.microsoft.com/office/drawing/2014/main" id="{D7871FC9-83BC-498E-A864-BA9BBDAB948A}"/>
              </a:ext>
            </a:extLst>
          </p:cNvPr>
          <p:cNvSpPr>
            <a:spLocks noEditPoints="1"/>
          </p:cNvSpPr>
          <p:nvPr/>
        </p:nvSpPr>
        <p:spPr bwMode="auto">
          <a:xfrm flipH="1">
            <a:off x="7112057" y="1410756"/>
            <a:ext cx="4165600" cy="3935413"/>
          </a:xfrm>
          <a:custGeom>
            <a:avLst/>
            <a:gdLst>
              <a:gd name="T0" fmla="*/ 805 w 1263"/>
              <a:gd name="T1" fmla="*/ 905 h 1194"/>
              <a:gd name="T2" fmla="*/ 806 w 1263"/>
              <a:gd name="T3" fmla="*/ 908 h 1194"/>
              <a:gd name="T4" fmla="*/ 821 w 1263"/>
              <a:gd name="T5" fmla="*/ 1031 h 1194"/>
              <a:gd name="T6" fmla="*/ 832 w 1263"/>
              <a:gd name="T7" fmla="*/ 1194 h 1194"/>
              <a:gd name="T8" fmla="*/ 1135 w 1263"/>
              <a:gd name="T9" fmla="*/ 1194 h 1194"/>
              <a:gd name="T10" fmla="*/ 1263 w 1263"/>
              <a:gd name="T11" fmla="*/ 923 h 1194"/>
              <a:gd name="T12" fmla="*/ 1087 w 1263"/>
              <a:gd name="T13" fmla="*/ 1009 h 1194"/>
              <a:gd name="T14" fmla="*/ 1061 w 1263"/>
              <a:gd name="T15" fmla="*/ 1011 h 1194"/>
              <a:gd name="T16" fmla="*/ 805 w 1263"/>
              <a:gd name="T17" fmla="*/ 905 h 1194"/>
              <a:gd name="T18" fmla="*/ 124 w 1263"/>
              <a:gd name="T19" fmla="*/ 484 h 1194"/>
              <a:gd name="T20" fmla="*/ 59 w 1263"/>
              <a:gd name="T21" fmla="*/ 561 h 1194"/>
              <a:gd name="T22" fmla="*/ 0 w 1263"/>
              <a:gd name="T23" fmla="*/ 738 h 1194"/>
              <a:gd name="T24" fmla="*/ 238 w 1263"/>
              <a:gd name="T25" fmla="*/ 1139 h 1194"/>
              <a:gd name="T26" fmla="*/ 336 w 1263"/>
              <a:gd name="T27" fmla="*/ 777 h 1194"/>
              <a:gd name="T28" fmla="*/ 500 w 1263"/>
              <a:gd name="T29" fmla="*/ 636 h 1194"/>
              <a:gd name="T30" fmla="*/ 500 w 1263"/>
              <a:gd name="T31" fmla="*/ 632 h 1194"/>
              <a:gd name="T32" fmla="*/ 489 w 1263"/>
              <a:gd name="T33" fmla="*/ 600 h 1194"/>
              <a:gd name="T34" fmla="*/ 485 w 1263"/>
              <a:gd name="T35" fmla="*/ 598 h 1194"/>
              <a:gd name="T36" fmla="*/ 369 w 1263"/>
              <a:gd name="T37" fmla="*/ 571 h 1194"/>
              <a:gd name="T38" fmla="*/ 369 w 1263"/>
              <a:gd name="T39" fmla="*/ 571 h 1194"/>
              <a:gd name="T40" fmla="*/ 361 w 1263"/>
              <a:gd name="T41" fmla="*/ 570 h 1194"/>
              <a:gd name="T42" fmla="*/ 361 w 1263"/>
              <a:gd name="T43" fmla="*/ 570 h 1194"/>
              <a:gd name="T44" fmla="*/ 142 w 1263"/>
              <a:gd name="T45" fmla="*/ 500 h 1194"/>
              <a:gd name="T46" fmla="*/ 141 w 1263"/>
              <a:gd name="T47" fmla="*/ 499 h 1194"/>
              <a:gd name="T48" fmla="*/ 140 w 1263"/>
              <a:gd name="T49" fmla="*/ 498 h 1194"/>
              <a:gd name="T50" fmla="*/ 124 w 1263"/>
              <a:gd name="T51" fmla="*/ 484 h 1194"/>
              <a:gd name="T52" fmla="*/ 381 w 1263"/>
              <a:gd name="T53" fmla="*/ 388 h 1194"/>
              <a:gd name="T54" fmla="*/ 281 w 1263"/>
              <a:gd name="T55" fmla="*/ 397 h 1194"/>
              <a:gd name="T56" fmla="*/ 347 w 1263"/>
              <a:gd name="T57" fmla="*/ 424 h 1194"/>
              <a:gd name="T58" fmla="*/ 450 w 1263"/>
              <a:gd name="T59" fmla="*/ 457 h 1194"/>
              <a:gd name="T60" fmla="*/ 416 w 1263"/>
              <a:gd name="T61" fmla="*/ 388 h 1194"/>
              <a:gd name="T62" fmla="*/ 413 w 1263"/>
              <a:gd name="T63" fmla="*/ 388 h 1194"/>
              <a:gd name="T64" fmla="*/ 381 w 1263"/>
              <a:gd name="T65" fmla="*/ 388 h 1194"/>
              <a:gd name="T66" fmla="*/ 857 w 1263"/>
              <a:gd name="T67" fmla="*/ 0 h 1194"/>
              <a:gd name="T68" fmla="*/ 857 w 1263"/>
              <a:gd name="T69" fmla="*/ 0 h 1194"/>
              <a:gd name="T70" fmla="*/ 736 w 1263"/>
              <a:gd name="T71" fmla="*/ 62 h 1194"/>
              <a:gd name="T72" fmla="*/ 742 w 1263"/>
              <a:gd name="T73" fmla="*/ 65 h 1194"/>
              <a:gd name="T74" fmla="*/ 794 w 1263"/>
              <a:gd name="T75" fmla="*/ 97 h 1194"/>
              <a:gd name="T76" fmla="*/ 870 w 1263"/>
              <a:gd name="T77" fmla="*/ 152 h 1194"/>
              <a:gd name="T78" fmla="*/ 810 w 1263"/>
              <a:gd name="T79" fmla="*/ 185 h 1194"/>
              <a:gd name="T80" fmla="*/ 876 w 1263"/>
              <a:gd name="T81" fmla="*/ 213 h 1194"/>
              <a:gd name="T82" fmla="*/ 779 w 1263"/>
              <a:gd name="T83" fmla="*/ 235 h 1194"/>
              <a:gd name="T84" fmla="*/ 785 w 1263"/>
              <a:gd name="T85" fmla="*/ 309 h 1194"/>
              <a:gd name="T86" fmla="*/ 805 w 1263"/>
              <a:gd name="T87" fmla="*/ 342 h 1194"/>
              <a:gd name="T88" fmla="*/ 804 w 1263"/>
              <a:gd name="T89" fmla="*/ 348 h 1194"/>
              <a:gd name="T90" fmla="*/ 772 w 1263"/>
              <a:gd name="T91" fmla="*/ 379 h 1194"/>
              <a:gd name="T92" fmla="*/ 771 w 1263"/>
              <a:gd name="T93" fmla="*/ 379 h 1194"/>
              <a:gd name="T94" fmla="*/ 762 w 1263"/>
              <a:gd name="T95" fmla="*/ 377 h 1194"/>
              <a:gd name="T96" fmla="*/ 703 w 1263"/>
              <a:gd name="T97" fmla="*/ 482 h 1194"/>
              <a:gd name="T98" fmla="*/ 625 w 1263"/>
              <a:gd name="T99" fmla="*/ 531 h 1194"/>
              <a:gd name="T100" fmla="*/ 625 w 1263"/>
              <a:gd name="T101" fmla="*/ 531 h 1194"/>
              <a:gd name="T102" fmla="*/ 617 w 1263"/>
              <a:gd name="T103" fmla="*/ 558 h 1194"/>
              <a:gd name="T104" fmla="*/ 655 w 1263"/>
              <a:gd name="T105" fmla="*/ 540 h 1194"/>
              <a:gd name="T106" fmla="*/ 669 w 1263"/>
              <a:gd name="T107" fmla="*/ 548 h 1194"/>
              <a:gd name="T108" fmla="*/ 691 w 1263"/>
              <a:gd name="T109" fmla="*/ 628 h 1194"/>
              <a:gd name="T110" fmla="*/ 1055 w 1263"/>
              <a:gd name="T111" fmla="*/ 851 h 1194"/>
              <a:gd name="T112" fmla="*/ 1083 w 1263"/>
              <a:gd name="T113" fmla="*/ 856 h 1194"/>
              <a:gd name="T114" fmla="*/ 1233 w 1263"/>
              <a:gd name="T115" fmla="*/ 725 h 1194"/>
              <a:gd name="T116" fmla="*/ 1250 w 1263"/>
              <a:gd name="T117" fmla="*/ 734 h 1194"/>
              <a:gd name="T118" fmla="*/ 1252 w 1263"/>
              <a:gd name="T119" fmla="*/ 725 h 1194"/>
              <a:gd name="T120" fmla="*/ 971 w 1263"/>
              <a:gd name="T121" fmla="*/ 402 h 1194"/>
              <a:gd name="T122" fmla="*/ 857 w 1263"/>
              <a:gd name="T123" fmla="*/ 0 h 1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263" h="1194">
                <a:moveTo>
                  <a:pt x="805" y="905"/>
                </a:moveTo>
                <a:cubicBezTo>
                  <a:pt x="806" y="908"/>
                  <a:pt x="806" y="908"/>
                  <a:pt x="806" y="908"/>
                </a:cubicBezTo>
                <a:cubicBezTo>
                  <a:pt x="810" y="922"/>
                  <a:pt x="826" y="974"/>
                  <a:pt x="821" y="1031"/>
                </a:cubicBezTo>
                <a:cubicBezTo>
                  <a:pt x="817" y="1081"/>
                  <a:pt x="852" y="1145"/>
                  <a:pt x="832" y="1194"/>
                </a:cubicBezTo>
                <a:cubicBezTo>
                  <a:pt x="1135" y="1194"/>
                  <a:pt x="1135" y="1194"/>
                  <a:pt x="1135" y="1194"/>
                </a:cubicBezTo>
                <a:cubicBezTo>
                  <a:pt x="1149" y="1168"/>
                  <a:pt x="1206" y="1062"/>
                  <a:pt x="1263" y="923"/>
                </a:cubicBezTo>
                <a:cubicBezTo>
                  <a:pt x="1221" y="965"/>
                  <a:pt x="1164" y="1002"/>
                  <a:pt x="1087" y="1009"/>
                </a:cubicBezTo>
                <a:cubicBezTo>
                  <a:pt x="1079" y="1010"/>
                  <a:pt x="1070" y="1011"/>
                  <a:pt x="1061" y="1011"/>
                </a:cubicBezTo>
                <a:cubicBezTo>
                  <a:pt x="924" y="1011"/>
                  <a:pt x="805" y="905"/>
                  <a:pt x="805" y="905"/>
                </a:cubicBezTo>
                <a:moveTo>
                  <a:pt x="124" y="484"/>
                </a:moveTo>
                <a:cubicBezTo>
                  <a:pt x="102" y="505"/>
                  <a:pt x="81" y="530"/>
                  <a:pt x="59" y="561"/>
                </a:cubicBezTo>
                <a:cubicBezTo>
                  <a:pt x="17" y="620"/>
                  <a:pt x="0" y="680"/>
                  <a:pt x="0" y="738"/>
                </a:cubicBezTo>
                <a:cubicBezTo>
                  <a:pt x="0" y="907"/>
                  <a:pt x="145" y="1058"/>
                  <a:pt x="238" y="1139"/>
                </a:cubicBezTo>
                <a:cubicBezTo>
                  <a:pt x="214" y="997"/>
                  <a:pt x="268" y="867"/>
                  <a:pt x="336" y="777"/>
                </a:cubicBezTo>
                <a:cubicBezTo>
                  <a:pt x="394" y="701"/>
                  <a:pt x="463" y="656"/>
                  <a:pt x="500" y="636"/>
                </a:cubicBezTo>
                <a:cubicBezTo>
                  <a:pt x="500" y="634"/>
                  <a:pt x="500" y="633"/>
                  <a:pt x="500" y="632"/>
                </a:cubicBezTo>
                <a:cubicBezTo>
                  <a:pt x="499" y="630"/>
                  <a:pt x="489" y="620"/>
                  <a:pt x="489" y="600"/>
                </a:cubicBezTo>
                <a:cubicBezTo>
                  <a:pt x="488" y="600"/>
                  <a:pt x="486" y="599"/>
                  <a:pt x="485" y="598"/>
                </a:cubicBezTo>
                <a:cubicBezTo>
                  <a:pt x="457" y="583"/>
                  <a:pt x="416" y="577"/>
                  <a:pt x="369" y="571"/>
                </a:cubicBezTo>
                <a:cubicBezTo>
                  <a:pt x="369" y="571"/>
                  <a:pt x="369" y="571"/>
                  <a:pt x="369" y="571"/>
                </a:cubicBezTo>
                <a:cubicBezTo>
                  <a:pt x="366" y="570"/>
                  <a:pt x="364" y="570"/>
                  <a:pt x="361" y="570"/>
                </a:cubicBezTo>
                <a:cubicBezTo>
                  <a:pt x="361" y="570"/>
                  <a:pt x="361" y="570"/>
                  <a:pt x="361" y="570"/>
                </a:cubicBezTo>
                <a:cubicBezTo>
                  <a:pt x="290" y="560"/>
                  <a:pt x="207" y="547"/>
                  <a:pt x="142" y="500"/>
                </a:cubicBezTo>
                <a:cubicBezTo>
                  <a:pt x="141" y="499"/>
                  <a:pt x="141" y="499"/>
                  <a:pt x="141" y="499"/>
                </a:cubicBezTo>
                <a:cubicBezTo>
                  <a:pt x="140" y="499"/>
                  <a:pt x="140" y="498"/>
                  <a:pt x="140" y="498"/>
                </a:cubicBezTo>
                <a:cubicBezTo>
                  <a:pt x="134" y="494"/>
                  <a:pt x="129" y="489"/>
                  <a:pt x="124" y="484"/>
                </a:cubicBezTo>
                <a:moveTo>
                  <a:pt x="381" y="388"/>
                </a:moveTo>
                <a:cubicBezTo>
                  <a:pt x="349" y="388"/>
                  <a:pt x="315" y="390"/>
                  <a:pt x="281" y="397"/>
                </a:cubicBezTo>
                <a:cubicBezTo>
                  <a:pt x="301" y="410"/>
                  <a:pt x="323" y="419"/>
                  <a:pt x="347" y="424"/>
                </a:cubicBezTo>
                <a:cubicBezTo>
                  <a:pt x="382" y="431"/>
                  <a:pt x="417" y="444"/>
                  <a:pt x="450" y="457"/>
                </a:cubicBezTo>
                <a:cubicBezTo>
                  <a:pt x="436" y="437"/>
                  <a:pt x="424" y="414"/>
                  <a:pt x="416" y="388"/>
                </a:cubicBezTo>
                <a:cubicBezTo>
                  <a:pt x="415" y="388"/>
                  <a:pt x="414" y="388"/>
                  <a:pt x="413" y="388"/>
                </a:cubicBezTo>
                <a:cubicBezTo>
                  <a:pt x="403" y="388"/>
                  <a:pt x="392" y="388"/>
                  <a:pt x="381" y="388"/>
                </a:cubicBezTo>
                <a:moveTo>
                  <a:pt x="857" y="0"/>
                </a:moveTo>
                <a:cubicBezTo>
                  <a:pt x="857" y="0"/>
                  <a:pt x="857" y="0"/>
                  <a:pt x="857" y="0"/>
                </a:cubicBezTo>
                <a:cubicBezTo>
                  <a:pt x="810" y="14"/>
                  <a:pt x="770" y="36"/>
                  <a:pt x="736" y="62"/>
                </a:cubicBezTo>
                <a:cubicBezTo>
                  <a:pt x="738" y="63"/>
                  <a:pt x="740" y="64"/>
                  <a:pt x="742" y="65"/>
                </a:cubicBezTo>
                <a:cubicBezTo>
                  <a:pt x="761" y="76"/>
                  <a:pt x="778" y="87"/>
                  <a:pt x="794" y="97"/>
                </a:cubicBezTo>
                <a:cubicBezTo>
                  <a:pt x="839" y="127"/>
                  <a:pt x="870" y="152"/>
                  <a:pt x="870" y="152"/>
                </a:cubicBezTo>
                <a:cubicBezTo>
                  <a:pt x="865" y="179"/>
                  <a:pt x="810" y="185"/>
                  <a:pt x="810" y="185"/>
                </a:cubicBezTo>
                <a:cubicBezTo>
                  <a:pt x="821" y="200"/>
                  <a:pt x="876" y="213"/>
                  <a:pt x="876" y="213"/>
                </a:cubicBezTo>
                <a:cubicBezTo>
                  <a:pt x="846" y="225"/>
                  <a:pt x="813" y="232"/>
                  <a:pt x="779" y="235"/>
                </a:cubicBezTo>
                <a:cubicBezTo>
                  <a:pt x="785" y="266"/>
                  <a:pt x="786" y="290"/>
                  <a:pt x="785" y="309"/>
                </a:cubicBezTo>
                <a:cubicBezTo>
                  <a:pt x="796" y="315"/>
                  <a:pt x="805" y="327"/>
                  <a:pt x="805" y="342"/>
                </a:cubicBezTo>
                <a:cubicBezTo>
                  <a:pt x="805" y="344"/>
                  <a:pt x="805" y="346"/>
                  <a:pt x="804" y="348"/>
                </a:cubicBezTo>
                <a:cubicBezTo>
                  <a:pt x="802" y="365"/>
                  <a:pt x="788" y="378"/>
                  <a:pt x="772" y="379"/>
                </a:cubicBezTo>
                <a:cubicBezTo>
                  <a:pt x="771" y="379"/>
                  <a:pt x="771" y="379"/>
                  <a:pt x="771" y="379"/>
                </a:cubicBezTo>
                <a:cubicBezTo>
                  <a:pt x="768" y="379"/>
                  <a:pt x="764" y="378"/>
                  <a:pt x="762" y="377"/>
                </a:cubicBezTo>
                <a:cubicBezTo>
                  <a:pt x="750" y="419"/>
                  <a:pt x="729" y="455"/>
                  <a:pt x="703" y="482"/>
                </a:cubicBezTo>
                <a:cubicBezTo>
                  <a:pt x="681" y="506"/>
                  <a:pt x="654" y="523"/>
                  <a:pt x="625" y="531"/>
                </a:cubicBezTo>
                <a:cubicBezTo>
                  <a:pt x="625" y="531"/>
                  <a:pt x="625" y="531"/>
                  <a:pt x="625" y="531"/>
                </a:cubicBezTo>
                <a:cubicBezTo>
                  <a:pt x="621" y="539"/>
                  <a:pt x="619" y="548"/>
                  <a:pt x="617" y="558"/>
                </a:cubicBezTo>
                <a:cubicBezTo>
                  <a:pt x="632" y="550"/>
                  <a:pt x="645" y="540"/>
                  <a:pt x="655" y="540"/>
                </a:cubicBezTo>
                <a:cubicBezTo>
                  <a:pt x="660" y="540"/>
                  <a:pt x="665" y="542"/>
                  <a:pt x="669" y="548"/>
                </a:cubicBezTo>
                <a:cubicBezTo>
                  <a:pt x="683" y="566"/>
                  <a:pt x="714" y="603"/>
                  <a:pt x="691" y="628"/>
                </a:cubicBezTo>
                <a:cubicBezTo>
                  <a:pt x="844" y="658"/>
                  <a:pt x="962" y="823"/>
                  <a:pt x="1055" y="851"/>
                </a:cubicBezTo>
                <a:cubicBezTo>
                  <a:pt x="1064" y="854"/>
                  <a:pt x="1074" y="856"/>
                  <a:pt x="1083" y="856"/>
                </a:cubicBezTo>
                <a:cubicBezTo>
                  <a:pt x="1173" y="856"/>
                  <a:pt x="1233" y="725"/>
                  <a:pt x="1233" y="725"/>
                </a:cubicBezTo>
                <a:cubicBezTo>
                  <a:pt x="1250" y="734"/>
                  <a:pt x="1250" y="734"/>
                  <a:pt x="1250" y="734"/>
                </a:cubicBezTo>
                <a:cubicBezTo>
                  <a:pt x="1250" y="731"/>
                  <a:pt x="1251" y="728"/>
                  <a:pt x="1252" y="725"/>
                </a:cubicBezTo>
                <a:cubicBezTo>
                  <a:pt x="1085" y="686"/>
                  <a:pt x="939" y="564"/>
                  <a:pt x="971" y="402"/>
                </a:cubicBezTo>
                <a:cubicBezTo>
                  <a:pt x="1006" y="227"/>
                  <a:pt x="908" y="68"/>
                  <a:pt x="857" y="0"/>
                </a:cubicBezTo>
              </a:path>
            </a:pathLst>
          </a:custGeom>
          <a:solidFill>
            <a:srgbClr val="B8CCF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12" name="椭圆 411">
            <a:extLst>
              <a:ext uri="{FF2B5EF4-FFF2-40B4-BE49-F238E27FC236}">
                <a16:creationId xmlns:a16="http://schemas.microsoft.com/office/drawing/2014/main" id="{03E83F0D-E9E7-4025-AC73-B72E865D2C37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10252132" y="1793344"/>
            <a:ext cx="517525" cy="407988"/>
          </a:xfrm>
          <a:prstGeom prst="ellipse">
            <a:avLst/>
          </a:prstGeom>
          <a:solidFill>
            <a:srgbClr val="C7DBF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13" name="椭圆 412">
            <a:extLst>
              <a:ext uri="{FF2B5EF4-FFF2-40B4-BE49-F238E27FC236}">
                <a16:creationId xmlns:a16="http://schemas.microsoft.com/office/drawing/2014/main" id="{22634806-7D00-4E06-B22E-9F7664E197A2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8678919" y="1153581"/>
            <a:ext cx="266700" cy="207963"/>
          </a:xfrm>
          <a:prstGeom prst="ellipse">
            <a:avLst/>
          </a:prstGeom>
          <a:solidFill>
            <a:srgbClr val="C7DBF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14" name="任意多边形: 形状 413">
            <a:extLst>
              <a:ext uri="{FF2B5EF4-FFF2-40B4-BE49-F238E27FC236}">
                <a16:creationId xmlns:a16="http://schemas.microsoft.com/office/drawing/2014/main" id="{2C9BC0C7-172D-4E59-A9A7-B14E69562A65}"/>
              </a:ext>
            </a:extLst>
          </p:cNvPr>
          <p:cNvSpPr>
            <a:spLocks/>
          </p:cNvSpPr>
          <p:nvPr/>
        </p:nvSpPr>
        <p:spPr bwMode="auto">
          <a:xfrm flipH="1">
            <a:off x="9767944" y="5747806"/>
            <a:ext cx="474663" cy="546100"/>
          </a:xfrm>
          <a:custGeom>
            <a:avLst/>
            <a:gdLst>
              <a:gd name="T0" fmla="*/ 111 w 144"/>
              <a:gd name="T1" fmla="*/ 0 h 166"/>
              <a:gd name="T2" fmla="*/ 0 w 144"/>
              <a:gd name="T3" fmla="*/ 165 h 166"/>
              <a:gd name="T4" fmla="*/ 0 w 144"/>
              <a:gd name="T5" fmla="*/ 166 h 166"/>
              <a:gd name="T6" fmla="*/ 0 w 144"/>
              <a:gd name="T7" fmla="*/ 166 h 166"/>
              <a:gd name="T8" fmla="*/ 0 w 144"/>
              <a:gd name="T9" fmla="*/ 165 h 166"/>
              <a:gd name="T10" fmla="*/ 111 w 144"/>
              <a:gd name="T11" fmla="*/ 0 h 166"/>
              <a:gd name="T12" fmla="*/ 144 w 144"/>
              <a:gd name="T13" fmla="*/ 5 h 166"/>
              <a:gd name="T14" fmla="*/ 144 w 144"/>
              <a:gd name="T15" fmla="*/ 5 h 166"/>
              <a:gd name="T16" fmla="*/ 144 w 144"/>
              <a:gd name="T17" fmla="*/ 5 h 166"/>
              <a:gd name="T18" fmla="*/ 111 w 144"/>
              <a:gd name="T19" fmla="*/ 0 h 1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44" h="166">
                <a:moveTo>
                  <a:pt x="111" y="0"/>
                </a:moveTo>
                <a:cubicBezTo>
                  <a:pt x="111" y="22"/>
                  <a:pt x="3" y="161"/>
                  <a:pt x="0" y="165"/>
                </a:cubicBezTo>
                <a:cubicBezTo>
                  <a:pt x="0" y="166"/>
                  <a:pt x="0" y="166"/>
                  <a:pt x="0" y="166"/>
                </a:cubicBezTo>
                <a:cubicBezTo>
                  <a:pt x="0" y="166"/>
                  <a:pt x="0" y="166"/>
                  <a:pt x="0" y="166"/>
                </a:cubicBezTo>
                <a:cubicBezTo>
                  <a:pt x="0" y="165"/>
                  <a:pt x="0" y="165"/>
                  <a:pt x="0" y="165"/>
                </a:cubicBezTo>
                <a:cubicBezTo>
                  <a:pt x="3" y="161"/>
                  <a:pt x="111" y="22"/>
                  <a:pt x="111" y="0"/>
                </a:cubicBezTo>
                <a:cubicBezTo>
                  <a:pt x="111" y="0"/>
                  <a:pt x="122" y="1"/>
                  <a:pt x="144" y="5"/>
                </a:cubicBezTo>
                <a:cubicBezTo>
                  <a:pt x="144" y="5"/>
                  <a:pt x="144" y="5"/>
                  <a:pt x="144" y="5"/>
                </a:cubicBezTo>
                <a:cubicBezTo>
                  <a:pt x="144" y="5"/>
                  <a:pt x="144" y="5"/>
                  <a:pt x="144" y="5"/>
                </a:cubicBezTo>
                <a:cubicBezTo>
                  <a:pt x="122" y="1"/>
                  <a:pt x="111" y="0"/>
                  <a:pt x="111" y="0"/>
                </a:cubicBezTo>
              </a:path>
            </a:pathLst>
          </a:custGeom>
          <a:solidFill>
            <a:srgbClr val="4327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15" name="任意多边形: 形状 414">
            <a:extLst>
              <a:ext uri="{FF2B5EF4-FFF2-40B4-BE49-F238E27FC236}">
                <a16:creationId xmlns:a16="http://schemas.microsoft.com/office/drawing/2014/main" id="{1DFACABF-DBE4-450D-923F-B3890CBEE49A}"/>
              </a:ext>
            </a:extLst>
          </p:cNvPr>
          <p:cNvSpPr>
            <a:spLocks/>
          </p:cNvSpPr>
          <p:nvPr/>
        </p:nvSpPr>
        <p:spPr bwMode="auto">
          <a:xfrm flipH="1">
            <a:off x="9645707" y="5747806"/>
            <a:ext cx="596900" cy="546100"/>
          </a:xfrm>
          <a:custGeom>
            <a:avLst/>
            <a:gdLst>
              <a:gd name="T0" fmla="*/ 111 w 181"/>
              <a:gd name="T1" fmla="*/ 0 h 166"/>
              <a:gd name="T2" fmla="*/ 0 w 181"/>
              <a:gd name="T3" fmla="*/ 165 h 166"/>
              <a:gd name="T4" fmla="*/ 0 w 181"/>
              <a:gd name="T5" fmla="*/ 166 h 166"/>
              <a:gd name="T6" fmla="*/ 82 w 181"/>
              <a:gd name="T7" fmla="*/ 152 h 166"/>
              <a:gd name="T8" fmla="*/ 102 w 181"/>
              <a:gd name="T9" fmla="*/ 153 h 166"/>
              <a:gd name="T10" fmla="*/ 110 w 181"/>
              <a:gd name="T11" fmla="*/ 153 h 166"/>
              <a:gd name="T12" fmla="*/ 147 w 181"/>
              <a:gd name="T13" fmla="*/ 97 h 166"/>
              <a:gd name="T14" fmla="*/ 167 w 181"/>
              <a:gd name="T15" fmla="*/ 50 h 166"/>
              <a:gd name="T16" fmla="*/ 147 w 181"/>
              <a:gd name="T17" fmla="*/ 15 h 166"/>
              <a:gd name="T18" fmla="*/ 144 w 181"/>
              <a:gd name="T19" fmla="*/ 5 h 166"/>
              <a:gd name="T20" fmla="*/ 144 w 181"/>
              <a:gd name="T21" fmla="*/ 5 h 166"/>
              <a:gd name="T22" fmla="*/ 111 w 181"/>
              <a:gd name="T23" fmla="*/ 0 h 1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81" h="166">
                <a:moveTo>
                  <a:pt x="111" y="0"/>
                </a:moveTo>
                <a:cubicBezTo>
                  <a:pt x="111" y="22"/>
                  <a:pt x="3" y="161"/>
                  <a:pt x="0" y="165"/>
                </a:cubicBezTo>
                <a:cubicBezTo>
                  <a:pt x="0" y="166"/>
                  <a:pt x="0" y="166"/>
                  <a:pt x="0" y="166"/>
                </a:cubicBezTo>
                <a:cubicBezTo>
                  <a:pt x="2" y="165"/>
                  <a:pt x="33" y="152"/>
                  <a:pt x="82" y="152"/>
                </a:cubicBezTo>
                <a:cubicBezTo>
                  <a:pt x="88" y="152"/>
                  <a:pt x="95" y="152"/>
                  <a:pt x="102" y="153"/>
                </a:cubicBezTo>
                <a:cubicBezTo>
                  <a:pt x="105" y="153"/>
                  <a:pt x="108" y="153"/>
                  <a:pt x="110" y="153"/>
                </a:cubicBezTo>
                <a:cubicBezTo>
                  <a:pt x="162" y="153"/>
                  <a:pt x="148" y="114"/>
                  <a:pt x="147" y="97"/>
                </a:cubicBezTo>
                <a:cubicBezTo>
                  <a:pt x="147" y="80"/>
                  <a:pt x="152" y="71"/>
                  <a:pt x="167" y="50"/>
                </a:cubicBezTo>
                <a:cubicBezTo>
                  <a:pt x="181" y="30"/>
                  <a:pt x="147" y="15"/>
                  <a:pt x="147" y="15"/>
                </a:cubicBezTo>
                <a:cubicBezTo>
                  <a:pt x="146" y="11"/>
                  <a:pt x="145" y="8"/>
                  <a:pt x="144" y="5"/>
                </a:cubicBezTo>
                <a:cubicBezTo>
                  <a:pt x="144" y="5"/>
                  <a:pt x="144" y="5"/>
                  <a:pt x="144" y="5"/>
                </a:cubicBezTo>
                <a:cubicBezTo>
                  <a:pt x="122" y="1"/>
                  <a:pt x="111" y="0"/>
                  <a:pt x="111" y="0"/>
                </a:cubicBezTo>
              </a:path>
            </a:pathLst>
          </a:custGeom>
          <a:solidFill>
            <a:srgbClr val="B2C5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16" name="任意多边形: 形状 415">
            <a:extLst>
              <a:ext uri="{FF2B5EF4-FFF2-40B4-BE49-F238E27FC236}">
                <a16:creationId xmlns:a16="http://schemas.microsoft.com/office/drawing/2014/main" id="{12723F2A-5542-44F5-BF07-A4F10963C714}"/>
              </a:ext>
            </a:extLst>
          </p:cNvPr>
          <p:cNvSpPr>
            <a:spLocks/>
          </p:cNvSpPr>
          <p:nvPr/>
        </p:nvSpPr>
        <p:spPr bwMode="auto">
          <a:xfrm flipH="1">
            <a:off x="9756831" y="5652556"/>
            <a:ext cx="446088" cy="542925"/>
          </a:xfrm>
          <a:custGeom>
            <a:avLst/>
            <a:gdLst>
              <a:gd name="T0" fmla="*/ 90 w 135"/>
              <a:gd name="T1" fmla="*/ 0 h 165"/>
              <a:gd name="T2" fmla="*/ 129 w 135"/>
              <a:gd name="T3" fmla="*/ 60 h 165"/>
              <a:gd name="T4" fmla="*/ 99 w 135"/>
              <a:gd name="T5" fmla="*/ 60 h 165"/>
              <a:gd name="T6" fmla="*/ 116 w 135"/>
              <a:gd name="T7" fmla="*/ 122 h 165"/>
              <a:gd name="T8" fmla="*/ 89 w 135"/>
              <a:gd name="T9" fmla="*/ 93 h 165"/>
              <a:gd name="T10" fmla="*/ 92 w 135"/>
              <a:gd name="T11" fmla="*/ 158 h 165"/>
              <a:gd name="T12" fmla="*/ 61 w 135"/>
              <a:gd name="T13" fmla="*/ 99 h 165"/>
              <a:gd name="T14" fmla="*/ 57 w 135"/>
              <a:gd name="T15" fmla="*/ 153 h 165"/>
              <a:gd name="T16" fmla="*/ 34 w 135"/>
              <a:gd name="T17" fmla="*/ 98 h 165"/>
              <a:gd name="T18" fmla="*/ 24 w 135"/>
              <a:gd name="T19" fmla="*/ 147 h 165"/>
              <a:gd name="T20" fmla="*/ 4 w 135"/>
              <a:gd name="T21" fmla="*/ 17 h 165"/>
              <a:gd name="T22" fmla="*/ 90 w 135"/>
              <a:gd name="T23" fmla="*/ 0 h 1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35" h="165">
                <a:moveTo>
                  <a:pt x="90" y="0"/>
                </a:moveTo>
                <a:cubicBezTo>
                  <a:pt x="90" y="0"/>
                  <a:pt x="135" y="44"/>
                  <a:pt x="129" y="60"/>
                </a:cubicBezTo>
                <a:cubicBezTo>
                  <a:pt x="122" y="77"/>
                  <a:pt x="99" y="60"/>
                  <a:pt x="99" y="60"/>
                </a:cubicBezTo>
                <a:cubicBezTo>
                  <a:pt x="99" y="60"/>
                  <a:pt x="123" y="113"/>
                  <a:pt x="116" y="122"/>
                </a:cubicBezTo>
                <a:cubicBezTo>
                  <a:pt x="109" y="131"/>
                  <a:pt x="89" y="93"/>
                  <a:pt x="89" y="93"/>
                </a:cubicBezTo>
                <a:cubicBezTo>
                  <a:pt x="89" y="93"/>
                  <a:pt x="103" y="152"/>
                  <a:pt x="92" y="158"/>
                </a:cubicBezTo>
                <a:cubicBezTo>
                  <a:pt x="81" y="165"/>
                  <a:pt x="61" y="99"/>
                  <a:pt x="61" y="99"/>
                </a:cubicBezTo>
                <a:cubicBezTo>
                  <a:pt x="61" y="99"/>
                  <a:pt x="68" y="151"/>
                  <a:pt x="57" y="153"/>
                </a:cubicBezTo>
                <a:cubicBezTo>
                  <a:pt x="46" y="155"/>
                  <a:pt x="34" y="98"/>
                  <a:pt x="34" y="98"/>
                </a:cubicBezTo>
                <a:cubicBezTo>
                  <a:pt x="34" y="98"/>
                  <a:pt x="38" y="144"/>
                  <a:pt x="24" y="147"/>
                </a:cubicBezTo>
                <a:cubicBezTo>
                  <a:pt x="11" y="149"/>
                  <a:pt x="0" y="60"/>
                  <a:pt x="4" y="17"/>
                </a:cubicBezTo>
                <a:lnTo>
                  <a:pt x="90" y="0"/>
                </a:lnTo>
                <a:close/>
              </a:path>
            </a:pathLst>
          </a:custGeom>
          <a:solidFill>
            <a:srgbClr val="FFBEA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17" name="任意多边形: 形状 416">
            <a:extLst>
              <a:ext uri="{FF2B5EF4-FFF2-40B4-BE49-F238E27FC236}">
                <a16:creationId xmlns:a16="http://schemas.microsoft.com/office/drawing/2014/main" id="{59EDC7B4-88CB-4B3A-B05D-71F960B6B10E}"/>
              </a:ext>
            </a:extLst>
          </p:cNvPr>
          <p:cNvSpPr>
            <a:spLocks/>
          </p:cNvSpPr>
          <p:nvPr/>
        </p:nvSpPr>
        <p:spPr bwMode="auto">
          <a:xfrm flipH="1">
            <a:off x="9721907" y="4241269"/>
            <a:ext cx="279400" cy="1104900"/>
          </a:xfrm>
          <a:custGeom>
            <a:avLst/>
            <a:gdLst>
              <a:gd name="T0" fmla="*/ 60 w 85"/>
              <a:gd name="T1" fmla="*/ 0 h 335"/>
              <a:gd name="T2" fmla="*/ 8 w 85"/>
              <a:gd name="T3" fmla="*/ 171 h 335"/>
              <a:gd name="T4" fmla="*/ 23 w 85"/>
              <a:gd name="T5" fmla="*/ 335 h 335"/>
              <a:gd name="T6" fmla="*/ 85 w 85"/>
              <a:gd name="T7" fmla="*/ 335 h 335"/>
              <a:gd name="T8" fmla="*/ 60 w 85"/>
              <a:gd name="T9" fmla="*/ 0 h 3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5" h="335">
                <a:moveTo>
                  <a:pt x="60" y="0"/>
                </a:moveTo>
                <a:cubicBezTo>
                  <a:pt x="60" y="0"/>
                  <a:pt x="16" y="88"/>
                  <a:pt x="8" y="171"/>
                </a:cubicBezTo>
                <a:cubicBezTo>
                  <a:pt x="0" y="254"/>
                  <a:pt x="23" y="335"/>
                  <a:pt x="23" y="335"/>
                </a:cubicBezTo>
                <a:cubicBezTo>
                  <a:pt x="85" y="335"/>
                  <a:pt x="85" y="335"/>
                  <a:pt x="85" y="335"/>
                </a:cubicBezTo>
                <a:cubicBezTo>
                  <a:pt x="23" y="243"/>
                  <a:pt x="60" y="0"/>
                  <a:pt x="60" y="0"/>
                </a:cubicBezTo>
              </a:path>
            </a:pathLst>
          </a:custGeom>
          <a:solidFill>
            <a:srgbClr val="241A6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18" name="任意多边形: 形状 417">
            <a:extLst>
              <a:ext uri="{FF2B5EF4-FFF2-40B4-BE49-F238E27FC236}">
                <a16:creationId xmlns:a16="http://schemas.microsoft.com/office/drawing/2014/main" id="{C0135144-5A95-4D69-9620-B29D9178F6B2}"/>
              </a:ext>
            </a:extLst>
          </p:cNvPr>
          <p:cNvSpPr>
            <a:spLocks/>
          </p:cNvSpPr>
          <p:nvPr/>
        </p:nvSpPr>
        <p:spPr bwMode="auto">
          <a:xfrm flipH="1">
            <a:off x="9777469" y="4204756"/>
            <a:ext cx="339725" cy="1117600"/>
          </a:xfrm>
          <a:custGeom>
            <a:avLst/>
            <a:gdLst>
              <a:gd name="T0" fmla="*/ 58 w 103"/>
              <a:gd name="T1" fmla="*/ 339 h 339"/>
              <a:gd name="T2" fmla="*/ 103 w 103"/>
              <a:gd name="T3" fmla="*/ 0 h 339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103" h="339">
                <a:moveTo>
                  <a:pt x="58" y="339"/>
                </a:moveTo>
                <a:cubicBezTo>
                  <a:pt x="58" y="339"/>
                  <a:pt x="0" y="151"/>
                  <a:pt x="103" y="0"/>
                </a:cubicBezTo>
              </a:path>
            </a:pathLst>
          </a:custGeom>
          <a:noFill/>
          <a:ln w="12700" cap="flat">
            <a:solidFill>
              <a:srgbClr val="463EA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19" name="任意多边形: 形状 418">
            <a:extLst>
              <a:ext uri="{FF2B5EF4-FFF2-40B4-BE49-F238E27FC236}">
                <a16:creationId xmlns:a16="http://schemas.microsoft.com/office/drawing/2014/main" id="{7234FB56-98B2-4BB2-9ADF-3EBFDF9119DC}"/>
              </a:ext>
            </a:extLst>
          </p:cNvPr>
          <p:cNvSpPr>
            <a:spLocks/>
          </p:cNvSpPr>
          <p:nvPr/>
        </p:nvSpPr>
        <p:spPr bwMode="auto">
          <a:xfrm flipH="1">
            <a:off x="9483781" y="3209394"/>
            <a:ext cx="233363" cy="177800"/>
          </a:xfrm>
          <a:custGeom>
            <a:avLst/>
            <a:gdLst>
              <a:gd name="T0" fmla="*/ 43 w 71"/>
              <a:gd name="T1" fmla="*/ 0 h 54"/>
              <a:gd name="T2" fmla="*/ 12 w 71"/>
              <a:gd name="T3" fmla="*/ 52 h 54"/>
              <a:gd name="T4" fmla="*/ 16 w 71"/>
              <a:gd name="T5" fmla="*/ 54 h 54"/>
              <a:gd name="T6" fmla="*/ 22 w 71"/>
              <a:gd name="T7" fmla="*/ 27 h 54"/>
              <a:gd name="T8" fmla="*/ 44 w 71"/>
              <a:gd name="T9" fmla="*/ 12 h 54"/>
              <a:gd name="T10" fmla="*/ 71 w 71"/>
              <a:gd name="T11" fmla="*/ 17 h 54"/>
              <a:gd name="T12" fmla="*/ 71 w 71"/>
              <a:gd name="T13" fmla="*/ 5 h 54"/>
              <a:gd name="T14" fmla="*/ 71 w 71"/>
              <a:gd name="T15" fmla="*/ 5 h 54"/>
              <a:gd name="T16" fmla="*/ 43 w 71"/>
              <a:gd name="T17" fmla="*/ 0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1" h="54">
                <a:moveTo>
                  <a:pt x="43" y="0"/>
                </a:moveTo>
                <a:cubicBezTo>
                  <a:pt x="0" y="0"/>
                  <a:pt x="12" y="52"/>
                  <a:pt x="12" y="52"/>
                </a:cubicBezTo>
                <a:cubicBezTo>
                  <a:pt x="13" y="53"/>
                  <a:pt x="15" y="54"/>
                  <a:pt x="16" y="54"/>
                </a:cubicBezTo>
                <a:cubicBezTo>
                  <a:pt x="16" y="47"/>
                  <a:pt x="17" y="37"/>
                  <a:pt x="22" y="27"/>
                </a:cubicBezTo>
                <a:cubicBezTo>
                  <a:pt x="26" y="16"/>
                  <a:pt x="34" y="12"/>
                  <a:pt x="44" y="12"/>
                </a:cubicBezTo>
                <a:cubicBezTo>
                  <a:pt x="52" y="12"/>
                  <a:pt x="61" y="15"/>
                  <a:pt x="71" y="17"/>
                </a:cubicBezTo>
                <a:cubicBezTo>
                  <a:pt x="71" y="13"/>
                  <a:pt x="71" y="9"/>
                  <a:pt x="71" y="5"/>
                </a:cubicBezTo>
                <a:cubicBezTo>
                  <a:pt x="71" y="5"/>
                  <a:pt x="71" y="5"/>
                  <a:pt x="71" y="5"/>
                </a:cubicBezTo>
                <a:cubicBezTo>
                  <a:pt x="60" y="1"/>
                  <a:pt x="50" y="0"/>
                  <a:pt x="43" y="0"/>
                </a:cubicBezTo>
              </a:path>
            </a:pathLst>
          </a:custGeom>
          <a:solidFill>
            <a:srgbClr val="FF535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20" name="任意多边形: 形状 419">
            <a:extLst>
              <a:ext uri="{FF2B5EF4-FFF2-40B4-BE49-F238E27FC236}">
                <a16:creationId xmlns:a16="http://schemas.microsoft.com/office/drawing/2014/main" id="{6C351AFF-C39D-4C98-814A-E3CADCEFA17B}"/>
              </a:ext>
            </a:extLst>
          </p:cNvPr>
          <p:cNvSpPr>
            <a:spLocks noEditPoints="1"/>
          </p:cNvSpPr>
          <p:nvPr/>
        </p:nvSpPr>
        <p:spPr bwMode="auto">
          <a:xfrm flipH="1">
            <a:off x="10849031" y="1855256"/>
            <a:ext cx="474663" cy="134938"/>
          </a:xfrm>
          <a:custGeom>
            <a:avLst/>
            <a:gdLst>
              <a:gd name="T0" fmla="*/ 0 w 144"/>
              <a:gd name="T1" fmla="*/ 32 h 41"/>
              <a:gd name="T2" fmla="*/ 0 w 144"/>
              <a:gd name="T3" fmla="*/ 32 h 41"/>
              <a:gd name="T4" fmla="*/ 2 w 144"/>
              <a:gd name="T5" fmla="*/ 41 h 41"/>
              <a:gd name="T6" fmla="*/ 2 w 144"/>
              <a:gd name="T7" fmla="*/ 41 h 41"/>
              <a:gd name="T8" fmla="*/ 0 w 144"/>
              <a:gd name="T9" fmla="*/ 32 h 41"/>
              <a:gd name="T10" fmla="*/ 142 w 144"/>
              <a:gd name="T11" fmla="*/ 0 h 41"/>
              <a:gd name="T12" fmla="*/ 142 w 144"/>
              <a:gd name="T13" fmla="*/ 0 h 41"/>
              <a:gd name="T14" fmla="*/ 144 w 144"/>
              <a:gd name="T15" fmla="*/ 9 h 41"/>
              <a:gd name="T16" fmla="*/ 144 w 144"/>
              <a:gd name="T17" fmla="*/ 8 h 41"/>
              <a:gd name="T18" fmla="*/ 142 w 144"/>
              <a:gd name="T19" fmla="*/ 0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44" h="41">
                <a:moveTo>
                  <a:pt x="0" y="32"/>
                </a:moveTo>
                <a:cubicBezTo>
                  <a:pt x="0" y="32"/>
                  <a:pt x="0" y="32"/>
                  <a:pt x="0" y="32"/>
                </a:cubicBezTo>
                <a:cubicBezTo>
                  <a:pt x="0" y="35"/>
                  <a:pt x="1" y="38"/>
                  <a:pt x="2" y="41"/>
                </a:cubicBezTo>
                <a:cubicBezTo>
                  <a:pt x="2" y="41"/>
                  <a:pt x="2" y="41"/>
                  <a:pt x="2" y="41"/>
                </a:cubicBezTo>
                <a:cubicBezTo>
                  <a:pt x="1" y="38"/>
                  <a:pt x="0" y="35"/>
                  <a:pt x="0" y="32"/>
                </a:cubicBezTo>
                <a:moveTo>
                  <a:pt x="142" y="0"/>
                </a:moveTo>
                <a:cubicBezTo>
                  <a:pt x="142" y="0"/>
                  <a:pt x="142" y="0"/>
                  <a:pt x="142" y="0"/>
                </a:cubicBezTo>
                <a:cubicBezTo>
                  <a:pt x="142" y="3"/>
                  <a:pt x="143" y="6"/>
                  <a:pt x="144" y="9"/>
                </a:cubicBezTo>
                <a:cubicBezTo>
                  <a:pt x="144" y="8"/>
                  <a:pt x="144" y="8"/>
                  <a:pt x="144" y="8"/>
                </a:cubicBezTo>
                <a:cubicBezTo>
                  <a:pt x="143" y="6"/>
                  <a:pt x="142" y="3"/>
                  <a:pt x="142" y="0"/>
                </a:cubicBezTo>
              </a:path>
            </a:pathLst>
          </a:custGeom>
          <a:solidFill>
            <a:srgbClr val="9C3F3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21" name="任意多边形: 形状 420">
            <a:extLst>
              <a:ext uri="{FF2B5EF4-FFF2-40B4-BE49-F238E27FC236}">
                <a16:creationId xmlns:a16="http://schemas.microsoft.com/office/drawing/2014/main" id="{1A5F5866-7FA6-4573-8C8B-DCD21E40D9E6}"/>
              </a:ext>
            </a:extLst>
          </p:cNvPr>
          <p:cNvSpPr>
            <a:spLocks/>
          </p:cNvSpPr>
          <p:nvPr/>
        </p:nvSpPr>
        <p:spPr bwMode="auto">
          <a:xfrm flipH="1">
            <a:off x="10849031" y="1855256"/>
            <a:ext cx="474663" cy="134938"/>
          </a:xfrm>
          <a:custGeom>
            <a:avLst/>
            <a:gdLst>
              <a:gd name="T0" fmla="*/ 142 w 144"/>
              <a:gd name="T1" fmla="*/ 0 h 41"/>
              <a:gd name="T2" fmla="*/ 0 w 144"/>
              <a:gd name="T3" fmla="*/ 32 h 41"/>
              <a:gd name="T4" fmla="*/ 2 w 144"/>
              <a:gd name="T5" fmla="*/ 41 h 41"/>
              <a:gd name="T6" fmla="*/ 144 w 144"/>
              <a:gd name="T7" fmla="*/ 9 h 41"/>
              <a:gd name="T8" fmla="*/ 142 w 144"/>
              <a:gd name="T9" fmla="*/ 0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4" h="41">
                <a:moveTo>
                  <a:pt x="142" y="0"/>
                </a:moveTo>
                <a:cubicBezTo>
                  <a:pt x="94" y="9"/>
                  <a:pt x="47" y="20"/>
                  <a:pt x="0" y="32"/>
                </a:cubicBezTo>
                <a:cubicBezTo>
                  <a:pt x="0" y="35"/>
                  <a:pt x="1" y="38"/>
                  <a:pt x="2" y="41"/>
                </a:cubicBezTo>
                <a:cubicBezTo>
                  <a:pt x="48" y="28"/>
                  <a:pt x="96" y="17"/>
                  <a:pt x="144" y="9"/>
                </a:cubicBezTo>
                <a:cubicBezTo>
                  <a:pt x="143" y="6"/>
                  <a:pt x="142" y="3"/>
                  <a:pt x="142" y="0"/>
                </a:cubicBezTo>
              </a:path>
            </a:pathLst>
          </a:custGeom>
          <a:solidFill>
            <a:srgbClr val="FF535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22" name="任意多边形: 形状 421">
            <a:extLst>
              <a:ext uri="{FF2B5EF4-FFF2-40B4-BE49-F238E27FC236}">
                <a16:creationId xmlns:a16="http://schemas.microsoft.com/office/drawing/2014/main" id="{5CF2EAC0-D502-4D8F-A408-1967E038D3AF}"/>
              </a:ext>
            </a:extLst>
          </p:cNvPr>
          <p:cNvSpPr>
            <a:spLocks noEditPoints="1"/>
          </p:cNvSpPr>
          <p:nvPr/>
        </p:nvSpPr>
        <p:spPr bwMode="auto">
          <a:xfrm flipH="1">
            <a:off x="10783944" y="2079094"/>
            <a:ext cx="496888" cy="85725"/>
          </a:xfrm>
          <a:custGeom>
            <a:avLst/>
            <a:gdLst>
              <a:gd name="T0" fmla="*/ 0 w 151"/>
              <a:gd name="T1" fmla="*/ 18 h 26"/>
              <a:gd name="T2" fmla="*/ 0 w 151"/>
              <a:gd name="T3" fmla="*/ 18 h 26"/>
              <a:gd name="T4" fmla="*/ 2 w 151"/>
              <a:gd name="T5" fmla="*/ 26 h 26"/>
              <a:gd name="T6" fmla="*/ 2 w 151"/>
              <a:gd name="T7" fmla="*/ 26 h 26"/>
              <a:gd name="T8" fmla="*/ 0 w 151"/>
              <a:gd name="T9" fmla="*/ 18 h 26"/>
              <a:gd name="T10" fmla="*/ 148 w 151"/>
              <a:gd name="T11" fmla="*/ 0 h 26"/>
              <a:gd name="T12" fmla="*/ 148 w 151"/>
              <a:gd name="T13" fmla="*/ 0 h 26"/>
              <a:gd name="T14" fmla="*/ 151 w 151"/>
              <a:gd name="T15" fmla="*/ 8 h 26"/>
              <a:gd name="T16" fmla="*/ 151 w 151"/>
              <a:gd name="T17" fmla="*/ 8 h 26"/>
              <a:gd name="T18" fmla="*/ 148 w 151"/>
              <a:gd name="T19" fmla="*/ 0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51" h="26">
                <a:moveTo>
                  <a:pt x="0" y="18"/>
                </a:moveTo>
                <a:cubicBezTo>
                  <a:pt x="0" y="18"/>
                  <a:pt x="0" y="18"/>
                  <a:pt x="0" y="18"/>
                </a:cubicBezTo>
                <a:cubicBezTo>
                  <a:pt x="1" y="21"/>
                  <a:pt x="2" y="24"/>
                  <a:pt x="2" y="26"/>
                </a:cubicBezTo>
                <a:cubicBezTo>
                  <a:pt x="2" y="26"/>
                  <a:pt x="2" y="26"/>
                  <a:pt x="2" y="26"/>
                </a:cubicBezTo>
                <a:cubicBezTo>
                  <a:pt x="2" y="24"/>
                  <a:pt x="1" y="21"/>
                  <a:pt x="0" y="18"/>
                </a:cubicBezTo>
                <a:moveTo>
                  <a:pt x="148" y="0"/>
                </a:moveTo>
                <a:cubicBezTo>
                  <a:pt x="148" y="0"/>
                  <a:pt x="148" y="0"/>
                  <a:pt x="148" y="0"/>
                </a:cubicBezTo>
                <a:cubicBezTo>
                  <a:pt x="149" y="3"/>
                  <a:pt x="150" y="6"/>
                  <a:pt x="151" y="8"/>
                </a:cubicBezTo>
                <a:cubicBezTo>
                  <a:pt x="151" y="8"/>
                  <a:pt x="151" y="8"/>
                  <a:pt x="151" y="8"/>
                </a:cubicBezTo>
                <a:cubicBezTo>
                  <a:pt x="150" y="6"/>
                  <a:pt x="149" y="3"/>
                  <a:pt x="148" y="0"/>
                </a:cubicBezTo>
              </a:path>
            </a:pathLst>
          </a:custGeom>
          <a:solidFill>
            <a:srgbClr val="9C3F3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23" name="任意多边形: 形状 422">
            <a:extLst>
              <a:ext uri="{FF2B5EF4-FFF2-40B4-BE49-F238E27FC236}">
                <a16:creationId xmlns:a16="http://schemas.microsoft.com/office/drawing/2014/main" id="{8A03A707-73B2-4BDE-8403-C9AECAE8141F}"/>
              </a:ext>
            </a:extLst>
          </p:cNvPr>
          <p:cNvSpPr>
            <a:spLocks/>
          </p:cNvSpPr>
          <p:nvPr/>
        </p:nvSpPr>
        <p:spPr bwMode="auto">
          <a:xfrm flipH="1">
            <a:off x="10783944" y="2079094"/>
            <a:ext cx="496888" cy="85725"/>
          </a:xfrm>
          <a:custGeom>
            <a:avLst/>
            <a:gdLst>
              <a:gd name="T0" fmla="*/ 148 w 151"/>
              <a:gd name="T1" fmla="*/ 0 h 26"/>
              <a:gd name="T2" fmla="*/ 0 w 151"/>
              <a:gd name="T3" fmla="*/ 18 h 26"/>
              <a:gd name="T4" fmla="*/ 2 w 151"/>
              <a:gd name="T5" fmla="*/ 26 h 26"/>
              <a:gd name="T6" fmla="*/ 151 w 151"/>
              <a:gd name="T7" fmla="*/ 8 h 26"/>
              <a:gd name="T8" fmla="*/ 148 w 151"/>
              <a:gd name="T9" fmla="*/ 0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1" h="26">
                <a:moveTo>
                  <a:pt x="148" y="0"/>
                </a:moveTo>
                <a:cubicBezTo>
                  <a:pt x="98" y="1"/>
                  <a:pt x="49" y="7"/>
                  <a:pt x="0" y="18"/>
                </a:cubicBezTo>
                <a:cubicBezTo>
                  <a:pt x="1" y="21"/>
                  <a:pt x="2" y="24"/>
                  <a:pt x="2" y="26"/>
                </a:cubicBezTo>
                <a:cubicBezTo>
                  <a:pt x="51" y="15"/>
                  <a:pt x="101" y="9"/>
                  <a:pt x="151" y="8"/>
                </a:cubicBezTo>
                <a:cubicBezTo>
                  <a:pt x="150" y="6"/>
                  <a:pt x="149" y="3"/>
                  <a:pt x="148" y="0"/>
                </a:cubicBezTo>
              </a:path>
            </a:pathLst>
          </a:custGeom>
          <a:solidFill>
            <a:srgbClr val="FF535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24" name="任意多边形: 形状 423">
            <a:extLst>
              <a:ext uri="{FF2B5EF4-FFF2-40B4-BE49-F238E27FC236}">
                <a16:creationId xmlns:a16="http://schemas.microsoft.com/office/drawing/2014/main" id="{63F1AEA5-8507-4FC7-8444-64A261BED086}"/>
              </a:ext>
            </a:extLst>
          </p:cNvPr>
          <p:cNvSpPr>
            <a:spLocks noEditPoints="1"/>
          </p:cNvSpPr>
          <p:nvPr/>
        </p:nvSpPr>
        <p:spPr bwMode="auto">
          <a:xfrm flipH="1">
            <a:off x="10695044" y="2290231"/>
            <a:ext cx="487363" cy="171450"/>
          </a:xfrm>
          <a:custGeom>
            <a:avLst/>
            <a:gdLst>
              <a:gd name="T0" fmla="*/ 0 w 148"/>
              <a:gd name="T1" fmla="*/ 49 h 52"/>
              <a:gd name="T2" fmla="*/ 0 w 148"/>
              <a:gd name="T3" fmla="*/ 49 h 52"/>
              <a:gd name="T4" fmla="*/ 1 w 148"/>
              <a:gd name="T5" fmla="*/ 52 h 52"/>
              <a:gd name="T6" fmla="*/ 0 w 148"/>
              <a:gd name="T7" fmla="*/ 49 h 52"/>
              <a:gd name="T8" fmla="*/ 144 w 148"/>
              <a:gd name="T9" fmla="*/ 0 h 52"/>
              <a:gd name="T10" fmla="*/ 144 w 148"/>
              <a:gd name="T11" fmla="*/ 0 h 52"/>
              <a:gd name="T12" fmla="*/ 148 w 148"/>
              <a:gd name="T13" fmla="*/ 7 h 52"/>
              <a:gd name="T14" fmla="*/ 148 w 148"/>
              <a:gd name="T15" fmla="*/ 7 h 52"/>
              <a:gd name="T16" fmla="*/ 144 w 148"/>
              <a:gd name="T17" fmla="*/ 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48" h="52">
                <a:moveTo>
                  <a:pt x="0" y="49"/>
                </a:moveTo>
                <a:cubicBezTo>
                  <a:pt x="0" y="49"/>
                  <a:pt x="0" y="49"/>
                  <a:pt x="0" y="49"/>
                </a:cubicBezTo>
                <a:cubicBezTo>
                  <a:pt x="0" y="50"/>
                  <a:pt x="0" y="51"/>
                  <a:pt x="1" y="52"/>
                </a:cubicBezTo>
                <a:cubicBezTo>
                  <a:pt x="0" y="51"/>
                  <a:pt x="0" y="50"/>
                  <a:pt x="0" y="49"/>
                </a:cubicBezTo>
                <a:moveTo>
                  <a:pt x="144" y="0"/>
                </a:moveTo>
                <a:cubicBezTo>
                  <a:pt x="144" y="0"/>
                  <a:pt x="144" y="0"/>
                  <a:pt x="144" y="0"/>
                </a:cubicBezTo>
                <a:cubicBezTo>
                  <a:pt x="145" y="2"/>
                  <a:pt x="147" y="5"/>
                  <a:pt x="148" y="7"/>
                </a:cubicBezTo>
                <a:cubicBezTo>
                  <a:pt x="148" y="7"/>
                  <a:pt x="148" y="7"/>
                  <a:pt x="148" y="7"/>
                </a:cubicBezTo>
                <a:cubicBezTo>
                  <a:pt x="147" y="5"/>
                  <a:pt x="145" y="2"/>
                  <a:pt x="144" y="0"/>
                </a:cubicBezTo>
              </a:path>
            </a:pathLst>
          </a:custGeom>
          <a:solidFill>
            <a:srgbClr val="9C3F3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25" name="任意多边形: 形状 424">
            <a:extLst>
              <a:ext uri="{FF2B5EF4-FFF2-40B4-BE49-F238E27FC236}">
                <a16:creationId xmlns:a16="http://schemas.microsoft.com/office/drawing/2014/main" id="{5513D3AA-D648-4B7F-9C0B-A3E51D4B9B66}"/>
              </a:ext>
            </a:extLst>
          </p:cNvPr>
          <p:cNvSpPr>
            <a:spLocks/>
          </p:cNvSpPr>
          <p:nvPr/>
        </p:nvSpPr>
        <p:spPr bwMode="auto">
          <a:xfrm flipH="1">
            <a:off x="10695044" y="2290231"/>
            <a:ext cx="487363" cy="188913"/>
          </a:xfrm>
          <a:custGeom>
            <a:avLst/>
            <a:gdLst>
              <a:gd name="T0" fmla="*/ 144 w 148"/>
              <a:gd name="T1" fmla="*/ 0 h 57"/>
              <a:gd name="T2" fmla="*/ 0 w 148"/>
              <a:gd name="T3" fmla="*/ 49 h 57"/>
              <a:gd name="T4" fmla="*/ 1 w 148"/>
              <a:gd name="T5" fmla="*/ 52 h 57"/>
              <a:gd name="T6" fmla="*/ 3 w 148"/>
              <a:gd name="T7" fmla="*/ 57 h 57"/>
              <a:gd name="T8" fmla="*/ 148 w 148"/>
              <a:gd name="T9" fmla="*/ 7 h 57"/>
              <a:gd name="T10" fmla="*/ 144 w 148"/>
              <a:gd name="T11" fmla="*/ 0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8" h="57">
                <a:moveTo>
                  <a:pt x="144" y="0"/>
                </a:moveTo>
                <a:cubicBezTo>
                  <a:pt x="95" y="13"/>
                  <a:pt x="45" y="27"/>
                  <a:pt x="0" y="49"/>
                </a:cubicBezTo>
                <a:cubicBezTo>
                  <a:pt x="0" y="50"/>
                  <a:pt x="0" y="51"/>
                  <a:pt x="1" y="52"/>
                </a:cubicBezTo>
                <a:cubicBezTo>
                  <a:pt x="1" y="54"/>
                  <a:pt x="2" y="55"/>
                  <a:pt x="3" y="57"/>
                </a:cubicBezTo>
                <a:cubicBezTo>
                  <a:pt x="49" y="35"/>
                  <a:pt x="98" y="20"/>
                  <a:pt x="148" y="7"/>
                </a:cubicBezTo>
                <a:cubicBezTo>
                  <a:pt x="147" y="5"/>
                  <a:pt x="145" y="2"/>
                  <a:pt x="144" y="0"/>
                </a:cubicBezTo>
              </a:path>
            </a:pathLst>
          </a:custGeom>
          <a:solidFill>
            <a:srgbClr val="FF535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26" name="任意多边形: 形状 425">
            <a:extLst>
              <a:ext uri="{FF2B5EF4-FFF2-40B4-BE49-F238E27FC236}">
                <a16:creationId xmlns:a16="http://schemas.microsoft.com/office/drawing/2014/main" id="{DAEECE19-3A8A-4F56-919A-B59A6224BA98}"/>
              </a:ext>
            </a:extLst>
          </p:cNvPr>
          <p:cNvSpPr>
            <a:spLocks/>
          </p:cNvSpPr>
          <p:nvPr/>
        </p:nvSpPr>
        <p:spPr bwMode="auto">
          <a:xfrm flipH="1">
            <a:off x="9634594" y="3064931"/>
            <a:ext cx="96838" cy="303213"/>
          </a:xfrm>
          <a:custGeom>
            <a:avLst/>
            <a:gdLst>
              <a:gd name="T0" fmla="*/ 23 w 29"/>
              <a:gd name="T1" fmla="*/ 0 h 92"/>
              <a:gd name="T2" fmla="*/ 0 w 29"/>
              <a:gd name="T3" fmla="*/ 89 h 92"/>
              <a:gd name="T4" fmla="*/ 8 w 29"/>
              <a:gd name="T5" fmla="*/ 92 h 92"/>
              <a:gd name="T6" fmla="*/ 29 w 29"/>
              <a:gd name="T7" fmla="*/ 5 h 92"/>
              <a:gd name="T8" fmla="*/ 23 w 29"/>
              <a:gd name="T9" fmla="*/ 0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9" h="92">
                <a:moveTo>
                  <a:pt x="23" y="0"/>
                </a:moveTo>
                <a:cubicBezTo>
                  <a:pt x="11" y="28"/>
                  <a:pt x="4" y="58"/>
                  <a:pt x="0" y="89"/>
                </a:cubicBezTo>
                <a:cubicBezTo>
                  <a:pt x="3" y="90"/>
                  <a:pt x="6" y="91"/>
                  <a:pt x="8" y="92"/>
                </a:cubicBezTo>
                <a:cubicBezTo>
                  <a:pt x="11" y="62"/>
                  <a:pt x="18" y="33"/>
                  <a:pt x="29" y="5"/>
                </a:cubicBezTo>
                <a:cubicBezTo>
                  <a:pt x="27" y="3"/>
                  <a:pt x="25" y="2"/>
                  <a:pt x="23" y="0"/>
                </a:cubicBezTo>
              </a:path>
            </a:pathLst>
          </a:custGeom>
          <a:solidFill>
            <a:srgbClr val="FF535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27" name="任意多边形: 形状 426">
            <a:extLst>
              <a:ext uri="{FF2B5EF4-FFF2-40B4-BE49-F238E27FC236}">
                <a16:creationId xmlns:a16="http://schemas.microsoft.com/office/drawing/2014/main" id="{97DECDB5-9A21-47D1-AE10-B9CBEB2205B0}"/>
              </a:ext>
            </a:extLst>
          </p:cNvPr>
          <p:cNvSpPr>
            <a:spLocks/>
          </p:cNvSpPr>
          <p:nvPr/>
        </p:nvSpPr>
        <p:spPr bwMode="auto">
          <a:xfrm flipH="1">
            <a:off x="10585507" y="2474381"/>
            <a:ext cx="15875" cy="23813"/>
          </a:xfrm>
          <a:custGeom>
            <a:avLst/>
            <a:gdLst>
              <a:gd name="T0" fmla="*/ 1 w 5"/>
              <a:gd name="T1" fmla="*/ 0 h 7"/>
              <a:gd name="T2" fmla="*/ 0 w 5"/>
              <a:gd name="T3" fmla="*/ 0 h 7"/>
              <a:gd name="T4" fmla="*/ 5 w 5"/>
              <a:gd name="T5" fmla="*/ 7 h 7"/>
              <a:gd name="T6" fmla="*/ 5 w 5"/>
              <a:gd name="T7" fmla="*/ 6 h 7"/>
              <a:gd name="T8" fmla="*/ 1 w 5"/>
              <a:gd name="T9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" h="7">
                <a:moveTo>
                  <a:pt x="1" y="0"/>
                </a:moveTo>
                <a:cubicBezTo>
                  <a:pt x="1" y="0"/>
                  <a:pt x="0" y="0"/>
                  <a:pt x="0" y="0"/>
                </a:cubicBezTo>
                <a:cubicBezTo>
                  <a:pt x="2" y="2"/>
                  <a:pt x="4" y="4"/>
                  <a:pt x="5" y="7"/>
                </a:cubicBezTo>
                <a:cubicBezTo>
                  <a:pt x="5" y="6"/>
                  <a:pt x="5" y="6"/>
                  <a:pt x="5" y="6"/>
                </a:cubicBezTo>
                <a:cubicBezTo>
                  <a:pt x="4" y="4"/>
                  <a:pt x="2" y="2"/>
                  <a:pt x="1" y="0"/>
                </a:cubicBezTo>
              </a:path>
            </a:pathLst>
          </a:custGeom>
          <a:solidFill>
            <a:srgbClr val="9C3F3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28" name="任意多边形: 形状 427">
            <a:extLst>
              <a:ext uri="{FF2B5EF4-FFF2-40B4-BE49-F238E27FC236}">
                <a16:creationId xmlns:a16="http://schemas.microsoft.com/office/drawing/2014/main" id="{828FA091-68A9-4229-92A6-C124C519E762}"/>
              </a:ext>
            </a:extLst>
          </p:cNvPr>
          <p:cNvSpPr>
            <a:spLocks/>
          </p:cNvSpPr>
          <p:nvPr/>
        </p:nvSpPr>
        <p:spPr bwMode="auto">
          <a:xfrm flipH="1">
            <a:off x="10585506" y="2474381"/>
            <a:ext cx="484188" cy="268288"/>
          </a:xfrm>
          <a:custGeom>
            <a:avLst/>
            <a:gdLst>
              <a:gd name="T0" fmla="*/ 142 w 147"/>
              <a:gd name="T1" fmla="*/ 0 h 81"/>
              <a:gd name="T2" fmla="*/ 25 w 147"/>
              <a:gd name="T3" fmla="*/ 57 h 81"/>
              <a:gd name="T4" fmla="*/ 0 w 147"/>
              <a:gd name="T5" fmla="*/ 74 h 81"/>
              <a:gd name="T6" fmla="*/ 4 w 147"/>
              <a:gd name="T7" fmla="*/ 81 h 81"/>
              <a:gd name="T8" fmla="*/ 35 w 147"/>
              <a:gd name="T9" fmla="*/ 60 h 81"/>
              <a:gd name="T10" fmla="*/ 147 w 147"/>
              <a:gd name="T11" fmla="*/ 7 h 81"/>
              <a:gd name="T12" fmla="*/ 142 w 147"/>
              <a:gd name="T13" fmla="*/ 0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7" h="81">
                <a:moveTo>
                  <a:pt x="142" y="0"/>
                </a:moveTo>
                <a:cubicBezTo>
                  <a:pt x="105" y="21"/>
                  <a:pt x="62" y="34"/>
                  <a:pt x="25" y="57"/>
                </a:cubicBezTo>
                <a:cubicBezTo>
                  <a:pt x="17" y="62"/>
                  <a:pt x="8" y="68"/>
                  <a:pt x="0" y="74"/>
                </a:cubicBezTo>
                <a:cubicBezTo>
                  <a:pt x="1" y="76"/>
                  <a:pt x="3" y="79"/>
                  <a:pt x="4" y="81"/>
                </a:cubicBezTo>
                <a:cubicBezTo>
                  <a:pt x="14" y="74"/>
                  <a:pt x="24" y="67"/>
                  <a:pt x="35" y="60"/>
                </a:cubicBezTo>
                <a:cubicBezTo>
                  <a:pt x="71" y="39"/>
                  <a:pt x="111" y="27"/>
                  <a:pt x="147" y="7"/>
                </a:cubicBezTo>
                <a:cubicBezTo>
                  <a:pt x="146" y="4"/>
                  <a:pt x="144" y="2"/>
                  <a:pt x="142" y="0"/>
                </a:cubicBezTo>
              </a:path>
            </a:pathLst>
          </a:custGeom>
          <a:solidFill>
            <a:srgbClr val="FF535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29" name="任意多边形: 形状 428">
            <a:extLst>
              <a:ext uri="{FF2B5EF4-FFF2-40B4-BE49-F238E27FC236}">
                <a16:creationId xmlns:a16="http://schemas.microsoft.com/office/drawing/2014/main" id="{121001B6-B079-42F1-89A0-69C343CE8DE3}"/>
              </a:ext>
            </a:extLst>
          </p:cNvPr>
          <p:cNvSpPr>
            <a:spLocks/>
          </p:cNvSpPr>
          <p:nvPr/>
        </p:nvSpPr>
        <p:spPr bwMode="auto">
          <a:xfrm flipH="1">
            <a:off x="10061632" y="3288769"/>
            <a:ext cx="25400" cy="3175"/>
          </a:xfrm>
          <a:custGeom>
            <a:avLst/>
            <a:gdLst>
              <a:gd name="T0" fmla="*/ 0 w 8"/>
              <a:gd name="T1" fmla="*/ 0 h 1"/>
              <a:gd name="T2" fmla="*/ 0 w 8"/>
              <a:gd name="T3" fmla="*/ 0 h 1"/>
              <a:gd name="T4" fmla="*/ 8 w 8"/>
              <a:gd name="T5" fmla="*/ 1 h 1"/>
              <a:gd name="T6" fmla="*/ 8 w 8"/>
              <a:gd name="T7" fmla="*/ 1 h 1"/>
              <a:gd name="T8" fmla="*/ 0 w 8"/>
              <a:gd name="T9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" h="1"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3" y="0"/>
                  <a:pt x="5" y="0"/>
                  <a:pt x="8" y="1"/>
                </a:cubicBezTo>
                <a:cubicBezTo>
                  <a:pt x="8" y="1"/>
                  <a:pt x="8" y="1"/>
                  <a:pt x="8" y="1"/>
                </a:cubicBezTo>
                <a:cubicBezTo>
                  <a:pt x="5" y="0"/>
                  <a:pt x="3" y="0"/>
                  <a:pt x="0" y="0"/>
                </a:cubicBezTo>
              </a:path>
            </a:pathLst>
          </a:custGeom>
          <a:solidFill>
            <a:srgbClr val="BFB7F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30" name="任意多边形: 形状 429">
            <a:extLst>
              <a:ext uri="{FF2B5EF4-FFF2-40B4-BE49-F238E27FC236}">
                <a16:creationId xmlns:a16="http://schemas.microsoft.com/office/drawing/2014/main" id="{209D5467-2528-4B0B-B80B-21C9C1E3C1C7}"/>
              </a:ext>
            </a:extLst>
          </p:cNvPr>
          <p:cNvSpPr>
            <a:spLocks/>
          </p:cNvSpPr>
          <p:nvPr/>
        </p:nvSpPr>
        <p:spPr bwMode="auto">
          <a:xfrm flipH="1">
            <a:off x="9810807" y="2899831"/>
            <a:ext cx="276225" cy="392113"/>
          </a:xfrm>
          <a:custGeom>
            <a:avLst/>
            <a:gdLst>
              <a:gd name="T0" fmla="*/ 76 w 84"/>
              <a:gd name="T1" fmla="*/ 0 h 119"/>
              <a:gd name="T2" fmla="*/ 0 w 84"/>
              <a:gd name="T3" fmla="*/ 118 h 119"/>
              <a:gd name="T4" fmla="*/ 8 w 84"/>
              <a:gd name="T5" fmla="*/ 119 h 119"/>
              <a:gd name="T6" fmla="*/ 84 w 84"/>
              <a:gd name="T7" fmla="*/ 3 h 119"/>
              <a:gd name="T8" fmla="*/ 76 w 84"/>
              <a:gd name="T9" fmla="*/ 0 h 1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4" h="119">
                <a:moveTo>
                  <a:pt x="76" y="0"/>
                </a:moveTo>
                <a:cubicBezTo>
                  <a:pt x="45" y="36"/>
                  <a:pt x="17" y="75"/>
                  <a:pt x="0" y="118"/>
                </a:cubicBezTo>
                <a:cubicBezTo>
                  <a:pt x="3" y="118"/>
                  <a:pt x="5" y="118"/>
                  <a:pt x="8" y="119"/>
                </a:cubicBezTo>
                <a:cubicBezTo>
                  <a:pt x="26" y="77"/>
                  <a:pt x="54" y="39"/>
                  <a:pt x="84" y="3"/>
                </a:cubicBezTo>
                <a:cubicBezTo>
                  <a:pt x="81" y="2"/>
                  <a:pt x="78" y="1"/>
                  <a:pt x="76" y="0"/>
                </a:cubicBezTo>
              </a:path>
            </a:pathLst>
          </a:custGeom>
          <a:solidFill>
            <a:srgbClr val="FF535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31" name="任意多边形: 形状 430">
            <a:extLst>
              <a:ext uri="{FF2B5EF4-FFF2-40B4-BE49-F238E27FC236}">
                <a16:creationId xmlns:a16="http://schemas.microsoft.com/office/drawing/2014/main" id="{FBDB77C7-7FDE-499A-A979-81C26503A9CE}"/>
              </a:ext>
            </a:extLst>
          </p:cNvPr>
          <p:cNvSpPr>
            <a:spLocks/>
          </p:cNvSpPr>
          <p:nvPr/>
        </p:nvSpPr>
        <p:spPr bwMode="auto">
          <a:xfrm flipH="1">
            <a:off x="10083857" y="2810931"/>
            <a:ext cx="336550" cy="425450"/>
          </a:xfrm>
          <a:custGeom>
            <a:avLst/>
            <a:gdLst>
              <a:gd name="T0" fmla="*/ 92 w 102"/>
              <a:gd name="T1" fmla="*/ 0 h 129"/>
              <a:gd name="T2" fmla="*/ 37 w 102"/>
              <a:gd name="T3" fmla="*/ 59 h 129"/>
              <a:gd name="T4" fmla="*/ 0 w 102"/>
              <a:gd name="T5" fmla="*/ 127 h 129"/>
              <a:gd name="T6" fmla="*/ 8 w 102"/>
              <a:gd name="T7" fmla="*/ 129 h 129"/>
              <a:gd name="T8" fmla="*/ 52 w 102"/>
              <a:gd name="T9" fmla="*/ 53 h 129"/>
              <a:gd name="T10" fmla="*/ 102 w 102"/>
              <a:gd name="T11" fmla="*/ 2 h 129"/>
              <a:gd name="T12" fmla="*/ 92 w 102"/>
              <a:gd name="T13" fmla="*/ 0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2" h="129">
                <a:moveTo>
                  <a:pt x="92" y="0"/>
                </a:moveTo>
                <a:cubicBezTo>
                  <a:pt x="71" y="17"/>
                  <a:pt x="53" y="37"/>
                  <a:pt x="37" y="59"/>
                </a:cubicBezTo>
                <a:cubicBezTo>
                  <a:pt x="22" y="79"/>
                  <a:pt x="6" y="102"/>
                  <a:pt x="0" y="127"/>
                </a:cubicBezTo>
                <a:cubicBezTo>
                  <a:pt x="3" y="127"/>
                  <a:pt x="5" y="128"/>
                  <a:pt x="8" y="129"/>
                </a:cubicBezTo>
                <a:cubicBezTo>
                  <a:pt x="14" y="101"/>
                  <a:pt x="35" y="74"/>
                  <a:pt x="52" y="53"/>
                </a:cubicBezTo>
                <a:cubicBezTo>
                  <a:pt x="67" y="34"/>
                  <a:pt x="84" y="17"/>
                  <a:pt x="102" y="2"/>
                </a:cubicBezTo>
                <a:cubicBezTo>
                  <a:pt x="99" y="1"/>
                  <a:pt x="95" y="1"/>
                  <a:pt x="92" y="0"/>
                </a:cubicBezTo>
              </a:path>
            </a:pathLst>
          </a:custGeom>
          <a:solidFill>
            <a:srgbClr val="FF535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32" name="任意多边形: 形状 431">
            <a:extLst>
              <a:ext uri="{FF2B5EF4-FFF2-40B4-BE49-F238E27FC236}">
                <a16:creationId xmlns:a16="http://schemas.microsoft.com/office/drawing/2014/main" id="{8BAE3D32-39E0-49E8-89F4-3864D22AF3B9}"/>
              </a:ext>
            </a:extLst>
          </p:cNvPr>
          <p:cNvSpPr>
            <a:spLocks/>
          </p:cNvSpPr>
          <p:nvPr/>
        </p:nvSpPr>
        <p:spPr bwMode="auto">
          <a:xfrm flipH="1">
            <a:off x="10390244" y="2675994"/>
            <a:ext cx="20638" cy="15875"/>
          </a:xfrm>
          <a:custGeom>
            <a:avLst/>
            <a:gdLst>
              <a:gd name="T0" fmla="*/ 0 w 6"/>
              <a:gd name="T1" fmla="*/ 0 h 5"/>
              <a:gd name="T2" fmla="*/ 0 w 6"/>
              <a:gd name="T3" fmla="*/ 0 h 5"/>
              <a:gd name="T4" fmla="*/ 6 w 6"/>
              <a:gd name="T5" fmla="*/ 5 h 5"/>
              <a:gd name="T6" fmla="*/ 0 w 6"/>
              <a:gd name="T7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" h="5"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2" y="2"/>
                  <a:pt x="4" y="4"/>
                  <a:pt x="6" y="5"/>
                </a:cubicBezTo>
                <a:cubicBezTo>
                  <a:pt x="4" y="4"/>
                  <a:pt x="2" y="2"/>
                  <a:pt x="0" y="0"/>
                </a:cubicBezTo>
              </a:path>
            </a:pathLst>
          </a:custGeom>
          <a:solidFill>
            <a:srgbClr val="9C3F3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33" name="任意多边形: 形状 432">
            <a:extLst>
              <a:ext uri="{FF2B5EF4-FFF2-40B4-BE49-F238E27FC236}">
                <a16:creationId xmlns:a16="http://schemas.microsoft.com/office/drawing/2014/main" id="{1426AE64-9167-4C5D-BEF3-601F49A44A77}"/>
              </a:ext>
            </a:extLst>
          </p:cNvPr>
          <p:cNvSpPr>
            <a:spLocks/>
          </p:cNvSpPr>
          <p:nvPr/>
        </p:nvSpPr>
        <p:spPr bwMode="auto">
          <a:xfrm flipH="1">
            <a:off x="10809344" y="3052231"/>
            <a:ext cx="6350" cy="6350"/>
          </a:xfrm>
          <a:custGeom>
            <a:avLst/>
            <a:gdLst>
              <a:gd name="T0" fmla="*/ 0 w 2"/>
              <a:gd name="T1" fmla="*/ 0 h 2"/>
              <a:gd name="T2" fmla="*/ 1 w 2"/>
              <a:gd name="T3" fmla="*/ 1 h 2"/>
              <a:gd name="T4" fmla="*/ 2 w 2"/>
              <a:gd name="T5" fmla="*/ 2 h 2"/>
              <a:gd name="T6" fmla="*/ 1 w 2"/>
              <a:gd name="T7" fmla="*/ 1 h 2"/>
              <a:gd name="T8" fmla="*/ 0 w 2"/>
              <a:gd name="T9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2">
                <a:moveTo>
                  <a:pt x="0" y="0"/>
                </a:moveTo>
                <a:cubicBezTo>
                  <a:pt x="0" y="0"/>
                  <a:pt x="0" y="1"/>
                  <a:pt x="1" y="1"/>
                </a:cubicBezTo>
                <a:cubicBezTo>
                  <a:pt x="1" y="1"/>
                  <a:pt x="1" y="1"/>
                  <a:pt x="2" y="2"/>
                </a:cubicBezTo>
                <a:cubicBezTo>
                  <a:pt x="1" y="1"/>
                  <a:pt x="1" y="1"/>
                  <a:pt x="1" y="1"/>
                </a:cubicBezTo>
                <a:cubicBezTo>
                  <a:pt x="0" y="1"/>
                  <a:pt x="0" y="0"/>
                  <a:pt x="0" y="0"/>
                </a:cubicBezTo>
              </a:path>
            </a:pathLst>
          </a:custGeom>
          <a:solidFill>
            <a:srgbClr val="BFB7F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34" name="任意多边形: 形状 433">
            <a:extLst>
              <a:ext uri="{FF2B5EF4-FFF2-40B4-BE49-F238E27FC236}">
                <a16:creationId xmlns:a16="http://schemas.microsoft.com/office/drawing/2014/main" id="{CC6F3FB3-980D-4954-8BD2-AA6E542031A3}"/>
              </a:ext>
            </a:extLst>
          </p:cNvPr>
          <p:cNvSpPr>
            <a:spLocks/>
          </p:cNvSpPr>
          <p:nvPr/>
        </p:nvSpPr>
        <p:spPr bwMode="auto">
          <a:xfrm flipH="1">
            <a:off x="10387069" y="2675994"/>
            <a:ext cx="439738" cy="385763"/>
          </a:xfrm>
          <a:custGeom>
            <a:avLst/>
            <a:gdLst>
              <a:gd name="T0" fmla="*/ 126 w 133"/>
              <a:gd name="T1" fmla="*/ 0 h 117"/>
              <a:gd name="T2" fmla="*/ 0 w 133"/>
              <a:gd name="T3" fmla="*/ 112 h 117"/>
              <a:gd name="T4" fmla="*/ 3 w 133"/>
              <a:gd name="T5" fmla="*/ 114 h 117"/>
              <a:gd name="T6" fmla="*/ 4 w 133"/>
              <a:gd name="T7" fmla="*/ 115 h 117"/>
              <a:gd name="T8" fmla="*/ 5 w 133"/>
              <a:gd name="T9" fmla="*/ 116 h 117"/>
              <a:gd name="T10" fmla="*/ 7 w 133"/>
              <a:gd name="T11" fmla="*/ 117 h 117"/>
              <a:gd name="T12" fmla="*/ 133 w 133"/>
              <a:gd name="T13" fmla="*/ 6 h 117"/>
              <a:gd name="T14" fmla="*/ 132 w 133"/>
              <a:gd name="T15" fmla="*/ 5 h 117"/>
              <a:gd name="T16" fmla="*/ 126 w 133"/>
              <a:gd name="T17" fmla="*/ 0 h 1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33" h="117">
                <a:moveTo>
                  <a:pt x="126" y="0"/>
                </a:moveTo>
                <a:cubicBezTo>
                  <a:pt x="77" y="30"/>
                  <a:pt x="35" y="67"/>
                  <a:pt x="0" y="112"/>
                </a:cubicBezTo>
                <a:cubicBezTo>
                  <a:pt x="1" y="113"/>
                  <a:pt x="2" y="113"/>
                  <a:pt x="3" y="114"/>
                </a:cubicBezTo>
                <a:cubicBezTo>
                  <a:pt x="3" y="114"/>
                  <a:pt x="3" y="115"/>
                  <a:pt x="4" y="115"/>
                </a:cubicBezTo>
                <a:cubicBezTo>
                  <a:pt x="4" y="115"/>
                  <a:pt x="4" y="115"/>
                  <a:pt x="5" y="116"/>
                </a:cubicBezTo>
                <a:cubicBezTo>
                  <a:pt x="5" y="116"/>
                  <a:pt x="6" y="116"/>
                  <a:pt x="7" y="117"/>
                </a:cubicBezTo>
                <a:cubicBezTo>
                  <a:pt x="41" y="72"/>
                  <a:pt x="84" y="35"/>
                  <a:pt x="133" y="6"/>
                </a:cubicBezTo>
                <a:cubicBezTo>
                  <a:pt x="133" y="6"/>
                  <a:pt x="133" y="5"/>
                  <a:pt x="132" y="5"/>
                </a:cubicBezTo>
                <a:cubicBezTo>
                  <a:pt x="130" y="4"/>
                  <a:pt x="128" y="2"/>
                  <a:pt x="126" y="0"/>
                </a:cubicBezTo>
              </a:path>
            </a:pathLst>
          </a:custGeom>
          <a:solidFill>
            <a:srgbClr val="FF535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35" name="任意多边形: 形状 434">
            <a:extLst>
              <a:ext uri="{FF2B5EF4-FFF2-40B4-BE49-F238E27FC236}">
                <a16:creationId xmlns:a16="http://schemas.microsoft.com/office/drawing/2014/main" id="{0CE227CE-F51A-40AA-AA05-27BD35AE8436}"/>
              </a:ext>
            </a:extLst>
          </p:cNvPr>
          <p:cNvSpPr>
            <a:spLocks/>
          </p:cNvSpPr>
          <p:nvPr/>
        </p:nvSpPr>
        <p:spPr bwMode="auto">
          <a:xfrm flipH="1">
            <a:off x="9190094" y="3095094"/>
            <a:ext cx="349250" cy="434975"/>
          </a:xfrm>
          <a:custGeom>
            <a:avLst/>
            <a:gdLst>
              <a:gd name="T0" fmla="*/ 99 w 106"/>
              <a:gd name="T1" fmla="*/ 102 h 132"/>
              <a:gd name="T2" fmla="*/ 104 w 106"/>
              <a:gd name="T3" fmla="*/ 111 h 132"/>
              <a:gd name="T4" fmla="*/ 103 w 106"/>
              <a:gd name="T5" fmla="*/ 112 h 132"/>
              <a:gd name="T6" fmla="*/ 78 w 106"/>
              <a:gd name="T7" fmla="*/ 127 h 132"/>
              <a:gd name="T8" fmla="*/ 58 w 106"/>
              <a:gd name="T9" fmla="*/ 131 h 132"/>
              <a:gd name="T10" fmla="*/ 0 w 106"/>
              <a:gd name="T11" fmla="*/ 111 h 132"/>
              <a:gd name="T12" fmla="*/ 14 w 106"/>
              <a:gd name="T13" fmla="*/ 18 h 132"/>
              <a:gd name="T14" fmla="*/ 14 w 106"/>
              <a:gd name="T15" fmla="*/ 16 h 132"/>
              <a:gd name="T16" fmla="*/ 14 w 106"/>
              <a:gd name="T17" fmla="*/ 16 h 132"/>
              <a:gd name="T18" fmla="*/ 14 w 106"/>
              <a:gd name="T19" fmla="*/ 16 h 132"/>
              <a:gd name="T20" fmla="*/ 12 w 106"/>
              <a:gd name="T21" fmla="*/ 0 h 132"/>
              <a:gd name="T22" fmla="*/ 77 w 106"/>
              <a:gd name="T23" fmla="*/ 3 h 132"/>
              <a:gd name="T24" fmla="*/ 97 w 106"/>
              <a:gd name="T25" fmla="*/ 4 h 132"/>
              <a:gd name="T26" fmla="*/ 97 w 106"/>
              <a:gd name="T27" fmla="*/ 4 h 132"/>
              <a:gd name="T28" fmla="*/ 100 w 106"/>
              <a:gd name="T29" fmla="*/ 4 h 132"/>
              <a:gd name="T30" fmla="*/ 106 w 106"/>
              <a:gd name="T31" fmla="*/ 5 h 132"/>
              <a:gd name="T32" fmla="*/ 106 w 106"/>
              <a:gd name="T33" fmla="*/ 5 h 132"/>
              <a:gd name="T34" fmla="*/ 102 w 106"/>
              <a:gd name="T35" fmla="*/ 12 h 132"/>
              <a:gd name="T36" fmla="*/ 92 w 106"/>
              <a:gd name="T37" fmla="*/ 88 h 132"/>
              <a:gd name="T38" fmla="*/ 99 w 106"/>
              <a:gd name="T39" fmla="*/ 102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06" h="132">
                <a:moveTo>
                  <a:pt x="99" y="102"/>
                </a:moveTo>
                <a:cubicBezTo>
                  <a:pt x="101" y="106"/>
                  <a:pt x="103" y="110"/>
                  <a:pt x="104" y="111"/>
                </a:cubicBezTo>
                <a:cubicBezTo>
                  <a:pt x="104" y="111"/>
                  <a:pt x="104" y="112"/>
                  <a:pt x="103" y="112"/>
                </a:cubicBezTo>
                <a:cubicBezTo>
                  <a:pt x="93" y="119"/>
                  <a:pt x="86" y="124"/>
                  <a:pt x="78" y="127"/>
                </a:cubicBezTo>
                <a:cubicBezTo>
                  <a:pt x="72" y="129"/>
                  <a:pt x="66" y="130"/>
                  <a:pt x="58" y="131"/>
                </a:cubicBezTo>
                <a:cubicBezTo>
                  <a:pt x="36" y="132"/>
                  <a:pt x="15" y="129"/>
                  <a:pt x="0" y="111"/>
                </a:cubicBezTo>
                <a:cubicBezTo>
                  <a:pt x="21" y="90"/>
                  <a:pt x="19" y="46"/>
                  <a:pt x="14" y="18"/>
                </a:cubicBezTo>
                <a:cubicBezTo>
                  <a:pt x="14" y="17"/>
                  <a:pt x="14" y="16"/>
                  <a:pt x="14" y="16"/>
                </a:cubicBezTo>
                <a:cubicBezTo>
                  <a:pt x="14" y="16"/>
                  <a:pt x="14" y="16"/>
                  <a:pt x="14" y="16"/>
                </a:cubicBezTo>
                <a:cubicBezTo>
                  <a:pt x="14" y="16"/>
                  <a:pt x="14" y="16"/>
                  <a:pt x="14" y="16"/>
                </a:cubicBezTo>
                <a:cubicBezTo>
                  <a:pt x="13" y="10"/>
                  <a:pt x="12" y="5"/>
                  <a:pt x="12" y="0"/>
                </a:cubicBezTo>
                <a:cubicBezTo>
                  <a:pt x="30" y="0"/>
                  <a:pt x="61" y="2"/>
                  <a:pt x="77" y="3"/>
                </a:cubicBezTo>
                <a:cubicBezTo>
                  <a:pt x="87" y="3"/>
                  <a:pt x="91" y="4"/>
                  <a:pt x="97" y="4"/>
                </a:cubicBezTo>
                <a:cubicBezTo>
                  <a:pt x="97" y="4"/>
                  <a:pt x="97" y="4"/>
                  <a:pt x="97" y="4"/>
                </a:cubicBezTo>
                <a:cubicBezTo>
                  <a:pt x="98" y="4"/>
                  <a:pt x="99" y="4"/>
                  <a:pt x="100" y="4"/>
                </a:cubicBezTo>
                <a:cubicBezTo>
                  <a:pt x="102" y="4"/>
                  <a:pt x="104" y="4"/>
                  <a:pt x="106" y="5"/>
                </a:cubicBezTo>
                <a:cubicBezTo>
                  <a:pt x="106" y="5"/>
                  <a:pt x="106" y="5"/>
                  <a:pt x="106" y="5"/>
                </a:cubicBezTo>
                <a:cubicBezTo>
                  <a:pt x="105" y="7"/>
                  <a:pt x="103" y="9"/>
                  <a:pt x="102" y="12"/>
                </a:cubicBezTo>
                <a:cubicBezTo>
                  <a:pt x="91" y="29"/>
                  <a:pt x="84" y="68"/>
                  <a:pt x="92" y="88"/>
                </a:cubicBezTo>
                <a:cubicBezTo>
                  <a:pt x="93" y="91"/>
                  <a:pt x="96" y="97"/>
                  <a:pt x="99" y="102"/>
                </a:cubicBezTo>
              </a:path>
            </a:pathLst>
          </a:custGeom>
          <a:solidFill>
            <a:srgbClr val="FFBEA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36" name="任意多边形: 形状 435">
            <a:extLst>
              <a:ext uri="{FF2B5EF4-FFF2-40B4-BE49-F238E27FC236}">
                <a16:creationId xmlns:a16="http://schemas.microsoft.com/office/drawing/2014/main" id="{E386C5F5-F68A-4B7D-B7C6-09AD93EFEEAE}"/>
              </a:ext>
            </a:extLst>
          </p:cNvPr>
          <p:cNvSpPr>
            <a:spLocks/>
          </p:cNvSpPr>
          <p:nvPr/>
        </p:nvSpPr>
        <p:spPr bwMode="auto">
          <a:xfrm flipH="1">
            <a:off x="9190094" y="3095094"/>
            <a:ext cx="320675" cy="358775"/>
          </a:xfrm>
          <a:custGeom>
            <a:avLst/>
            <a:gdLst>
              <a:gd name="T0" fmla="*/ 97 w 97"/>
              <a:gd name="T1" fmla="*/ 4 h 109"/>
              <a:gd name="T2" fmla="*/ 97 w 97"/>
              <a:gd name="T3" fmla="*/ 5 h 109"/>
              <a:gd name="T4" fmla="*/ 93 w 97"/>
              <a:gd name="T5" fmla="*/ 12 h 109"/>
              <a:gd name="T6" fmla="*/ 83 w 97"/>
              <a:gd name="T7" fmla="*/ 88 h 109"/>
              <a:gd name="T8" fmla="*/ 90 w 97"/>
              <a:gd name="T9" fmla="*/ 102 h 109"/>
              <a:gd name="T10" fmla="*/ 5 w 97"/>
              <a:gd name="T11" fmla="*/ 16 h 109"/>
              <a:gd name="T12" fmla="*/ 5 w 97"/>
              <a:gd name="T13" fmla="*/ 16 h 109"/>
              <a:gd name="T14" fmla="*/ 5 w 97"/>
              <a:gd name="T15" fmla="*/ 16 h 109"/>
              <a:gd name="T16" fmla="*/ 5 w 97"/>
              <a:gd name="T17" fmla="*/ 16 h 109"/>
              <a:gd name="T18" fmla="*/ 5 w 97"/>
              <a:gd name="T19" fmla="*/ 16 h 109"/>
              <a:gd name="T20" fmla="*/ 2 w 97"/>
              <a:gd name="T21" fmla="*/ 0 h 109"/>
              <a:gd name="T22" fmla="*/ 3 w 97"/>
              <a:gd name="T23" fmla="*/ 0 h 109"/>
              <a:gd name="T24" fmla="*/ 88 w 97"/>
              <a:gd name="T25" fmla="*/ 4 h 109"/>
              <a:gd name="T26" fmla="*/ 88 w 97"/>
              <a:gd name="T27" fmla="*/ 4 h 109"/>
              <a:gd name="T28" fmla="*/ 91 w 97"/>
              <a:gd name="T29" fmla="*/ 4 h 109"/>
              <a:gd name="T30" fmla="*/ 97 w 97"/>
              <a:gd name="T31" fmla="*/ 4 h 1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97" h="109">
                <a:moveTo>
                  <a:pt x="97" y="4"/>
                </a:moveTo>
                <a:cubicBezTo>
                  <a:pt x="97" y="5"/>
                  <a:pt x="97" y="5"/>
                  <a:pt x="97" y="5"/>
                </a:cubicBezTo>
                <a:cubicBezTo>
                  <a:pt x="95" y="7"/>
                  <a:pt x="94" y="9"/>
                  <a:pt x="93" y="12"/>
                </a:cubicBezTo>
                <a:cubicBezTo>
                  <a:pt x="82" y="29"/>
                  <a:pt x="75" y="68"/>
                  <a:pt x="83" y="88"/>
                </a:cubicBezTo>
                <a:cubicBezTo>
                  <a:pt x="84" y="91"/>
                  <a:pt x="87" y="97"/>
                  <a:pt x="90" y="102"/>
                </a:cubicBezTo>
                <a:cubicBezTo>
                  <a:pt x="46" y="109"/>
                  <a:pt x="26" y="49"/>
                  <a:pt x="5" y="16"/>
                </a:cubicBezTo>
                <a:cubicBezTo>
                  <a:pt x="5" y="16"/>
                  <a:pt x="5" y="16"/>
                  <a:pt x="5" y="16"/>
                </a:cubicBezTo>
                <a:cubicBezTo>
                  <a:pt x="5" y="16"/>
                  <a:pt x="5" y="16"/>
                  <a:pt x="5" y="16"/>
                </a:cubicBezTo>
                <a:cubicBezTo>
                  <a:pt x="5" y="16"/>
                  <a:pt x="5" y="16"/>
                  <a:pt x="5" y="16"/>
                </a:cubicBezTo>
                <a:cubicBezTo>
                  <a:pt x="5" y="16"/>
                  <a:pt x="5" y="16"/>
                  <a:pt x="5" y="16"/>
                </a:cubicBezTo>
                <a:cubicBezTo>
                  <a:pt x="1" y="11"/>
                  <a:pt x="0" y="6"/>
                  <a:pt x="2" y="0"/>
                </a:cubicBezTo>
                <a:cubicBezTo>
                  <a:pt x="3" y="0"/>
                  <a:pt x="3" y="0"/>
                  <a:pt x="3" y="0"/>
                </a:cubicBezTo>
                <a:cubicBezTo>
                  <a:pt x="31" y="1"/>
                  <a:pt x="59" y="2"/>
                  <a:pt x="88" y="4"/>
                </a:cubicBezTo>
                <a:cubicBezTo>
                  <a:pt x="88" y="4"/>
                  <a:pt x="88" y="4"/>
                  <a:pt x="88" y="4"/>
                </a:cubicBezTo>
                <a:cubicBezTo>
                  <a:pt x="89" y="4"/>
                  <a:pt x="90" y="4"/>
                  <a:pt x="91" y="4"/>
                </a:cubicBezTo>
                <a:cubicBezTo>
                  <a:pt x="93" y="4"/>
                  <a:pt x="95" y="4"/>
                  <a:pt x="97" y="4"/>
                </a:cubicBezTo>
              </a:path>
            </a:pathLst>
          </a:custGeom>
          <a:solidFill>
            <a:srgbClr val="FFA5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37" name="任意多边形: 形状 436">
            <a:extLst>
              <a:ext uri="{FF2B5EF4-FFF2-40B4-BE49-F238E27FC236}">
                <a16:creationId xmlns:a16="http://schemas.microsoft.com/office/drawing/2014/main" id="{06FD6793-849F-4F83-ADC6-C52565210952}"/>
              </a:ext>
            </a:extLst>
          </p:cNvPr>
          <p:cNvSpPr>
            <a:spLocks/>
          </p:cNvSpPr>
          <p:nvPr/>
        </p:nvSpPr>
        <p:spPr bwMode="auto">
          <a:xfrm flipH="1">
            <a:off x="8623356" y="2418819"/>
            <a:ext cx="223838" cy="241300"/>
          </a:xfrm>
          <a:custGeom>
            <a:avLst/>
            <a:gdLst>
              <a:gd name="T0" fmla="*/ 68 w 68"/>
              <a:gd name="T1" fmla="*/ 36 h 73"/>
              <a:gd name="T2" fmla="*/ 67 w 68"/>
              <a:gd name="T3" fmla="*/ 42 h 73"/>
              <a:gd name="T4" fmla="*/ 35 w 68"/>
              <a:gd name="T5" fmla="*/ 73 h 73"/>
              <a:gd name="T6" fmla="*/ 0 w 68"/>
              <a:gd name="T7" fmla="*/ 37 h 73"/>
              <a:gd name="T8" fmla="*/ 33 w 68"/>
              <a:gd name="T9" fmla="*/ 0 h 73"/>
              <a:gd name="T10" fmla="*/ 33 w 68"/>
              <a:gd name="T11" fmla="*/ 0 h 73"/>
              <a:gd name="T12" fmla="*/ 68 w 68"/>
              <a:gd name="T13" fmla="*/ 36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8" h="73">
                <a:moveTo>
                  <a:pt x="68" y="36"/>
                </a:moveTo>
                <a:cubicBezTo>
                  <a:pt x="68" y="38"/>
                  <a:pt x="68" y="40"/>
                  <a:pt x="67" y="42"/>
                </a:cubicBezTo>
                <a:cubicBezTo>
                  <a:pt x="65" y="59"/>
                  <a:pt x="51" y="72"/>
                  <a:pt x="35" y="73"/>
                </a:cubicBezTo>
                <a:cubicBezTo>
                  <a:pt x="16" y="73"/>
                  <a:pt x="0" y="57"/>
                  <a:pt x="0" y="37"/>
                </a:cubicBezTo>
                <a:cubicBezTo>
                  <a:pt x="0" y="17"/>
                  <a:pt x="14" y="0"/>
                  <a:pt x="33" y="0"/>
                </a:cubicBezTo>
                <a:cubicBezTo>
                  <a:pt x="33" y="0"/>
                  <a:pt x="33" y="0"/>
                  <a:pt x="33" y="0"/>
                </a:cubicBezTo>
                <a:cubicBezTo>
                  <a:pt x="52" y="0"/>
                  <a:pt x="67" y="16"/>
                  <a:pt x="68" y="36"/>
                </a:cubicBezTo>
              </a:path>
            </a:pathLst>
          </a:custGeom>
          <a:solidFill>
            <a:srgbClr val="FFBEA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38" name="任意多边形: 形状 437">
            <a:extLst>
              <a:ext uri="{FF2B5EF4-FFF2-40B4-BE49-F238E27FC236}">
                <a16:creationId xmlns:a16="http://schemas.microsoft.com/office/drawing/2014/main" id="{074CD087-62F7-455D-A663-329527264A56}"/>
              </a:ext>
            </a:extLst>
          </p:cNvPr>
          <p:cNvSpPr>
            <a:spLocks/>
          </p:cNvSpPr>
          <p:nvPr/>
        </p:nvSpPr>
        <p:spPr bwMode="auto">
          <a:xfrm flipH="1">
            <a:off x="8678919" y="2479144"/>
            <a:ext cx="112713" cy="120650"/>
          </a:xfrm>
          <a:custGeom>
            <a:avLst/>
            <a:gdLst>
              <a:gd name="T0" fmla="*/ 34 w 34"/>
              <a:gd name="T1" fmla="*/ 18 h 37"/>
              <a:gd name="T2" fmla="*/ 17 w 34"/>
              <a:gd name="T3" fmla="*/ 36 h 37"/>
              <a:gd name="T4" fmla="*/ 0 w 34"/>
              <a:gd name="T5" fmla="*/ 19 h 37"/>
              <a:gd name="T6" fmla="*/ 17 w 34"/>
              <a:gd name="T7" fmla="*/ 0 h 37"/>
              <a:gd name="T8" fmla="*/ 34 w 34"/>
              <a:gd name="T9" fmla="*/ 18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4" h="37">
                <a:moveTo>
                  <a:pt x="34" y="18"/>
                </a:moveTo>
                <a:cubicBezTo>
                  <a:pt x="34" y="28"/>
                  <a:pt x="26" y="36"/>
                  <a:pt x="17" y="36"/>
                </a:cubicBezTo>
                <a:cubicBezTo>
                  <a:pt x="8" y="37"/>
                  <a:pt x="0" y="29"/>
                  <a:pt x="0" y="19"/>
                </a:cubicBezTo>
                <a:cubicBezTo>
                  <a:pt x="0" y="9"/>
                  <a:pt x="7" y="1"/>
                  <a:pt x="17" y="0"/>
                </a:cubicBezTo>
                <a:cubicBezTo>
                  <a:pt x="26" y="0"/>
                  <a:pt x="33" y="8"/>
                  <a:pt x="34" y="18"/>
                </a:cubicBezTo>
              </a:path>
            </a:pathLst>
          </a:custGeom>
          <a:solidFill>
            <a:srgbClr val="FFA5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39" name="任意多边形: 形状 438">
            <a:extLst>
              <a:ext uri="{FF2B5EF4-FFF2-40B4-BE49-F238E27FC236}">
                <a16:creationId xmlns:a16="http://schemas.microsoft.com/office/drawing/2014/main" id="{7C7AFF3D-FB93-4CF6-A1C8-D4839C15C906}"/>
              </a:ext>
            </a:extLst>
          </p:cNvPr>
          <p:cNvSpPr>
            <a:spLocks/>
          </p:cNvSpPr>
          <p:nvPr/>
        </p:nvSpPr>
        <p:spPr bwMode="auto">
          <a:xfrm flipH="1">
            <a:off x="8626531" y="2537881"/>
            <a:ext cx="138113" cy="122238"/>
          </a:xfrm>
          <a:custGeom>
            <a:avLst/>
            <a:gdLst>
              <a:gd name="T0" fmla="*/ 26 w 42"/>
              <a:gd name="T1" fmla="*/ 0 h 37"/>
              <a:gd name="T2" fmla="*/ 9 w 42"/>
              <a:gd name="T3" fmla="*/ 18 h 37"/>
              <a:gd name="T4" fmla="*/ 1 w 42"/>
              <a:gd name="T5" fmla="*/ 30 h 37"/>
              <a:gd name="T6" fmla="*/ 0 w 42"/>
              <a:gd name="T7" fmla="*/ 35 h 37"/>
              <a:gd name="T8" fmla="*/ 9 w 42"/>
              <a:gd name="T9" fmla="*/ 37 h 37"/>
              <a:gd name="T10" fmla="*/ 10 w 42"/>
              <a:gd name="T11" fmla="*/ 37 h 37"/>
              <a:gd name="T12" fmla="*/ 42 w 42"/>
              <a:gd name="T13" fmla="*/ 6 h 37"/>
              <a:gd name="T14" fmla="*/ 26 w 42"/>
              <a:gd name="T15" fmla="*/ 0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2" h="37">
                <a:moveTo>
                  <a:pt x="26" y="0"/>
                </a:moveTo>
                <a:cubicBezTo>
                  <a:pt x="26" y="10"/>
                  <a:pt x="19" y="18"/>
                  <a:pt x="9" y="18"/>
                </a:cubicBezTo>
                <a:cubicBezTo>
                  <a:pt x="7" y="23"/>
                  <a:pt x="4" y="27"/>
                  <a:pt x="1" y="30"/>
                </a:cubicBezTo>
                <a:cubicBezTo>
                  <a:pt x="0" y="32"/>
                  <a:pt x="0" y="34"/>
                  <a:pt x="0" y="35"/>
                </a:cubicBezTo>
                <a:cubicBezTo>
                  <a:pt x="2" y="36"/>
                  <a:pt x="6" y="37"/>
                  <a:pt x="9" y="37"/>
                </a:cubicBezTo>
                <a:cubicBezTo>
                  <a:pt x="9" y="37"/>
                  <a:pt x="9" y="37"/>
                  <a:pt x="10" y="37"/>
                </a:cubicBezTo>
                <a:cubicBezTo>
                  <a:pt x="26" y="36"/>
                  <a:pt x="40" y="23"/>
                  <a:pt x="42" y="6"/>
                </a:cubicBezTo>
                <a:cubicBezTo>
                  <a:pt x="36" y="5"/>
                  <a:pt x="30" y="3"/>
                  <a:pt x="26" y="0"/>
                </a:cubicBezTo>
              </a:path>
            </a:pathLst>
          </a:custGeom>
          <a:solidFill>
            <a:srgbClr val="FFA69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40" name="任意多边形: 形状 439">
            <a:extLst>
              <a:ext uri="{FF2B5EF4-FFF2-40B4-BE49-F238E27FC236}">
                <a16:creationId xmlns:a16="http://schemas.microsoft.com/office/drawing/2014/main" id="{2922CE24-8193-459F-9EE3-31A49A15D79D}"/>
              </a:ext>
            </a:extLst>
          </p:cNvPr>
          <p:cNvSpPr>
            <a:spLocks/>
          </p:cNvSpPr>
          <p:nvPr/>
        </p:nvSpPr>
        <p:spPr bwMode="auto">
          <a:xfrm flipH="1">
            <a:off x="8678919" y="2517244"/>
            <a:ext cx="55563" cy="79375"/>
          </a:xfrm>
          <a:custGeom>
            <a:avLst/>
            <a:gdLst>
              <a:gd name="T0" fmla="*/ 10 w 17"/>
              <a:gd name="T1" fmla="*/ 0 h 24"/>
              <a:gd name="T2" fmla="*/ 0 w 17"/>
              <a:gd name="T3" fmla="*/ 24 h 24"/>
              <a:gd name="T4" fmla="*/ 17 w 17"/>
              <a:gd name="T5" fmla="*/ 6 h 24"/>
              <a:gd name="T6" fmla="*/ 10 w 17"/>
              <a:gd name="T7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7" h="24">
                <a:moveTo>
                  <a:pt x="10" y="0"/>
                </a:moveTo>
                <a:cubicBezTo>
                  <a:pt x="7" y="10"/>
                  <a:pt x="4" y="18"/>
                  <a:pt x="0" y="24"/>
                </a:cubicBezTo>
                <a:cubicBezTo>
                  <a:pt x="10" y="24"/>
                  <a:pt x="17" y="16"/>
                  <a:pt x="17" y="6"/>
                </a:cubicBezTo>
                <a:cubicBezTo>
                  <a:pt x="14" y="4"/>
                  <a:pt x="12" y="2"/>
                  <a:pt x="10" y="0"/>
                </a:cubicBezTo>
              </a:path>
            </a:pathLst>
          </a:custGeom>
          <a:solidFill>
            <a:srgbClr val="FF887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41" name="任意多边形: 形状 440">
            <a:extLst>
              <a:ext uri="{FF2B5EF4-FFF2-40B4-BE49-F238E27FC236}">
                <a16:creationId xmlns:a16="http://schemas.microsoft.com/office/drawing/2014/main" id="{70E58DC9-1D40-449A-A6D6-45BAFCF5D646}"/>
              </a:ext>
            </a:extLst>
          </p:cNvPr>
          <p:cNvSpPr>
            <a:spLocks/>
          </p:cNvSpPr>
          <p:nvPr/>
        </p:nvSpPr>
        <p:spPr bwMode="auto">
          <a:xfrm flipH="1">
            <a:off x="9836207" y="2385481"/>
            <a:ext cx="250825" cy="260350"/>
          </a:xfrm>
          <a:custGeom>
            <a:avLst/>
            <a:gdLst>
              <a:gd name="T0" fmla="*/ 64 w 76"/>
              <a:gd name="T1" fmla="*/ 16 h 79"/>
              <a:gd name="T2" fmla="*/ 59 w 76"/>
              <a:gd name="T3" fmla="*/ 67 h 79"/>
              <a:gd name="T4" fmla="*/ 12 w 76"/>
              <a:gd name="T5" fmla="*/ 62 h 79"/>
              <a:gd name="T6" fmla="*/ 16 w 76"/>
              <a:gd name="T7" fmla="*/ 11 h 79"/>
              <a:gd name="T8" fmla="*/ 17 w 76"/>
              <a:gd name="T9" fmla="*/ 10 h 79"/>
              <a:gd name="T10" fmla="*/ 57 w 76"/>
              <a:gd name="T11" fmla="*/ 9 h 79"/>
              <a:gd name="T12" fmla="*/ 64 w 76"/>
              <a:gd name="T13" fmla="*/ 16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6" h="79">
                <a:moveTo>
                  <a:pt x="64" y="16"/>
                </a:moveTo>
                <a:cubicBezTo>
                  <a:pt x="76" y="31"/>
                  <a:pt x="74" y="54"/>
                  <a:pt x="59" y="67"/>
                </a:cubicBezTo>
                <a:cubicBezTo>
                  <a:pt x="45" y="79"/>
                  <a:pt x="24" y="77"/>
                  <a:pt x="12" y="62"/>
                </a:cubicBezTo>
                <a:cubicBezTo>
                  <a:pt x="0" y="46"/>
                  <a:pt x="2" y="24"/>
                  <a:pt x="16" y="11"/>
                </a:cubicBezTo>
                <a:cubicBezTo>
                  <a:pt x="17" y="10"/>
                  <a:pt x="17" y="10"/>
                  <a:pt x="17" y="10"/>
                </a:cubicBezTo>
                <a:cubicBezTo>
                  <a:pt x="29" y="0"/>
                  <a:pt x="45" y="0"/>
                  <a:pt x="57" y="9"/>
                </a:cubicBezTo>
                <a:cubicBezTo>
                  <a:pt x="60" y="11"/>
                  <a:pt x="62" y="13"/>
                  <a:pt x="64" y="16"/>
                </a:cubicBezTo>
              </a:path>
            </a:pathLst>
          </a:custGeom>
          <a:solidFill>
            <a:srgbClr val="FFBEA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42" name="任意多边形: 形状 441">
            <a:extLst>
              <a:ext uri="{FF2B5EF4-FFF2-40B4-BE49-F238E27FC236}">
                <a16:creationId xmlns:a16="http://schemas.microsoft.com/office/drawing/2014/main" id="{6C05AC32-3C4F-4C0E-ADB9-25F83629477C}"/>
              </a:ext>
            </a:extLst>
          </p:cNvPr>
          <p:cNvSpPr>
            <a:spLocks/>
          </p:cNvSpPr>
          <p:nvPr/>
        </p:nvSpPr>
        <p:spPr bwMode="auto">
          <a:xfrm flipH="1">
            <a:off x="9896531" y="2442631"/>
            <a:ext cx="131763" cy="141288"/>
          </a:xfrm>
          <a:custGeom>
            <a:avLst/>
            <a:gdLst>
              <a:gd name="T0" fmla="*/ 34 w 40"/>
              <a:gd name="T1" fmla="*/ 10 h 43"/>
              <a:gd name="T2" fmla="*/ 31 w 40"/>
              <a:gd name="T3" fmla="*/ 36 h 43"/>
              <a:gd name="T4" fmla="*/ 6 w 40"/>
              <a:gd name="T5" fmla="*/ 34 h 43"/>
              <a:gd name="T6" fmla="*/ 8 w 40"/>
              <a:gd name="T7" fmla="*/ 7 h 43"/>
              <a:gd name="T8" fmla="*/ 34 w 40"/>
              <a:gd name="T9" fmla="*/ 10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0" h="43">
                <a:moveTo>
                  <a:pt x="34" y="10"/>
                </a:moveTo>
                <a:cubicBezTo>
                  <a:pt x="40" y="18"/>
                  <a:pt x="39" y="30"/>
                  <a:pt x="31" y="36"/>
                </a:cubicBezTo>
                <a:cubicBezTo>
                  <a:pt x="24" y="43"/>
                  <a:pt x="12" y="42"/>
                  <a:pt x="6" y="34"/>
                </a:cubicBezTo>
                <a:cubicBezTo>
                  <a:pt x="0" y="26"/>
                  <a:pt x="1" y="14"/>
                  <a:pt x="8" y="7"/>
                </a:cubicBezTo>
                <a:cubicBezTo>
                  <a:pt x="16" y="0"/>
                  <a:pt x="27" y="2"/>
                  <a:pt x="34" y="10"/>
                </a:cubicBezTo>
              </a:path>
            </a:pathLst>
          </a:custGeom>
          <a:solidFill>
            <a:srgbClr val="FFA5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43" name="任意多边形: 形状 442">
            <a:extLst>
              <a:ext uri="{FF2B5EF4-FFF2-40B4-BE49-F238E27FC236}">
                <a16:creationId xmlns:a16="http://schemas.microsoft.com/office/drawing/2014/main" id="{481BE9EA-E20D-4B64-A077-FC28251FEC44}"/>
              </a:ext>
            </a:extLst>
          </p:cNvPr>
          <p:cNvSpPr>
            <a:spLocks/>
          </p:cNvSpPr>
          <p:nvPr/>
        </p:nvSpPr>
        <p:spPr bwMode="auto">
          <a:xfrm flipH="1">
            <a:off x="9921932" y="2418819"/>
            <a:ext cx="152400" cy="214313"/>
          </a:xfrm>
          <a:custGeom>
            <a:avLst/>
            <a:gdLst>
              <a:gd name="T0" fmla="*/ 13 w 46"/>
              <a:gd name="T1" fmla="*/ 0 h 65"/>
              <a:gd name="T2" fmla="*/ 13 w 46"/>
              <a:gd name="T3" fmla="*/ 0 h 65"/>
              <a:gd name="T4" fmla="*/ 12 w 46"/>
              <a:gd name="T5" fmla="*/ 1 h 65"/>
              <a:gd name="T6" fmla="*/ 0 w 46"/>
              <a:gd name="T7" fmla="*/ 29 h 65"/>
              <a:gd name="T8" fmla="*/ 8 w 46"/>
              <a:gd name="T9" fmla="*/ 52 h 65"/>
              <a:gd name="T10" fmla="*/ 34 w 46"/>
              <a:gd name="T11" fmla="*/ 65 h 65"/>
              <a:gd name="T12" fmla="*/ 46 w 46"/>
              <a:gd name="T13" fmla="*/ 63 h 65"/>
              <a:gd name="T14" fmla="*/ 42 w 46"/>
              <a:gd name="T15" fmla="*/ 46 h 65"/>
              <a:gd name="T16" fmla="*/ 34 w 46"/>
              <a:gd name="T17" fmla="*/ 48 h 65"/>
              <a:gd name="T18" fmla="*/ 20 w 46"/>
              <a:gd name="T19" fmla="*/ 41 h 65"/>
              <a:gd name="T20" fmla="*/ 22 w 46"/>
              <a:gd name="T21" fmla="*/ 14 h 65"/>
              <a:gd name="T22" fmla="*/ 34 w 46"/>
              <a:gd name="T23" fmla="*/ 10 h 65"/>
              <a:gd name="T24" fmla="*/ 38 w 46"/>
              <a:gd name="T25" fmla="*/ 10 h 65"/>
              <a:gd name="T26" fmla="*/ 38 w 46"/>
              <a:gd name="T27" fmla="*/ 9 h 65"/>
              <a:gd name="T28" fmla="*/ 37 w 46"/>
              <a:gd name="T29" fmla="*/ 8 h 65"/>
              <a:gd name="T30" fmla="*/ 32 w 46"/>
              <a:gd name="T31" fmla="*/ 8 h 65"/>
              <a:gd name="T32" fmla="*/ 13 w 46"/>
              <a:gd name="T33" fmla="*/ 0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6" h="65">
                <a:moveTo>
                  <a:pt x="13" y="0"/>
                </a:moveTo>
                <a:cubicBezTo>
                  <a:pt x="13" y="0"/>
                  <a:pt x="13" y="0"/>
                  <a:pt x="13" y="0"/>
                </a:cubicBezTo>
                <a:cubicBezTo>
                  <a:pt x="12" y="1"/>
                  <a:pt x="12" y="1"/>
                  <a:pt x="12" y="1"/>
                </a:cubicBezTo>
                <a:cubicBezTo>
                  <a:pt x="4" y="8"/>
                  <a:pt x="0" y="18"/>
                  <a:pt x="0" y="29"/>
                </a:cubicBezTo>
                <a:cubicBezTo>
                  <a:pt x="0" y="37"/>
                  <a:pt x="3" y="45"/>
                  <a:pt x="8" y="52"/>
                </a:cubicBezTo>
                <a:cubicBezTo>
                  <a:pt x="14" y="60"/>
                  <a:pt x="24" y="65"/>
                  <a:pt x="34" y="65"/>
                </a:cubicBezTo>
                <a:cubicBezTo>
                  <a:pt x="38" y="65"/>
                  <a:pt x="42" y="64"/>
                  <a:pt x="46" y="63"/>
                </a:cubicBezTo>
                <a:cubicBezTo>
                  <a:pt x="44" y="57"/>
                  <a:pt x="43" y="51"/>
                  <a:pt x="42" y="46"/>
                </a:cubicBezTo>
                <a:cubicBezTo>
                  <a:pt x="39" y="47"/>
                  <a:pt x="37" y="48"/>
                  <a:pt x="34" y="48"/>
                </a:cubicBezTo>
                <a:cubicBezTo>
                  <a:pt x="29" y="48"/>
                  <a:pt x="24" y="45"/>
                  <a:pt x="20" y="41"/>
                </a:cubicBezTo>
                <a:cubicBezTo>
                  <a:pt x="14" y="33"/>
                  <a:pt x="15" y="21"/>
                  <a:pt x="22" y="14"/>
                </a:cubicBezTo>
                <a:cubicBezTo>
                  <a:pt x="26" y="11"/>
                  <a:pt x="30" y="10"/>
                  <a:pt x="34" y="10"/>
                </a:cubicBezTo>
                <a:cubicBezTo>
                  <a:pt x="35" y="10"/>
                  <a:pt x="36" y="10"/>
                  <a:pt x="38" y="10"/>
                </a:cubicBezTo>
                <a:cubicBezTo>
                  <a:pt x="38" y="10"/>
                  <a:pt x="38" y="9"/>
                  <a:pt x="38" y="9"/>
                </a:cubicBezTo>
                <a:cubicBezTo>
                  <a:pt x="37" y="8"/>
                  <a:pt x="37" y="8"/>
                  <a:pt x="37" y="8"/>
                </a:cubicBezTo>
                <a:cubicBezTo>
                  <a:pt x="35" y="8"/>
                  <a:pt x="33" y="8"/>
                  <a:pt x="32" y="8"/>
                </a:cubicBezTo>
                <a:cubicBezTo>
                  <a:pt x="23" y="8"/>
                  <a:pt x="17" y="4"/>
                  <a:pt x="13" y="0"/>
                </a:cubicBezTo>
              </a:path>
            </a:pathLst>
          </a:custGeom>
          <a:solidFill>
            <a:srgbClr val="FFA69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44" name="任意多边形: 形状 443">
            <a:extLst>
              <a:ext uri="{FF2B5EF4-FFF2-40B4-BE49-F238E27FC236}">
                <a16:creationId xmlns:a16="http://schemas.microsoft.com/office/drawing/2014/main" id="{42A16F64-8BC0-47F1-8339-A34908A87200}"/>
              </a:ext>
            </a:extLst>
          </p:cNvPr>
          <p:cNvSpPr>
            <a:spLocks/>
          </p:cNvSpPr>
          <p:nvPr/>
        </p:nvSpPr>
        <p:spPr bwMode="auto">
          <a:xfrm flipH="1">
            <a:off x="9936219" y="2452156"/>
            <a:ext cx="92075" cy="125413"/>
          </a:xfrm>
          <a:custGeom>
            <a:avLst/>
            <a:gdLst>
              <a:gd name="T0" fmla="*/ 20 w 28"/>
              <a:gd name="T1" fmla="*/ 0 h 38"/>
              <a:gd name="T2" fmla="*/ 8 w 28"/>
              <a:gd name="T3" fmla="*/ 4 h 38"/>
              <a:gd name="T4" fmla="*/ 6 w 28"/>
              <a:gd name="T5" fmla="*/ 31 h 38"/>
              <a:gd name="T6" fmla="*/ 20 w 28"/>
              <a:gd name="T7" fmla="*/ 38 h 38"/>
              <a:gd name="T8" fmla="*/ 28 w 28"/>
              <a:gd name="T9" fmla="*/ 36 h 38"/>
              <a:gd name="T10" fmla="*/ 24 w 28"/>
              <a:gd name="T11" fmla="*/ 0 h 38"/>
              <a:gd name="T12" fmla="*/ 20 w 28"/>
              <a:gd name="T13" fmla="*/ 0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8" h="38">
                <a:moveTo>
                  <a:pt x="20" y="0"/>
                </a:moveTo>
                <a:cubicBezTo>
                  <a:pt x="16" y="0"/>
                  <a:pt x="12" y="1"/>
                  <a:pt x="8" y="4"/>
                </a:cubicBezTo>
                <a:cubicBezTo>
                  <a:pt x="1" y="11"/>
                  <a:pt x="0" y="23"/>
                  <a:pt x="6" y="31"/>
                </a:cubicBezTo>
                <a:cubicBezTo>
                  <a:pt x="10" y="35"/>
                  <a:pt x="15" y="38"/>
                  <a:pt x="20" y="38"/>
                </a:cubicBezTo>
                <a:cubicBezTo>
                  <a:pt x="23" y="38"/>
                  <a:pt x="25" y="37"/>
                  <a:pt x="28" y="36"/>
                </a:cubicBezTo>
                <a:cubicBezTo>
                  <a:pt x="26" y="24"/>
                  <a:pt x="24" y="12"/>
                  <a:pt x="24" y="0"/>
                </a:cubicBezTo>
                <a:cubicBezTo>
                  <a:pt x="22" y="0"/>
                  <a:pt x="21" y="0"/>
                  <a:pt x="20" y="0"/>
                </a:cubicBezTo>
              </a:path>
            </a:pathLst>
          </a:custGeom>
          <a:solidFill>
            <a:srgbClr val="FF887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45" name="任意多边形: 形状 444">
            <a:extLst>
              <a:ext uri="{FF2B5EF4-FFF2-40B4-BE49-F238E27FC236}">
                <a16:creationId xmlns:a16="http://schemas.microsoft.com/office/drawing/2014/main" id="{3C0C8BB7-2519-4AEB-A11A-988FCCB5DF1F}"/>
              </a:ext>
            </a:extLst>
          </p:cNvPr>
          <p:cNvSpPr>
            <a:spLocks/>
          </p:cNvSpPr>
          <p:nvPr/>
        </p:nvSpPr>
        <p:spPr bwMode="auto">
          <a:xfrm flipH="1">
            <a:off x="8728131" y="1582206"/>
            <a:ext cx="1223963" cy="1595438"/>
          </a:xfrm>
          <a:custGeom>
            <a:avLst/>
            <a:gdLst>
              <a:gd name="T0" fmla="*/ 0 w 371"/>
              <a:gd name="T1" fmla="*/ 240 h 484"/>
              <a:gd name="T2" fmla="*/ 0 w 371"/>
              <a:gd name="T3" fmla="*/ 257 h 484"/>
              <a:gd name="T4" fmla="*/ 1 w 371"/>
              <a:gd name="T5" fmla="*/ 263 h 484"/>
              <a:gd name="T6" fmla="*/ 14 w 371"/>
              <a:gd name="T7" fmla="*/ 335 h 484"/>
              <a:gd name="T8" fmla="*/ 111 w 371"/>
              <a:gd name="T9" fmla="*/ 464 h 484"/>
              <a:gd name="T10" fmla="*/ 183 w 371"/>
              <a:gd name="T11" fmla="*/ 484 h 484"/>
              <a:gd name="T12" fmla="*/ 223 w 371"/>
              <a:gd name="T13" fmla="*/ 479 h 484"/>
              <a:gd name="T14" fmla="*/ 301 w 371"/>
              <a:gd name="T15" fmla="*/ 430 h 484"/>
              <a:gd name="T16" fmla="*/ 362 w 371"/>
              <a:gd name="T17" fmla="*/ 318 h 484"/>
              <a:gd name="T18" fmla="*/ 370 w 371"/>
              <a:gd name="T19" fmla="*/ 269 h 484"/>
              <a:gd name="T20" fmla="*/ 371 w 371"/>
              <a:gd name="T21" fmla="*/ 244 h 484"/>
              <a:gd name="T22" fmla="*/ 371 w 371"/>
              <a:gd name="T23" fmla="*/ 237 h 484"/>
              <a:gd name="T24" fmla="*/ 371 w 371"/>
              <a:gd name="T25" fmla="*/ 234 h 484"/>
              <a:gd name="T26" fmla="*/ 371 w 371"/>
              <a:gd name="T27" fmla="*/ 230 h 484"/>
              <a:gd name="T28" fmla="*/ 370 w 371"/>
              <a:gd name="T29" fmla="*/ 211 h 484"/>
              <a:gd name="T30" fmla="*/ 348 w 371"/>
              <a:gd name="T31" fmla="*/ 123 h 484"/>
              <a:gd name="T32" fmla="*/ 274 w 371"/>
              <a:gd name="T33" fmla="*/ 28 h 484"/>
              <a:gd name="T34" fmla="*/ 188 w 371"/>
              <a:gd name="T35" fmla="*/ 0 h 484"/>
              <a:gd name="T36" fmla="*/ 146 w 371"/>
              <a:gd name="T37" fmla="*/ 6 h 484"/>
              <a:gd name="T38" fmla="*/ 8 w 371"/>
              <a:gd name="T39" fmla="*/ 171 h 484"/>
              <a:gd name="T40" fmla="*/ 0 w 371"/>
              <a:gd name="T41" fmla="*/ 240 h 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371" h="484">
                <a:moveTo>
                  <a:pt x="0" y="240"/>
                </a:moveTo>
                <a:cubicBezTo>
                  <a:pt x="0" y="246"/>
                  <a:pt x="0" y="251"/>
                  <a:pt x="0" y="257"/>
                </a:cubicBezTo>
                <a:cubicBezTo>
                  <a:pt x="0" y="259"/>
                  <a:pt x="0" y="261"/>
                  <a:pt x="1" y="263"/>
                </a:cubicBezTo>
                <a:cubicBezTo>
                  <a:pt x="2" y="288"/>
                  <a:pt x="7" y="312"/>
                  <a:pt x="14" y="335"/>
                </a:cubicBezTo>
                <a:cubicBezTo>
                  <a:pt x="32" y="393"/>
                  <a:pt x="67" y="439"/>
                  <a:pt x="111" y="464"/>
                </a:cubicBezTo>
                <a:cubicBezTo>
                  <a:pt x="133" y="477"/>
                  <a:pt x="157" y="484"/>
                  <a:pt x="183" y="484"/>
                </a:cubicBezTo>
                <a:cubicBezTo>
                  <a:pt x="197" y="484"/>
                  <a:pt x="210" y="482"/>
                  <a:pt x="223" y="479"/>
                </a:cubicBezTo>
                <a:cubicBezTo>
                  <a:pt x="252" y="471"/>
                  <a:pt x="279" y="454"/>
                  <a:pt x="301" y="430"/>
                </a:cubicBezTo>
                <a:cubicBezTo>
                  <a:pt x="329" y="401"/>
                  <a:pt x="350" y="363"/>
                  <a:pt x="362" y="318"/>
                </a:cubicBezTo>
                <a:cubicBezTo>
                  <a:pt x="366" y="302"/>
                  <a:pt x="368" y="286"/>
                  <a:pt x="370" y="269"/>
                </a:cubicBezTo>
                <a:cubicBezTo>
                  <a:pt x="371" y="261"/>
                  <a:pt x="371" y="252"/>
                  <a:pt x="371" y="244"/>
                </a:cubicBezTo>
                <a:cubicBezTo>
                  <a:pt x="371" y="242"/>
                  <a:pt x="371" y="240"/>
                  <a:pt x="371" y="237"/>
                </a:cubicBezTo>
                <a:cubicBezTo>
                  <a:pt x="371" y="236"/>
                  <a:pt x="371" y="235"/>
                  <a:pt x="371" y="234"/>
                </a:cubicBezTo>
                <a:cubicBezTo>
                  <a:pt x="371" y="232"/>
                  <a:pt x="371" y="231"/>
                  <a:pt x="371" y="230"/>
                </a:cubicBezTo>
                <a:cubicBezTo>
                  <a:pt x="371" y="223"/>
                  <a:pt x="370" y="217"/>
                  <a:pt x="370" y="211"/>
                </a:cubicBezTo>
                <a:cubicBezTo>
                  <a:pt x="367" y="180"/>
                  <a:pt x="359" y="150"/>
                  <a:pt x="348" y="123"/>
                </a:cubicBezTo>
                <a:cubicBezTo>
                  <a:pt x="331" y="83"/>
                  <a:pt x="305" y="50"/>
                  <a:pt x="274" y="28"/>
                </a:cubicBezTo>
                <a:cubicBezTo>
                  <a:pt x="248" y="10"/>
                  <a:pt x="219" y="0"/>
                  <a:pt x="188" y="0"/>
                </a:cubicBezTo>
                <a:cubicBezTo>
                  <a:pt x="174" y="0"/>
                  <a:pt x="160" y="2"/>
                  <a:pt x="146" y="6"/>
                </a:cubicBezTo>
                <a:cubicBezTo>
                  <a:pt x="81" y="24"/>
                  <a:pt x="28" y="88"/>
                  <a:pt x="8" y="171"/>
                </a:cubicBezTo>
                <a:cubicBezTo>
                  <a:pt x="3" y="193"/>
                  <a:pt x="0" y="216"/>
                  <a:pt x="0" y="240"/>
                </a:cubicBezTo>
              </a:path>
            </a:pathLst>
          </a:custGeom>
          <a:solidFill>
            <a:srgbClr val="FFBEA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46" name="任意多边形: 形状 445">
            <a:extLst>
              <a:ext uri="{FF2B5EF4-FFF2-40B4-BE49-F238E27FC236}">
                <a16:creationId xmlns:a16="http://schemas.microsoft.com/office/drawing/2014/main" id="{28CE9069-6E8C-4B0F-96EB-504C2EF212CA}"/>
              </a:ext>
            </a:extLst>
          </p:cNvPr>
          <p:cNvSpPr>
            <a:spLocks/>
          </p:cNvSpPr>
          <p:nvPr/>
        </p:nvSpPr>
        <p:spPr bwMode="auto">
          <a:xfrm flipH="1">
            <a:off x="9404407" y="2553756"/>
            <a:ext cx="501650" cy="557213"/>
          </a:xfrm>
          <a:custGeom>
            <a:avLst/>
            <a:gdLst>
              <a:gd name="T0" fmla="*/ 97 w 152"/>
              <a:gd name="T1" fmla="*/ 169 h 169"/>
              <a:gd name="T2" fmla="*/ 0 w 152"/>
              <a:gd name="T3" fmla="*/ 40 h 169"/>
              <a:gd name="T4" fmla="*/ 71 w 152"/>
              <a:gd name="T5" fmla="*/ 0 h 169"/>
              <a:gd name="T6" fmla="*/ 151 w 152"/>
              <a:gd name="T7" fmla="*/ 88 h 169"/>
              <a:gd name="T8" fmla="*/ 97 w 152"/>
              <a:gd name="T9" fmla="*/ 169 h 1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2" h="169">
                <a:moveTo>
                  <a:pt x="97" y="169"/>
                </a:moveTo>
                <a:cubicBezTo>
                  <a:pt x="53" y="144"/>
                  <a:pt x="18" y="98"/>
                  <a:pt x="0" y="40"/>
                </a:cubicBezTo>
                <a:cubicBezTo>
                  <a:pt x="17" y="19"/>
                  <a:pt x="46" y="0"/>
                  <a:pt x="71" y="0"/>
                </a:cubicBezTo>
                <a:cubicBezTo>
                  <a:pt x="116" y="0"/>
                  <a:pt x="152" y="40"/>
                  <a:pt x="151" y="88"/>
                </a:cubicBezTo>
                <a:cubicBezTo>
                  <a:pt x="151" y="126"/>
                  <a:pt x="128" y="157"/>
                  <a:pt x="97" y="169"/>
                </a:cubicBezTo>
                <a:close/>
              </a:path>
            </a:pathLst>
          </a:custGeom>
          <a:solidFill>
            <a:srgbClr val="FFA5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47" name="任意多边形: 形状 446">
            <a:extLst>
              <a:ext uri="{FF2B5EF4-FFF2-40B4-BE49-F238E27FC236}">
                <a16:creationId xmlns:a16="http://schemas.microsoft.com/office/drawing/2014/main" id="{1E57A635-72AA-45FC-A4CB-2EBF77182F84}"/>
              </a:ext>
            </a:extLst>
          </p:cNvPr>
          <p:cNvSpPr>
            <a:spLocks/>
          </p:cNvSpPr>
          <p:nvPr/>
        </p:nvSpPr>
        <p:spPr bwMode="auto">
          <a:xfrm flipH="1">
            <a:off x="8758294" y="2626781"/>
            <a:ext cx="236538" cy="373063"/>
          </a:xfrm>
          <a:custGeom>
            <a:avLst/>
            <a:gdLst>
              <a:gd name="T0" fmla="*/ 72 w 72"/>
              <a:gd name="T1" fmla="*/ 1 h 113"/>
              <a:gd name="T2" fmla="*/ 11 w 72"/>
              <a:gd name="T3" fmla="*/ 113 h 113"/>
              <a:gd name="T4" fmla="*/ 0 w 72"/>
              <a:gd name="T5" fmla="*/ 72 h 113"/>
              <a:gd name="T6" fmla="*/ 68 w 72"/>
              <a:gd name="T7" fmla="*/ 1 h 113"/>
              <a:gd name="T8" fmla="*/ 72 w 72"/>
              <a:gd name="T9" fmla="*/ 1 h 1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2" h="113">
                <a:moveTo>
                  <a:pt x="72" y="1"/>
                </a:moveTo>
                <a:cubicBezTo>
                  <a:pt x="60" y="46"/>
                  <a:pt x="39" y="84"/>
                  <a:pt x="11" y="113"/>
                </a:cubicBezTo>
                <a:cubicBezTo>
                  <a:pt x="4" y="102"/>
                  <a:pt x="0" y="88"/>
                  <a:pt x="0" y="72"/>
                </a:cubicBezTo>
                <a:cubicBezTo>
                  <a:pt x="0" y="32"/>
                  <a:pt x="31" y="0"/>
                  <a:pt x="68" y="1"/>
                </a:cubicBezTo>
                <a:cubicBezTo>
                  <a:pt x="69" y="1"/>
                  <a:pt x="70" y="1"/>
                  <a:pt x="72" y="1"/>
                </a:cubicBezTo>
                <a:close/>
              </a:path>
            </a:pathLst>
          </a:custGeom>
          <a:solidFill>
            <a:srgbClr val="FFA5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48" name="任意多边形: 形状 447">
            <a:extLst>
              <a:ext uri="{FF2B5EF4-FFF2-40B4-BE49-F238E27FC236}">
                <a16:creationId xmlns:a16="http://schemas.microsoft.com/office/drawing/2014/main" id="{7F39D112-D9CE-4A0C-9E50-B0F769116764}"/>
              </a:ext>
            </a:extLst>
          </p:cNvPr>
          <p:cNvSpPr>
            <a:spLocks/>
          </p:cNvSpPr>
          <p:nvPr/>
        </p:nvSpPr>
        <p:spPr bwMode="auto">
          <a:xfrm flipH="1">
            <a:off x="8388406" y="1404406"/>
            <a:ext cx="1804988" cy="1271588"/>
          </a:xfrm>
          <a:custGeom>
            <a:avLst/>
            <a:gdLst>
              <a:gd name="T0" fmla="*/ 450 w 547"/>
              <a:gd name="T1" fmla="*/ 237 h 386"/>
              <a:gd name="T2" fmla="*/ 419 w 547"/>
              <a:gd name="T3" fmla="*/ 386 h 386"/>
              <a:gd name="T4" fmla="*/ 433 w 547"/>
              <a:gd name="T5" fmla="*/ 337 h 386"/>
              <a:gd name="T6" fmla="*/ 413 w 547"/>
              <a:gd name="T7" fmla="*/ 239 h 386"/>
              <a:gd name="T8" fmla="*/ 402 w 547"/>
              <a:gd name="T9" fmla="*/ 239 h 386"/>
              <a:gd name="T10" fmla="*/ 264 w 547"/>
              <a:gd name="T11" fmla="*/ 226 h 386"/>
              <a:gd name="T12" fmla="*/ 264 w 547"/>
              <a:gd name="T13" fmla="*/ 226 h 386"/>
              <a:gd name="T14" fmla="*/ 264 w 547"/>
              <a:gd name="T15" fmla="*/ 226 h 386"/>
              <a:gd name="T16" fmla="*/ 171 w 547"/>
              <a:gd name="T17" fmla="*/ 205 h 386"/>
              <a:gd name="T18" fmla="*/ 122 w 547"/>
              <a:gd name="T19" fmla="*/ 234 h 386"/>
              <a:gd name="T20" fmla="*/ 122 w 547"/>
              <a:gd name="T21" fmla="*/ 234 h 386"/>
              <a:gd name="T22" fmla="*/ 122 w 547"/>
              <a:gd name="T23" fmla="*/ 234 h 386"/>
              <a:gd name="T24" fmla="*/ 122 w 547"/>
              <a:gd name="T25" fmla="*/ 234 h 386"/>
              <a:gd name="T26" fmla="*/ 122 w 547"/>
              <a:gd name="T27" fmla="*/ 380 h 386"/>
              <a:gd name="T28" fmla="*/ 73 w 547"/>
              <a:gd name="T29" fmla="*/ 311 h 386"/>
              <a:gd name="T30" fmla="*/ 264 w 547"/>
              <a:gd name="T31" fmla="*/ 12 h 386"/>
              <a:gd name="T32" fmla="*/ 413 w 547"/>
              <a:gd name="T33" fmla="*/ 67 h 386"/>
              <a:gd name="T34" fmla="*/ 465 w 547"/>
              <a:gd name="T35" fmla="*/ 99 h 386"/>
              <a:gd name="T36" fmla="*/ 541 w 547"/>
              <a:gd name="T37" fmla="*/ 154 h 386"/>
              <a:gd name="T38" fmla="*/ 481 w 547"/>
              <a:gd name="T39" fmla="*/ 187 h 386"/>
              <a:gd name="T40" fmla="*/ 547 w 547"/>
              <a:gd name="T41" fmla="*/ 215 h 386"/>
              <a:gd name="T42" fmla="*/ 450 w 547"/>
              <a:gd name="T43" fmla="*/ 237 h 3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47" h="386">
                <a:moveTo>
                  <a:pt x="450" y="237"/>
                </a:moveTo>
                <a:cubicBezTo>
                  <a:pt x="475" y="366"/>
                  <a:pt x="419" y="386"/>
                  <a:pt x="419" y="386"/>
                </a:cubicBezTo>
                <a:cubicBezTo>
                  <a:pt x="419" y="386"/>
                  <a:pt x="425" y="372"/>
                  <a:pt x="433" y="337"/>
                </a:cubicBezTo>
                <a:cubicBezTo>
                  <a:pt x="440" y="302"/>
                  <a:pt x="413" y="239"/>
                  <a:pt x="413" y="239"/>
                </a:cubicBezTo>
                <a:cubicBezTo>
                  <a:pt x="409" y="239"/>
                  <a:pt x="406" y="239"/>
                  <a:pt x="402" y="239"/>
                </a:cubicBezTo>
                <a:cubicBezTo>
                  <a:pt x="354" y="239"/>
                  <a:pt x="306" y="234"/>
                  <a:pt x="264" y="226"/>
                </a:cubicBezTo>
                <a:cubicBezTo>
                  <a:pt x="264" y="226"/>
                  <a:pt x="264" y="226"/>
                  <a:pt x="264" y="226"/>
                </a:cubicBezTo>
                <a:cubicBezTo>
                  <a:pt x="264" y="226"/>
                  <a:pt x="264" y="226"/>
                  <a:pt x="264" y="226"/>
                </a:cubicBezTo>
                <a:cubicBezTo>
                  <a:pt x="227" y="220"/>
                  <a:pt x="195" y="212"/>
                  <a:pt x="171" y="205"/>
                </a:cubicBezTo>
                <a:cubicBezTo>
                  <a:pt x="156" y="250"/>
                  <a:pt x="122" y="234"/>
                  <a:pt x="122" y="234"/>
                </a:cubicBezTo>
                <a:cubicBezTo>
                  <a:pt x="122" y="234"/>
                  <a:pt x="122" y="234"/>
                  <a:pt x="122" y="234"/>
                </a:cubicBezTo>
                <a:cubicBezTo>
                  <a:pt x="122" y="234"/>
                  <a:pt x="122" y="234"/>
                  <a:pt x="122" y="234"/>
                </a:cubicBezTo>
                <a:cubicBezTo>
                  <a:pt x="122" y="234"/>
                  <a:pt x="122" y="234"/>
                  <a:pt x="122" y="234"/>
                </a:cubicBezTo>
                <a:cubicBezTo>
                  <a:pt x="122" y="380"/>
                  <a:pt x="122" y="380"/>
                  <a:pt x="122" y="380"/>
                </a:cubicBezTo>
                <a:cubicBezTo>
                  <a:pt x="122" y="380"/>
                  <a:pt x="78" y="369"/>
                  <a:pt x="73" y="311"/>
                </a:cubicBezTo>
                <a:cubicBezTo>
                  <a:pt x="0" y="82"/>
                  <a:pt x="175" y="0"/>
                  <a:pt x="264" y="12"/>
                </a:cubicBezTo>
                <a:cubicBezTo>
                  <a:pt x="314" y="18"/>
                  <a:pt x="367" y="42"/>
                  <a:pt x="413" y="67"/>
                </a:cubicBezTo>
                <a:cubicBezTo>
                  <a:pt x="432" y="78"/>
                  <a:pt x="449" y="89"/>
                  <a:pt x="465" y="99"/>
                </a:cubicBezTo>
                <a:cubicBezTo>
                  <a:pt x="510" y="129"/>
                  <a:pt x="541" y="154"/>
                  <a:pt x="541" y="154"/>
                </a:cubicBezTo>
                <a:cubicBezTo>
                  <a:pt x="536" y="181"/>
                  <a:pt x="481" y="187"/>
                  <a:pt x="481" y="187"/>
                </a:cubicBezTo>
                <a:cubicBezTo>
                  <a:pt x="492" y="202"/>
                  <a:pt x="547" y="215"/>
                  <a:pt x="547" y="215"/>
                </a:cubicBezTo>
                <a:cubicBezTo>
                  <a:pt x="517" y="227"/>
                  <a:pt x="484" y="234"/>
                  <a:pt x="450" y="237"/>
                </a:cubicBezTo>
              </a:path>
            </a:pathLst>
          </a:custGeom>
          <a:solidFill>
            <a:srgbClr val="E62F3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49" name="任意多边形: 形状 448">
            <a:extLst>
              <a:ext uri="{FF2B5EF4-FFF2-40B4-BE49-F238E27FC236}">
                <a16:creationId xmlns:a16="http://schemas.microsoft.com/office/drawing/2014/main" id="{B0219DBE-77E0-4A8E-9C35-19684289DCCB}"/>
              </a:ext>
            </a:extLst>
          </p:cNvPr>
          <p:cNvSpPr>
            <a:spLocks/>
          </p:cNvSpPr>
          <p:nvPr/>
        </p:nvSpPr>
        <p:spPr bwMode="auto">
          <a:xfrm flipH="1">
            <a:off x="9764769" y="2133069"/>
            <a:ext cx="236538" cy="255588"/>
          </a:xfrm>
          <a:custGeom>
            <a:avLst/>
            <a:gdLst>
              <a:gd name="T0" fmla="*/ 64 w 72"/>
              <a:gd name="T1" fmla="*/ 13 h 78"/>
              <a:gd name="T2" fmla="*/ 64 w 72"/>
              <a:gd name="T3" fmla="*/ 13 h 78"/>
              <a:gd name="T4" fmla="*/ 64 w 72"/>
              <a:gd name="T5" fmla="*/ 13 h 78"/>
              <a:gd name="T6" fmla="*/ 72 w 72"/>
              <a:gd name="T7" fmla="*/ 15 h 78"/>
              <a:gd name="T8" fmla="*/ 69 w 72"/>
              <a:gd name="T9" fmla="*/ 0 h 78"/>
              <a:gd name="T10" fmla="*/ 0 w 72"/>
              <a:gd name="T11" fmla="*/ 24 h 78"/>
              <a:gd name="T12" fmla="*/ 12 w 72"/>
              <a:gd name="T13" fmla="*/ 78 h 78"/>
              <a:gd name="T14" fmla="*/ 64 w 72"/>
              <a:gd name="T15" fmla="*/ 61 h 78"/>
              <a:gd name="T16" fmla="*/ 64 w 72"/>
              <a:gd name="T17" fmla="*/ 13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2" h="78">
                <a:moveTo>
                  <a:pt x="64" y="13"/>
                </a:moveTo>
                <a:cubicBezTo>
                  <a:pt x="64" y="13"/>
                  <a:pt x="64" y="13"/>
                  <a:pt x="64" y="13"/>
                </a:cubicBezTo>
                <a:cubicBezTo>
                  <a:pt x="64" y="13"/>
                  <a:pt x="64" y="13"/>
                  <a:pt x="64" y="13"/>
                </a:cubicBezTo>
                <a:cubicBezTo>
                  <a:pt x="64" y="13"/>
                  <a:pt x="67" y="14"/>
                  <a:pt x="72" y="15"/>
                </a:cubicBezTo>
                <a:cubicBezTo>
                  <a:pt x="71" y="6"/>
                  <a:pt x="69" y="0"/>
                  <a:pt x="69" y="0"/>
                </a:cubicBezTo>
                <a:cubicBezTo>
                  <a:pt x="0" y="24"/>
                  <a:pt x="0" y="24"/>
                  <a:pt x="0" y="24"/>
                </a:cubicBezTo>
                <a:cubicBezTo>
                  <a:pt x="2" y="41"/>
                  <a:pt x="6" y="59"/>
                  <a:pt x="12" y="78"/>
                </a:cubicBezTo>
                <a:cubicBezTo>
                  <a:pt x="38" y="73"/>
                  <a:pt x="64" y="61"/>
                  <a:pt x="64" y="61"/>
                </a:cubicBezTo>
                <a:cubicBezTo>
                  <a:pt x="64" y="13"/>
                  <a:pt x="64" y="13"/>
                  <a:pt x="64" y="13"/>
                </a:cubicBezTo>
                <a:close/>
              </a:path>
            </a:pathLst>
          </a:custGeom>
          <a:solidFill>
            <a:srgbClr val="CF27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50" name="任意多边形: 形状 449">
            <a:extLst>
              <a:ext uri="{FF2B5EF4-FFF2-40B4-BE49-F238E27FC236}">
                <a16:creationId xmlns:a16="http://schemas.microsoft.com/office/drawing/2014/main" id="{7777B6A1-E95D-4753-AA1A-FE95075E1019}"/>
              </a:ext>
            </a:extLst>
          </p:cNvPr>
          <p:cNvSpPr>
            <a:spLocks/>
          </p:cNvSpPr>
          <p:nvPr/>
        </p:nvSpPr>
        <p:spPr bwMode="auto">
          <a:xfrm flipH="1">
            <a:off x="8658282" y="1625069"/>
            <a:ext cx="663575" cy="523875"/>
          </a:xfrm>
          <a:custGeom>
            <a:avLst/>
            <a:gdLst>
              <a:gd name="T0" fmla="*/ 201 w 201"/>
              <a:gd name="T1" fmla="*/ 32 h 159"/>
              <a:gd name="T2" fmla="*/ 0 w 201"/>
              <a:gd name="T3" fmla="*/ 159 h 159"/>
              <a:gd name="T4" fmla="*/ 0 w 201"/>
              <a:gd name="T5" fmla="*/ 159 h 159"/>
              <a:gd name="T6" fmla="*/ 0 w 201"/>
              <a:gd name="T7" fmla="*/ 159 h 159"/>
              <a:gd name="T8" fmla="*/ 0 w 201"/>
              <a:gd name="T9" fmla="*/ 159 h 159"/>
              <a:gd name="T10" fmla="*/ 149 w 201"/>
              <a:gd name="T11" fmla="*/ 0 h 159"/>
              <a:gd name="T12" fmla="*/ 201 w 201"/>
              <a:gd name="T13" fmla="*/ 32 h 1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01" h="159">
                <a:moveTo>
                  <a:pt x="201" y="32"/>
                </a:moveTo>
                <a:cubicBezTo>
                  <a:pt x="153" y="131"/>
                  <a:pt x="5" y="158"/>
                  <a:pt x="0" y="159"/>
                </a:cubicBezTo>
                <a:cubicBezTo>
                  <a:pt x="0" y="159"/>
                  <a:pt x="0" y="159"/>
                  <a:pt x="0" y="159"/>
                </a:cubicBezTo>
                <a:cubicBezTo>
                  <a:pt x="0" y="159"/>
                  <a:pt x="0" y="159"/>
                  <a:pt x="0" y="159"/>
                </a:cubicBezTo>
                <a:cubicBezTo>
                  <a:pt x="0" y="159"/>
                  <a:pt x="0" y="159"/>
                  <a:pt x="0" y="159"/>
                </a:cubicBezTo>
                <a:cubicBezTo>
                  <a:pt x="149" y="0"/>
                  <a:pt x="149" y="0"/>
                  <a:pt x="149" y="0"/>
                </a:cubicBezTo>
                <a:cubicBezTo>
                  <a:pt x="168" y="11"/>
                  <a:pt x="185" y="22"/>
                  <a:pt x="201" y="32"/>
                </a:cubicBezTo>
                <a:close/>
              </a:path>
            </a:pathLst>
          </a:custGeom>
          <a:solidFill>
            <a:srgbClr val="CF27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51" name="任意多边形: 形状 450">
            <a:extLst>
              <a:ext uri="{FF2B5EF4-FFF2-40B4-BE49-F238E27FC236}">
                <a16:creationId xmlns:a16="http://schemas.microsoft.com/office/drawing/2014/main" id="{CAF5B998-8223-4734-A4AC-4A3AE786E3E7}"/>
              </a:ext>
            </a:extLst>
          </p:cNvPr>
          <p:cNvSpPr>
            <a:spLocks/>
          </p:cNvSpPr>
          <p:nvPr/>
        </p:nvSpPr>
        <p:spPr bwMode="auto">
          <a:xfrm flipH="1">
            <a:off x="8902756" y="2428344"/>
            <a:ext cx="188913" cy="119063"/>
          </a:xfrm>
          <a:custGeom>
            <a:avLst/>
            <a:gdLst>
              <a:gd name="T0" fmla="*/ 28 w 57"/>
              <a:gd name="T1" fmla="*/ 36 h 36"/>
              <a:gd name="T2" fmla="*/ 0 w 57"/>
              <a:gd name="T3" fmla="*/ 6 h 36"/>
              <a:gd name="T4" fmla="*/ 5 w 57"/>
              <a:gd name="T5" fmla="*/ 0 h 36"/>
              <a:gd name="T6" fmla="*/ 11 w 57"/>
              <a:gd name="T7" fmla="*/ 6 h 36"/>
              <a:gd name="T8" fmla="*/ 28 w 57"/>
              <a:gd name="T9" fmla="*/ 24 h 36"/>
              <a:gd name="T10" fmla="*/ 46 w 57"/>
              <a:gd name="T11" fmla="*/ 6 h 36"/>
              <a:gd name="T12" fmla="*/ 51 w 57"/>
              <a:gd name="T13" fmla="*/ 0 h 36"/>
              <a:gd name="T14" fmla="*/ 56 w 57"/>
              <a:gd name="T15" fmla="*/ 6 h 36"/>
              <a:gd name="T16" fmla="*/ 28 w 57"/>
              <a:gd name="T17" fmla="*/ 36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7" h="36">
                <a:moveTo>
                  <a:pt x="28" y="36"/>
                </a:moveTo>
                <a:cubicBezTo>
                  <a:pt x="12" y="36"/>
                  <a:pt x="0" y="22"/>
                  <a:pt x="0" y="6"/>
                </a:cubicBezTo>
                <a:cubicBezTo>
                  <a:pt x="0" y="2"/>
                  <a:pt x="2" y="0"/>
                  <a:pt x="5" y="0"/>
                </a:cubicBezTo>
                <a:cubicBezTo>
                  <a:pt x="8" y="0"/>
                  <a:pt x="11" y="3"/>
                  <a:pt x="11" y="6"/>
                </a:cubicBezTo>
                <a:cubicBezTo>
                  <a:pt x="11" y="16"/>
                  <a:pt x="18" y="24"/>
                  <a:pt x="28" y="24"/>
                </a:cubicBezTo>
                <a:cubicBezTo>
                  <a:pt x="38" y="25"/>
                  <a:pt x="45" y="16"/>
                  <a:pt x="46" y="6"/>
                </a:cubicBezTo>
                <a:cubicBezTo>
                  <a:pt x="46" y="3"/>
                  <a:pt x="48" y="0"/>
                  <a:pt x="51" y="0"/>
                </a:cubicBezTo>
                <a:cubicBezTo>
                  <a:pt x="54" y="0"/>
                  <a:pt x="57" y="3"/>
                  <a:pt x="56" y="6"/>
                </a:cubicBezTo>
                <a:cubicBezTo>
                  <a:pt x="56" y="23"/>
                  <a:pt x="43" y="36"/>
                  <a:pt x="28" y="36"/>
                </a:cubicBezTo>
                <a:close/>
              </a:path>
            </a:pathLst>
          </a:custGeom>
          <a:solidFill>
            <a:srgbClr val="87404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52" name="任意多边形: 形状 451">
            <a:extLst>
              <a:ext uri="{FF2B5EF4-FFF2-40B4-BE49-F238E27FC236}">
                <a16:creationId xmlns:a16="http://schemas.microsoft.com/office/drawing/2014/main" id="{928ABD0B-459B-435F-9A97-85CBAC0DCF99}"/>
              </a:ext>
            </a:extLst>
          </p:cNvPr>
          <p:cNvSpPr>
            <a:spLocks/>
          </p:cNvSpPr>
          <p:nvPr/>
        </p:nvSpPr>
        <p:spPr bwMode="auto">
          <a:xfrm flipH="1">
            <a:off x="9321856" y="2421994"/>
            <a:ext cx="195263" cy="122238"/>
          </a:xfrm>
          <a:custGeom>
            <a:avLst/>
            <a:gdLst>
              <a:gd name="T0" fmla="*/ 29 w 59"/>
              <a:gd name="T1" fmla="*/ 36 h 37"/>
              <a:gd name="T2" fmla="*/ 59 w 59"/>
              <a:gd name="T3" fmla="*/ 7 h 37"/>
              <a:gd name="T4" fmla="*/ 54 w 59"/>
              <a:gd name="T5" fmla="*/ 1 h 37"/>
              <a:gd name="T6" fmla="*/ 48 w 59"/>
              <a:gd name="T7" fmla="*/ 7 h 37"/>
              <a:gd name="T8" fmla="*/ 29 w 59"/>
              <a:gd name="T9" fmla="*/ 25 h 37"/>
              <a:gd name="T10" fmla="*/ 11 w 59"/>
              <a:gd name="T11" fmla="*/ 6 h 37"/>
              <a:gd name="T12" fmla="*/ 6 w 59"/>
              <a:gd name="T13" fmla="*/ 0 h 37"/>
              <a:gd name="T14" fmla="*/ 0 w 59"/>
              <a:gd name="T15" fmla="*/ 6 h 37"/>
              <a:gd name="T16" fmla="*/ 29 w 59"/>
              <a:gd name="T17" fmla="*/ 36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9" h="37">
                <a:moveTo>
                  <a:pt x="29" y="36"/>
                </a:moveTo>
                <a:cubicBezTo>
                  <a:pt x="46" y="37"/>
                  <a:pt x="59" y="23"/>
                  <a:pt x="59" y="7"/>
                </a:cubicBezTo>
                <a:cubicBezTo>
                  <a:pt x="59" y="4"/>
                  <a:pt x="57" y="1"/>
                  <a:pt x="54" y="1"/>
                </a:cubicBezTo>
                <a:cubicBezTo>
                  <a:pt x="51" y="1"/>
                  <a:pt x="48" y="3"/>
                  <a:pt x="48" y="7"/>
                </a:cubicBezTo>
                <a:cubicBezTo>
                  <a:pt x="48" y="17"/>
                  <a:pt x="39" y="25"/>
                  <a:pt x="29" y="25"/>
                </a:cubicBezTo>
                <a:cubicBezTo>
                  <a:pt x="19" y="25"/>
                  <a:pt x="11" y="16"/>
                  <a:pt x="11" y="6"/>
                </a:cubicBezTo>
                <a:cubicBezTo>
                  <a:pt x="11" y="3"/>
                  <a:pt x="9" y="0"/>
                  <a:pt x="6" y="0"/>
                </a:cubicBezTo>
                <a:cubicBezTo>
                  <a:pt x="2" y="0"/>
                  <a:pt x="0" y="3"/>
                  <a:pt x="0" y="6"/>
                </a:cubicBezTo>
                <a:cubicBezTo>
                  <a:pt x="0" y="23"/>
                  <a:pt x="13" y="36"/>
                  <a:pt x="29" y="36"/>
                </a:cubicBezTo>
                <a:close/>
              </a:path>
            </a:pathLst>
          </a:custGeom>
          <a:solidFill>
            <a:srgbClr val="87404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77" name="任意多边形: 形状 476">
            <a:extLst>
              <a:ext uri="{FF2B5EF4-FFF2-40B4-BE49-F238E27FC236}">
                <a16:creationId xmlns:a16="http://schemas.microsoft.com/office/drawing/2014/main" id="{48CFDC17-CB0B-4B89-B583-FD8F95E5B2DF}"/>
              </a:ext>
            </a:extLst>
          </p:cNvPr>
          <p:cNvSpPr>
            <a:spLocks/>
          </p:cNvSpPr>
          <p:nvPr/>
        </p:nvSpPr>
        <p:spPr bwMode="auto">
          <a:xfrm flipH="1">
            <a:off x="9309157" y="2228319"/>
            <a:ext cx="257175" cy="184150"/>
          </a:xfrm>
          <a:custGeom>
            <a:avLst/>
            <a:gdLst>
              <a:gd name="T0" fmla="*/ 78 w 78"/>
              <a:gd name="T1" fmla="*/ 18 h 56"/>
              <a:gd name="T2" fmla="*/ 11 w 78"/>
              <a:gd name="T3" fmla="*/ 52 h 56"/>
              <a:gd name="T4" fmla="*/ 5 w 78"/>
              <a:gd name="T5" fmla="*/ 37 h 56"/>
              <a:gd name="T6" fmla="*/ 70 w 78"/>
              <a:gd name="T7" fmla="*/ 2 h 56"/>
              <a:gd name="T8" fmla="*/ 78 w 78"/>
              <a:gd name="T9" fmla="*/ 18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8" h="56">
                <a:moveTo>
                  <a:pt x="78" y="18"/>
                </a:moveTo>
                <a:cubicBezTo>
                  <a:pt x="78" y="18"/>
                  <a:pt x="16" y="56"/>
                  <a:pt x="11" y="52"/>
                </a:cubicBezTo>
                <a:cubicBezTo>
                  <a:pt x="5" y="47"/>
                  <a:pt x="0" y="41"/>
                  <a:pt x="5" y="37"/>
                </a:cubicBezTo>
                <a:cubicBezTo>
                  <a:pt x="11" y="32"/>
                  <a:pt x="65" y="0"/>
                  <a:pt x="70" y="2"/>
                </a:cubicBezTo>
                <a:cubicBezTo>
                  <a:pt x="74" y="3"/>
                  <a:pt x="77" y="8"/>
                  <a:pt x="78" y="18"/>
                </a:cubicBezTo>
                <a:close/>
              </a:path>
            </a:pathLst>
          </a:custGeom>
          <a:solidFill>
            <a:srgbClr val="E62F3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78" name="任意多边形: 形状 477">
            <a:extLst>
              <a:ext uri="{FF2B5EF4-FFF2-40B4-BE49-F238E27FC236}">
                <a16:creationId xmlns:a16="http://schemas.microsoft.com/office/drawing/2014/main" id="{AE5C423B-5B7C-417C-B02D-3D8F2DF56C6B}"/>
              </a:ext>
            </a:extLst>
          </p:cNvPr>
          <p:cNvSpPr>
            <a:spLocks/>
          </p:cNvSpPr>
          <p:nvPr/>
        </p:nvSpPr>
        <p:spPr bwMode="auto">
          <a:xfrm flipH="1">
            <a:off x="8859894" y="2241019"/>
            <a:ext cx="231775" cy="180975"/>
          </a:xfrm>
          <a:custGeom>
            <a:avLst/>
            <a:gdLst>
              <a:gd name="T0" fmla="*/ 0 w 70"/>
              <a:gd name="T1" fmla="*/ 13 h 55"/>
              <a:gd name="T2" fmla="*/ 60 w 70"/>
              <a:gd name="T3" fmla="*/ 51 h 55"/>
              <a:gd name="T4" fmla="*/ 66 w 70"/>
              <a:gd name="T5" fmla="*/ 36 h 55"/>
              <a:gd name="T6" fmla="*/ 8 w 70"/>
              <a:gd name="T7" fmla="*/ 1 h 55"/>
              <a:gd name="T8" fmla="*/ 0 w 70"/>
              <a:gd name="T9" fmla="*/ 13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0" h="55">
                <a:moveTo>
                  <a:pt x="0" y="13"/>
                </a:moveTo>
                <a:cubicBezTo>
                  <a:pt x="0" y="13"/>
                  <a:pt x="55" y="55"/>
                  <a:pt x="60" y="51"/>
                </a:cubicBezTo>
                <a:cubicBezTo>
                  <a:pt x="65" y="46"/>
                  <a:pt x="70" y="41"/>
                  <a:pt x="66" y="36"/>
                </a:cubicBezTo>
                <a:cubicBezTo>
                  <a:pt x="61" y="32"/>
                  <a:pt x="12" y="0"/>
                  <a:pt x="8" y="1"/>
                </a:cubicBezTo>
                <a:cubicBezTo>
                  <a:pt x="4" y="2"/>
                  <a:pt x="1" y="3"/>
                  <a:pt x="0" y="13"/>
                </a:cubicBezTo>
                <a:close/>
              </a:path>
            </a:pathLst>
          </a:custGeom>
          <a:solidFill>
            <a:srgbClr val="E62F3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79" name="直接连接符 478">
            <a:extLst>
              <a:ext uri="{FF2B5EF4-FFF2-40B4-BE49-F238E27FC236}">
                <a16:creationId xmlns:a16="http://schemas.microsoft.com/office/drawing/2014/main" id="{1210EC76-14E9-44EF-BD63-5BC3D033C61A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8658282" y="2317219"/>
            <a:ext cx="396875" cy="438150"/>
          </a:xfrm>
          <a:prstGeom prst="line">
            <a:avLst/>
          </a:prstGeom>
          <a:noFill/>
          <a:ln w="39688" cap="rnd">
            <a:solidFill>
              <a:srgbClr val="FFFFF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80" name="直接连接符 479">
            <a:extLst>
              <a:ext uri="{FF2B5EF4-FFF2-40B4-BE49-F238E27FC236}">
                <a16:creationId xmlns:a16="http://schemas.microsoft.com/office/drawing/2014/main" id="{8300DDF4-18D6-432B-8DEE-F3E2954508E8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8744006" y="2412469"/>
            <a:ext cx="360363" cy="395288"/>
          </a:xfrm>
          <a:prstGeom prst="line">
            <a:avLst/>
          </a:prstGeom>
          <a:noFill/>
          <a:ln w="12700" cap="rnd">
            <a:solidFill>
              <a:srgbClr val="FF737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81" name="任意多边形: 形状 480">
            <a:extLst>
              <a:ext uri="{FF2B5EF4-FFF2-40B4-BE49-F238E27FC236}">
                <a16:creationId xmlns:a16="http://schemas.microsoft.com/office/drawing/2014/main" id="{3FDACFCE-1DDE-4283-8679-F19D8D31530D}"/>
              </a:ext>
            </a:extLst>
          </p:cNvPr>
          <p:cNvSpPr>
            <a:spLocks/>
          </p:cNvSpPr>
          <p:nvPr/>
        </p:nvSpPr>
        <p:spPr bwMode="auto">
          <a:xfrm flipH="1">
            <a:off x="9131356" y="2431519"/>
            <a:ext cx="153988" cy="247650"/>
          </a:xfrm>
          <a:custGeom>
            <a:avLst/>
            <a:gdLst>
              <a:gd name="T0" fmla="*/ 6 w 47"/>
              <a:gd name="T1" fmla="*/ 70 h 75"/>
              <a:gd name="T2" fmla="*/ 45 w 47"/>
              <a:gd name="T3" fmla="*/ 70 h 75"/>
              <a:gd name="T4" fmla="*/ 47 w 47"/>
              <a:gd name="T5" fmla="*/ 59 h 75"/>
              <a:gd name="T6" fmla="*/ 25 w 47"/>
              <a:gd name="T7" fmla="*/ 0 h 75"/>
              <a:gd name="T8" fmla="*/ 23 w 47"/>
              <a:gd name="T9" fmla="*/ 1 h 75"/>
              <a:gd name="T10" fmla="*/ 6 w 47"/>
              <a:gd name="T11" fmla="*/ 70 h 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7" h="75">
                <a:moveTo>
                  <a:pt x="6" y="70"/>
                </a:moveTo>
                <a:cubicBezTo>
                  <a:pt x="12" y="75"/>
                  <a:pt x="38" y="75"/>
                  <a:pt x="45" y="70"/>
                </a:cubicBezTo>
                <a:cubicBezTo>
                  <a:pt x="46" y="69"/>
                  <a:pt x="47" y="65"/>
                  <a:pt x="47" y="59"/>
                </a:cubicBezTo>
                <a:cubicBezTo>
                  <a:pt x="46" y="39"/>
                  <a:pt x="36" y="0"/>
                  <a:pt x="25" y="0"/>
                </a:cubicBezTo>
                <a:cubicBezTo>
                  <a:pt x="25" y="0"/>
                  <a:pt x="24" y="0"/>
                  <a:pt x="23" y="1"/>
                </a:cubicBezTo>
                <a:cubicBezTo>
                  <a:pt x="11" y="7"/>
                  <a:pt x="0" y="65"/>
                  <a:pt x="6" y="70"/>
                </a:cubicBezTo>
              </a:path>
            </a:pathLst>
          </a:custGeom>
          <a:solidFill>
            <a:srgbClr val="FF737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82" name="任意多边形: 形状 481">
            <a:extLst>
              <a:ext uri="{FF2B5EF4-FFF2-40B4-BE49-F238E27FC236}">
                <a16:creationId xmlns:a16="http://schemas.microsoft.com/office/drawing/2014/main" id="{54E0C2E4-EFBC-48C1-8970-F7D45EDE5935}"/>
              </a:ext>
            </a:extLst>
          </p:cNvPr>
          <p:cNvSpPr>
            <a:spLocks/>
          </p:cNvSpPr>
          <p:nvPr/>
        </p:nvSpPr>
        <p:spPr bwMode="auto">
          <a:xfrm flipH="1">
            <a:off x="9131356" y="2436281"/>
            <a:ext cx="141288" cy="239713"/>
          </a:xfrm>
          <a:custGeom>
            <a:avLst/>
            <a:gdLst>
              <a:gd name="T0" fmla="*/ 19 w 43"/>
              <a:gd name="T1" fmla="*/ 0 h 73"/>
              <a:gd name="T2" fmla="*/ 0 w 43"/>
              <a:gd name="T3" fmla="*/ 61 h 73"/>
              <a:gd name="T4" fmla="*/ 2 w 43"/>
              <a:gd name="T5" fmla="*/ 69 h 73"/>
              <a:gd name="T6" fmla="*/ 23 w 43"/>
              <a:gd name="T7" fmla="*/ 73 h 73"/>
              <a:gd name="T8" fmla="*/ 41 w 43"/>
              <a:gd name="T9" fmla="*/ 69 h 73"/>
              <a:gd name="T10" fmla="*/ 43 w 43"/>
              <a:gd name="T11" fmla="*/ 60 h 73"/>
              <a:gd name="T12" fmla="*/ 43 w 43"/>
              <a:gd name="T13" fmla="*/ 58 h 73"/>
              <a:gd name="T14" fmla="*/ 43 w 43"/>
              <a:gd name="T15" fmla="*/ 58 h 73"/>
              <a:gd name="T16" fmla="*/ 19 w 43"/>
              <a:gd name="T17" fmla="*/ 0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3" h="73">
                <a:moveTo>
                  <a:pt x="19" y="0"/>
                </a:moveTo>
                <a:cubicBezTo>
                  <a:pt x="9" y="5"/>
                  <a:pt x="0" y="44"/>
                  <a:pt x="0" y="61"/>
                </a:cubicBezTo>
                <a:cubicBezTo>
                  <a:pt x="0" y="65"/>
                  <a:pt x="1" y="68"/>
                  <a:pt x="2" y="69"/>
                </a:cubicBezTo>
                <a:cubicBezTo>
                  <a:pt x="5" y="71"/>
                  <a:pt x="14" y="73"/>
                  <a:pt x="23" y="73"/>
                </a:cubicBezTo>
                <a:cubicBezTo>
                  <a:pt x="30" y="73"/>
                  <a:pt x="37" y="72"/>
                  <a:pt x="41" y="69"/>
                </a:cubicBezTo>
                <a:cubicBezTo>
                  <a:pt x="42" y="68"/>
                  <a:pt x="43" y="65"/>
                  <a:pt x="43" y="60"/>
                </a:cubicBezTo>
                <a:cubicBezTo>
                  <a:pt x="43" y="59"/>
                  <a:pt x="43" y="59"/>
                  <a:pt x="43" y="58"/>
                </a:cubicBezTo>
                <a:cubicBezTo>
                  <a:pt x="43" y="58"/>
                  <a:pt x="43" y="58"/>
                  <a:pt x="43" y="58"/>
                </a:cubicBezTo>
                <a:cubicBezTo>
                  <a:pt x="15" y="50"/>
                  <a:pt x="16" y="18"/>
                  <a:pt x="19" y="0"/>
                </a:cubicBezTo>
              </a:path>
            </a:pathLst>
          </a:custGeom>
          <a:solidFill>
            <a:srgbClr val="FF5D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83" name="任意多边形: 形状 482">
            <a:extLst>
              <a:ext uri="{FF2B5EF4-FFF2-40B4-BE49-F238E27FC236}">
                <a16:creationId xmlns:a16="http://schemas.microsoft.com/office/drawing/2014/main" id="{E77AB1BD-D075-46C2-A895-A9EA8DA47258}"/>
              </a:ext>
            </a:extLst>
          </p:cNvPr>
          <p:cNvSpPr>
            <a:spLocks/>
          </p:cNvSpPr>
          <p:nvPr/>
        </p:nvSpPr>
        <p:spPr bwMode="auto">
          <a:xfrm flipH="1">
            <a:off x="9071032" y="2764894"/>
            <a:ext cx="244475" cy="76200"/>
          </a:xfrm>
          <a:custGeom>
            <a:avLst/>
            <a:gdLst>
              <a:gd name="T0" fmla="*/ 0 w 74"/>
              <a:gd name="T1" fmla="*/ 23 h 23"/>
              <a:gd name="T2" fmla="*/ 74 w 74"/>
              <a:gd name="T3" fmla="*/ 23 h 23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74" h="23">
                <a:moveTo>
                  <a:pt x="0" y="23"/>
                </a:moveTo>
                <a:cubicBezTo>
                  <a:pt x="0" y="23"/>
                  <a:pt x="51" y="0"/>
                  <a:pt x="74" y="23"/>
                </a:cubicBezTo>
              </a:path>
            </a:pathLst>
          </a:custGeom>
          <a:noFill/>
          <a:ln w="26988" cap="rnd">
            <a:solidFill>
              <a:srgbClr val="874048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84" name="任意多边形: 形状 483">
            <a:extLst>
              <a:ext uri="{FF2B5EF4-FFF2-40B4-BE49-F238E27FC236}">
                <a16:creationId xmlns:a16="http://schemas.microsoft.com/office/drawing/2014/main" id="{0DBAA10C-4462-4CC1-8ECA-953ABBDFAD0F}"/>
              </a:ext>
            </a:extLst>
          </p:cNvPr>
          <p:cNvSpPr>
            <a:spLocks/>
          </p:cNvSpPr>
          <p:nvPr/>
        </p:nvSpPr>
        <p:spPr bwMode="auto">
          <a:xfrm flipH="1">
            <a:off x="8869419" y="1269469"/>
            <a:ext cx="1208088" cy="889000"/>
          </a:xfrm>
          <a:custGeom>
            <a:avLst/>
            <a:gdLst>
              <a:gd name="T0" fmla="*/ 256 w 366"/>
              <a:gd name="T1" fmla="*/ 186 h 270"/>
              <a:gd name="T2" fmla="*/ 163 w 366"/>
              <a:gd name="T3" fmla="*/ 235 h 270"/>
              <a:gd name="T4" fmla="*/ 1 w 366"/>
              <a:gd name="T5" fmla="*/ 262 h 270"/>
              <a:gd name="T6" fmla="*/ 2 w 366"/>
              <a:gd name="T7" fmla="*/ 219 h 270"/>
              <a:gd name="T8" fmla="*/ 99 w 366"/>
              <a:gd name="T9" fmla="*/ 52 h 270"/>
              <a:gd name="T10" fmla="*/ 354 w 366"/>
              <a:gd name="T11" fmla="*/ 79 h 270"/>
              <a:gd name="T12" fmla="*/ 256 w 366"/>
              <a:gd name="T13" fmla="*/ 186 h 2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66" h="270">
                <a:moveTo>
                  <a:pt x="256" y="186"/>
                </a:moveTo>
                <a:cubicBezTo>
                  <a:pt x="226" y="205"/>
                  <a:pt x="193" y="223"/>
                  <a:pt x="163" y="235"/>
                </a:cubicBezTo>
                <a:cubicBezTo>
                  <a:pt x="75" y="270"/>
                  <a:pt x="1" y="262"/>
                  <a:pt x="1" y="262"/>
                </a:cubicBezTo>
                <a:cubicBezTo>
                  <a:pt x="1" y="262"/>
                  <a:pt x="0" y="244"/>
                  <a:pt x="2" y="219"/>
                </a:cubicBezTo>
                <a:cubicBezTo>
                  <a:pt x="6" y="168"/>
                  <a:pt x="24" y="86"/>
                  <a:pt x="99" y="52"/>
                </a:cubicBezTo>
                <a:cubicBezTo>
                  <a:pt x="210" y="0"/>
                  <a:pt x="335" y="47"/>
                  <a:pt x="354" y="79"/>
                </a:cubicBezTo>
                <a:cubicBezTo>
                  <a:pt x="366" y="101"/>
                  <a:pt x="317" y="147"/>
                  <a:pt x="256" y="186"/>
                </a:cubicBezTo>
                <a:close/>
              </a:path>
            </a:pathLst>
          </a:custGeom>
          <a:solidFill>
            <a:srgbClr val="186FD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85" name="任意多边形: 形状 484">
            <a:extLst>
              <a:ext uri="{FF2B5EF4-FFF2-40B4-BE49-F238E27FC236}">
                <a16:creationId xmlns:a16="http://schemas.microsoft.com/office/drawing/2014/main" id="{41D46340-D36E-43E1-A0AC-811E4AA9CFF3}"/>
              </a:ext>
            </a:extLst>
          </p:cNvPr>
          <p:cNvSpPr>
            <a:spLocks/>
          </p:cNvSpPr>
          <p:nvPr/>
        </p:nvSpPr>
        <p:spPr bwMode="auto">
          <a:xfrm flipH="1">
            <a:off x="9232957" y="1848906"/>
            <a:ext cx="844550" cy="309563"/>
          </a:xfrm>
          <a:custGeom>
            <a:avLst/>
            <a:gdLst>
              <a:gd name="T0" fmla="*/ 256 w 256"/>
              <a:gd name="T1" fmla="*/ 10 h 94"/>
              <a:gd name="T2" fmla="*/ 163 w 256"/>
              <a:gd name="T3" fmla="*/ 59 h 94"/>
              <a:gd name="T4" fmla="*/ 1 w 256"/>
              <a:gd name="T5" fmla="*/ 86 h 94"/>
              <a:gd name="T6" fmla="*/ 2 w 256"/>
              <a:gd name="T7" fmla="*/ 43 h 94"/>
              <a:gd name="T8" fmla="*/ 203 w 256"/>
              <a:gd name="T9" fmla="*/ 12 h 94"/>
              <a:gd name="T10" fmla="*/ 256 w 256"/>
              <a:gd name="T11" fmla="*/ 10 h 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56" h="94">
                <a:moveTo>
                  <a:pt x="256" y="10"/>
                </a:moveTo>
                <a:cubicBezTo>
                  <a:pt x="226" y="29"/>
                  <a:pt x="193" y="47"/>
                  <a:pt x="163" y="59"/>
                </a:cubicBezTo>
                <a:cubicBezTo>
                  <a:pt x="75" y="94"/>
                  <a:pt x="1" y="86"/>
                  <a:pt x="1" y="86"/>
                </a:cubicBezTo>
                <a:cubicBezTo>
                  <a:pt x="1" y="86"/>
                  <a:pt x="0" y="68"/>
                  <a:pt x="2" y="43"/>
                </a:cubicBezTo>
                <a:cubicBezTo>
                  <a:pt x="19" y="44"/>
                  <a:pt x="95" y="47"/>
                  <a:pt x="203" y="12"/>
                </a:cubicBezTo>
                <a:cubicBezTo>
                  <a:pt x="239" y="0"/>
                  <a:pt x="254" y="2"/>
                  <a:pt x="256" y="10"/>
                </a:cubicBezTo>
                <a:close/>
              </a:path>
            </a:pathLst>
          </a:custGeom>
          <a:solidFill>
            <a:srgbClr val="1562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86" name="任意多边形: 形状 485">
            <a:extLst>
              <a:ext uri="{FF2B5EF4-FFF2-40B4-BE49-F238E27FC236}">
                <a16:creationId xmlns:a16="http://schemas.microsoft.com/office/drawing/2014/main" id="{5EC9174B-B426-41CF-9A22-0E841D10615D}"/>
              </a:ext>
            </a:extLst>
          </p:cNvPr>
          <p:cNvSpPr>
            <a:spLocks/>
          </p:cNvSpPr>
          <p:nvPr/>
        </p:nvSpPr>
        <p:spPr bwMode="auto">
          <a:xfrm flipH="1">
            <a:off x="8724956" y="1529819"/>
            <a:ext cx="1385888" cy="820738"/>
          </a:xfrm>
          <a:custGeom>
            <a:avLst/>
            <a:gdLst>
              <a:gd name="T0" fmla="*/ 25 w 420"/>
              <a:gd name="T1" fmla="*/ 242 h 249"/>
              <a:gd name="T2" fmla="*/ 420 w 420"/>
              <a:gd name="T3" fmla="*/ 43 h 249"/>
              <a:gd name="T4" fmla="*/ 364 w 420"/>
              <a:gd name="T5" fmla="*/ 0 h 249"/>
              <a:gd name="T6" fmla="*/ 195 w 420"/>
              <a:gd name="T7" fmla="*/ 121 h 249"/>
              <a:gd name="T8" fmla="*/ 11 w 420"/>
              <a:gd name="T9" fmla="*/ 183 h 249"/>
              <a:gd name="T10" fmla="*/ 25 w 420"/>
              <a:gd name="T11" fmla="*/ 242 h 2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20" h="249">
                <a:moveTo>
                  <a:pt x="25" y="242"/>
                </a:moveTo>
                <a:cubicBezTo>
                  <a:pt x="246" y="249"/>
                  <a:pt x="420" y="43"/>
                  <a:pt x="420" y="43"/>
                </a:cubicBezTo>
                <a:cubicBezTo>
                  <a:pt x="413" y="11"/>
                  <a:pt x="364" y="0"/>
                  <a:pt x="364" y="0"/>
                </a:cubicBezTo>
                <a:cubicBezTo>
                  <a:pt x="323" y="43"/>
                  <a:pt x="261" y="90"/>
                  <a:pt x="195" y="121"/>
                </a:cubicBezTo>
                <a:cubicBezTo>
                  <a:pt x="104" y="164"/>
                  <a:pt x="11" y="183"/>
                  <a:pt x="11" y="183"/>
                </a:cubicBezTo>
                <a:cubicBezTo>
                  <a:pt x="11" y="183"/>
                  <a:pt x="0" y="226"/>
                  <a:pt x="25" y="242"/>
                </a:cubicBezTo>
                <a:close/>
              </a:path>
            </a:pathLst>
          </a:custGeom>
          <a:solidFill>
            <a:srgbClr val="5699E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87" name="任意多边形: 形状 486">
            <a:extLst>
              <a:ext uri="{FF2B5EF4-FFF2-40B4-BE49-F238E27FC236}">
                <a16:creationId xmlns:a16="http://schemas.microsoft.com/office/drawing/2014/main" id="{91B5CC62-A211-435B-9B76-401182987231}"/>
              </a:ext>
            </a:extLst>
          </p:cNvPr>
          <p:cNvSpPr>
            <a:spLocks/>
          </p:cNvSpPr>
          <p:nvPr/>
        </p:nvSpPr>
        <p:spPr bwMode="auto">
          <a:xfrm flipH="1">
            <a:off x="9625069" y="2029881"/>
            <a:ext cx="115888" cy="247650"/>
          </a:xfrm>
          <a:custGeom>
            <a:avLst/>
            <a:gdLst>
              <a:gd name="T0" fmla="*/ 21 w 35"/>
              <a:gd name="T1" fmla="*/ 45 h 75"/>
              <a:gd name="T2" fmla="*/ 8 w 35"/>
              <a:gd name="T3" fmla="*/ 0 h 75"/>
              <a:gd name="T4" fmla="*/ 0 w 35"/>
              <a:gd name="T5" fmla="*/ 2 h 75"/>
              <a:gd name="T6" fmla="*/ 13 w 35"/>
              <a:gd name="T7" fmla="*/ 47 h 75"/>
              <a:gd name="T8" fmla="*/ 26 w 35"/>
              <a:gd name="T9" fmla="*/ 75 h 75"/>
              <a:gd name="T10" fmla="*/ 35 w 35"/>
              <a:gd name="T11" fmla="*/ 73 h 75"/>
              <a:gd name="T12" fmla="*/ 21 w 35"/>
              <a:gd name="T13" fmla="*/ 45 h 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5" h="75">
                <a:moveTo>
                  <a:pt x="21" y="45"/>
                </a:moveTo>
                <a:cubicBezTo>
                  <a:pt x="16" y="31"/>
                  <a:pt x="9" y="15"/>
                  <a:pt x="8" y="0"/>
                </a:cubicBezTo>
                <a:cubicBezTo>
                  <a:pt x="5" y="1"/>
                  <a:pt x="2" y="2"/>
                  <a:pt x="0" y="2"/>
                </a:cubicBezTo>
                <a:cubicBezTo>
                  <a:pt x="2" y="18"/>
                  <a:pt x="7" y="33"/>
                  <a:pt x="13" y="47"/>
                </a:cubicBezTo>
                <a:cubicBezTo>
                  <a:pt x="16" y="57"/>
                  <a:pt x="21" y="67"/>
                  <a:pt x="26" y="75"/>
                </a:cubicBezTo>
                <a:cubicBezTo>
                  <a:pt x="29" y="75"/>
                  <a:pt x="32" y="74"/>
                  <a:pt x="35" y="73"/>
                </a:cubicBezTo>
                <a:cubicBezTo>
                  <a:pt x="29" y="64"/>
                  <a:pt x="24" y="55"/>
                  <a:pt x="21" y="45"/>
                </a:cubicBezTo>
                <a:close/>
              </a:path>
            </a:pathLst>
          </a:custGeom>
          <a:solidFill>
            <a:srgbClr val="85B9E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88" name="任意多边形: 形状 487">
            <a:extLst>
              <a:ext uri="{FF2B5EF4-FFF2-40B4-BE49-F238E27FC236}">
                <a16:creationId xmlns:a16="http://schemas.microsoft.com/office/drawing/2014/main" id="{99BB6586-6FAA-4E42-A766-09915D2982B5}"/>
              </a:ext>
            </a:extLst>
          </p:cNvPr>
          <p:cNvSpPr>
            <a:spLocks/>
          </p:cNvSpPr>
          <p:nvPr/>
        </p:nvSpPr>
        <p:spPr bwMode="auto">
          <a:xfrm flipH="1">
            <a:off x="9885419" y="2102906"/>
            <a:ext cx="93663" cy="220663"/>
          </a:xfrm>
          <a:custGeom>
            <a:avLst/>
            <a:gdLst>
              <a:gd name="T0" fmla="*/ 9 w 28"/>
              <a:gd name="T1" fmla="*/ 0 h 67"/>
              <a:gd name="T2" fmla="*/ 0 w 28"/>
              <a:gd name="T3" fmla="*/ 2 h 67"/>
              <a:gd name="T4" fmla="*/ 19 w 28"/>
              <a:gd name="T5" fmla="*/ 67 h 67"/>
              <a:gd name="T6" fmla="*/ 28 w 28"/>
              <a:gd name="T7" fmla="*/ 66 h 67"/>
              <a:gd name="T8" fmla="*/ 9 w 28"/>
              <a:gd name="T9" fmla="*/ 0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" h="67">
                <a:moveTo>
                  <a:pt x="9" y="0"/>
                </a:moveTo>
                <a:cubicBezTo>
                  <a:pt x="6" y="0"/>
                  <a:pt x="3" y="1"/>
                  <a:pt x="0" y="2"/>
                </a:cubicBezTo>
                <a:cubicBezTo>
                  <a:pt x="3" y="25"/>
                  <a:pt x="9" y="46"/>
                  <a:pt x="19" y="67"/>
                </a:cubicBezTo>
                <a:cubicBezTo>
                  <a:pt x="22" y="67"/>
                  <a:pt x="25" y="67"/>
                  <a:pt x="28" y="66"/>
                </a:cubicBezTo>
                <a:cubicBezTo>
                  <a:pt x="17" y="45"/>
                  <a:pt x="11" y="23"/>
                  <a:pt x="9" y="0"/>
                </a:cubicBezTo>
                <a:close/>
              </a:path>
            </a:pathLst>
          </a:custGeom>
          <a:solidFill>
            <a:srgbClr val="85B9E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89" name="任意多边形: 形状 488">
            <a:extLst>
              <a:ext uri="{FF2B5EF4-FFF2-40B4-BE49-F238E27FC236}">
                <a16:creationId xmlns:a16="http://schemas.microsoft.com/office/drawing/2014/main" id="{52794952-EF73-474C-BE77-FFDBE99DEF31}"/>
              </a:ext>
            </a:extLst>
          </p:cNvPr>
          <p:cNvSpPr>
            <a:spLocks/>
          </p:cNvSpPr>
          <p:nvPr/>
        </p:nvSpPr>
        <p:spPr bwMode="auto">
          <a:xfrm flipH="1">
            <a:off x="9428219" y="1967969"/>
            <a:ext cx="153988" cy="239713"/>
          </a:xfrm>
          <a:custGeom>
            <a:avLst/>
            <a:gdLst>
              <a:gd name="T0" fmla="*/ 31 w 47"/>
              <a:gd name="T1" fmla="*/ 42 h 73"/>
              <a:gd name="T2" fmla="*/ 8 w 47"/>
              <a:gd name="T3" fmla="*/ 0 h 73"/>
              <a:gd name="T4" fmla="*/ 0 w 47"/>
              <a:gd name="T5" fmla="*/ 3 h 73"/>
              <a:gd name="T6" fmla="*/ 16 w 47"/>
              <a:gd name="T7" fmla="*/ 33 h 73"/>
              <a:gd name="T8" fmla="*/ 39 w 47"/>
              <a:gd name="T9" fmla="*/ 73 h 73"/>
              <a:gd name="T10" fmla="*/ 47 w 47"/>
              <a:gd name="T11" fmla="*/ 69 h 73"/>
              <a:gd name="T12" fmla="*/ 31 w 47"/>
              <a:gd name="T13" fmla="*/ 42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7" h="73">
                <a:moveTo>
                  <a:pt x="31" y="42"/>
                </a:moveTo>
                <a:cubicBezTo>
                  <a:pt x="24" y="30"/>
                  <a:pt x="13" y="15"/>
                  <a:pt x="8" y="0"/>
                </a:cubicBezTo>
                <a:cubicBezTo>
                  <a:pt x="5" y="1"/>
                  <a:pt x="3" y="2"/>
                  <a:pt x="0" y="3"/>
                </a:cubicBezTo>
                <a:cubicBezTo>
                  <a:pt x="4" y="13"/>
                  <a:pt x="11" y="23"/>
                  <a:pt x="16" y="33"/>
                </a:cubicBezTo>
                <a:cubicBezTo>
                  <a:pt x="24" y="46"/>
                  <a:pt x="32" y="59"/>
                  <a:pt x="39" y="73"/>
                </a:cubicBezTo>
                <a:cubicBezTo>
                  <a:pt x="42" y="72"/>
                  <a:pt x="45" y="70"/>
                  <a:pt x="47" y="69"/>
                </a:cubicBezTo>
                <a:cubicBezTo>
                  <a:pt x="42" y="60"/>
                  <a:pt x="37" y="51"/>
                  <a:pt x="31" y="42"/>
                </a:cubicBezTo>
                <a:close/>
              </a:path>
            </a:pathLst>
          </a:custGeom>
          <a:solidFill>
            <a:srgbClr val="85B9E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90" name="任意多边形: 形状 489">
            <a:extLst>
              <a:ext uri="{FF2B5EF4-FFF2-40B4-BE49-F238E27FC236}">
                <a16:creationId xmlns:a16="http://schemas.microsoft.com/office/drawing/2014/main" id="{E70609AD-B6ED-45AE-8915-0F4B7A8825B0}"/>
              </a:ext>
            </a:extLst>
          </p:cNvPr>
          <p:cNvSpPr>
            <a:spLocks/>
          </p:cNvSpPr>
          <p:nvPr/>
        </p:nvSpPr>
        <p:spPr bwMode="auto">
          <a:xfrm flipH="1">
            <a:off x="9031344" y="1744131"/>
            <a:ext cx="146050" cy="227013"/>
          </a:xfrm>
          <a:custGeom>
            <a:avLst/>
            <a:gdLst>
              <a:gd name="T0" fmla="*/ 6 w 44"/>
              <a:gd name="T1" fmla="*/ 0 h 69"/>
              <a:gd name="T2" fmla="*/ 0 w 44"/>
              <a:gd name="T3" fmla="*/ 5 h 69"/>
              <a:gd name="T4" fmla="*/ 36 w 44"/>
              <a:gd name="T5" fmla="*/ 66 h 69"/>
              <a:gd name="T6" fmla="*/ 36 w 44"/>
              <a:gd name="T7" fmla="*/ 67 h 69"/>
              <a:gd name="T8" fmla="*/ 37 w 44"/>
              <a:gd name="T9" fmla="*/ 69 h 69"/>
              <a:gd name="T10" fmla="*/ 44 w 44"/>
              <a:gd name="T11" fmla="*/ 64 h 69"/>
              <a:gd name="T12" fmla="*/ 6 w 44"/>
              <a:gd name="T13" fmla="*/ 0 h 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4" h="69">
                <a:moveTo>
                  <a:pt x="6" y="0"/>
                </a:moveTo>
                <a:cubicBezTo>
                  <a:pt x="4" y="2"/>
                  <a:pt x="2" y="3"/>
                  <a:pt x="0" y="5"/>
                </a:cubicBezTo>
                <a:cubicBezTo>
                  <a:pt x="36" y="66"/>
                  <a:pt x="36" y="66"/>
                  <a:pt x="36" y="66"/>
                </a:cubicBezTo>
                <a:cubicBezTo>
                  <a:pt x="36" y="66"/>
                  <a:pt x="36" y="67"/>
                  <a:pt x="36" y="67"/>
                </a:cubicBezTo>
                <a:cubicBezTo>
                  <a:pt x="37" y="68"/>
                  <a:pt x="37" y="69"/>
                  <a:pt x="37" y="69"/>
                </a:cubicBezTo>
                <a:cubicBezTo>
                  <a:pt x="40" y="67"/>
                  <a:pt x="42" y="66"/>
                  <a:pt x="44" y="64"/>
                </a:cubicBezTo>
                <a:lnTo>
                  <a:pt x="6" y="0"/>
                </a:lnTo>
                <a:close/>
              </a:path>
            </a:pathLst>
          </a:custGeom>
          <a:solidFill>
            <a:srgbClr val="85B9E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91" name="任意多边形: 形状 490">
            <a:extLst>
              <a:ext uri="{FF2B5EF4-FFF2-40B4-BE49-F238E27FC236}">
                <a16:creationId xmlns:a16="http://schemas.microsoft.com/office/drawing/2014/main" id="{086970D7-3746-40BF-A09B-1209258C6EB9}"/>
              </a:ext>
            </a:extLst>
          </p:cNvPr>
          <p:cNvSpPr>
            <a:spLocks/>
          </p:cNvSpPr>
          <p:nvPr/>
        </p:nvSpPr>
        <p:spPr bwMode="auto">
          <a:xfrm flipH="1">
            <a:off x="8923394" y="1640944"/>
            <a:ext cx="125413" cy="244475"/>
          </a:xfrm>
          <a:custGeom>
            <a:avLst/>
            <a:gdLst>
              <a:gd name="T0" fmla="*/ 7 w 38"/>
              <a:gd name="T1" fmla="*/ 0 h 74"/>
              <a:gd name="T2" fmla="*/ 0 w 38"/>
              <a:gd name="T3" fmla="*/ 5 h 74"/>
              <a:gd name="T4" fmla="*/ 31 w 38"/>
              <a:gd name="T5" fmla="*/ 74 h 74"/>
              <a:gd name="T6" fmla="*/ 38 w 38"/>
              <a:gd name="T7" fmla="*/ 68 h 74"/>
              <a:gd name="T8" fmla="*/ 7 w 38"/>
              <a:gd name="T9" fmla="*/ 0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8" h="74">
                <a:moveTo>
                  <a:pt x="7" y="0"/>
                </a:moveTo>
                <a:cubicBezTo>
                  <a:pt x="5" y="1"/>
                  <a:pt x="3" y="3"/>
                  <a:pt x="0" y="5"/>
                </a:cubicBezTo>
                <a:cubicBezTo>
                  <a:pt x="15" y="26"/>
                  <a:pt x="27" y="49"/>
                  <a:pt x="31" y="74"/>
                </a:cubicBezTo>
                <a:cubicBezTo>
                  <a:pt x="33" y="72"/>
                  <a:pt x="36" y="70"/>
                  <a:pt x="38" y="68"/>
                </a:cubicBezTo>
                <a:cubicBezTo>
                  <a:pt x="33" y="43"/>
                  <a:pt x="21" y="21"/>
                  <a:pt x="7" y="0"/>
                </a:cubicBezTo>
                <a:close/>
              </a:path>
            </a:pathLst>
          </a:custGeom>
          <a:solidFill>
            <a:srgbClr val="85B9E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92" name="任意多边形: 形状 491">
            <a:extLst>
              <a:ext uri="{FF2B5EF4-FFF2-40B4-BE49-F238E27FC236}">
                <a16:creationId xmlns:a16="http://schemas.microsoft.com/office/drawing/2014/main" id="{937AC0A2-0400-4A7D-9B69-D32556055E6D}"/>
              </a:ext>
            </a:extLst>
          </p:cNvPr>
          <p:cNvSpPr>
            <a:spLocks/>
          </p:cNvSpPr>
          <p:nvPr/>
        </p:nvSpPr>
        <p:spPr bwMode="auto">
          <a:xfrm flipH="1">
            <a:off x="8767819" y="1561569"/>
            <a:ext cx="190500" cy="179388"/>
          </a:xfrm>
          <a:custGeom>
            <a:avLst/>
            <a:gdLst>
              <a:gd name="T0" fmla="*/ 6 w 58"/>
              <a:gd name="T1" fmla="*/ 0 h 54"/>
              <a:gd name="T2" fmla="*/ 0 w 58"/>
              <a:gd name="T3" fmla="*/ 6 h 54"/>
              <a:gd name="T4" fmla="*/ 52 w 58"/>
              <a:gd name="T5" fmla="*/ 54 h 54"/>
              <a:gd name="T6" fmla="*/ 58 w 58"/>
              <a:gd name="T7" fmla="*/ 48 h 54"/>
              <a:gd name="T8" fmla="*/ 6 w 58"/>
              <a:gd name="T9" fmla="*/ 0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8" h="54">
                <a:moveTo>
                  <a:pt x="6" y="0"/>
                </a:moveTo>
                <a:cubicBezTo>
                  <a:pt x="4" y="2"/>
                  <a:pt x="2" y="4"/>
                  <a:pt x="0" y="6"/>
                </a:cubicBezTo>
                <a:cubicBezTo>
                  <a:pt x="20" y="18"/>
                  <a:pt x="41" y="33"/>
                  <a:pt x="52" y="54"/>
                </a:cubicBezTo>
                <a:cubicBezTo>
                  <a:pt x="54" y="52"/>
                  <a:pt x="56" y="50"/>
                  <a:pt x="58" y="48"/>
                </a:cubicBezTo>
                <a:cubicBezTo>
                  <a:pt x="46" y="27"/>
                  <a:pt x="26" y="12"/>
                  <a:pt x="6" y="0"/>
                </a:cubicBezTo>
                <a:close/>
              </a:path>
            </a:pathLst>
          </a:custGeom>
          <a:solidFill>
            <a:srgbClr val="85B9E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93" name="任意多边形: 形状 492">
            <a:extLst>
              <a:ext uri="{FF2B5EF4-FFF2-40B4-BE49-F238E27FC236}">
                <a16:creationId xmlns:a16="http://schemas.microsoft.com/office/drawing/2014/main" id="{EE10A848-AEA1-44AB-B515-960AE0F0FE16}"/>
              </a:ext>
            </a:extLst>
          </p:cNvPr>
          <p:cNvSpPr>
            <a:spLocks/>
          </p:cNvSpPr>
          <p:nvPr/>
        </p:nvSpPr>
        <p:spPr bwMode="auto">
          <a:xfrm flipH="1">
            <a:off x="9202794" y="1864781"/>
            <a:ext cx="168275" cy="225425"/>
          </a:xfrm>
          <a:custGeom>
            <a:avLst/>
            <a:gdLst>
              <a:gd name="T0" fmla="*/ 0 w 51"/>
              <a:gd name="T1" fmla="*/ 4 h 68"/>
              <a:gd name="T2" fmla="*/ 44 w 51"/>
              <a:gd name="T3" fmla="*/ 68 h 68"/>
              <a:gd name="T4" fmla="*/ 51 w 51"/>
              <a:gd name="T5" fmla="*/ 63 h 68"/>
              <a:gd name="T6" fmla="*/ 8 w 51"/>
              <a:gd name="T7" fmla="*/ 0 h 68"/>
              <a:gd name="T8" fmla="*/ 0 w 51"/>
              <a:gd name="T9" fmla="*/ 4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1" h="68">
                <a:moveTo>
                  <a:pt x="0" y="4"/>
                </a:moveTo>
                <a:cubicBezTo>
                  <a:pt x="15" y="25"/>
                  <a:pt x="30" y="47"/>
                  <a:pt x="44" y="68"/>
                </a:cubicBezTo>
                <a:cubicBezTo>
                  <a:pt x="47" y="66"/>
                  <a:pt x="49" y="65"/>
                  <a:pt x="51" y="63"/>
                </a:cubicBezTo>
                <a:cubicBezTo>
                  <a:pt x="37" y="42"/>
                  <a:pt x="22" y="21"/>
                  <a:pt x="8" y="0"/>
                </a:cubicBezTo>
                <a:cubicBezTo>
                  <a:pt x="5" y="2"/>
                  <a:pt x="3" y="3"/>
                  <a:pt x="0" y="4"/>
                </a:cubicBezTo>
                <a:close/>
              </a:path>
            </a:pathLst>
          </a:custGeom>
          <a:solidFill>
            <a:srgbClr val="85B9E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94" name="任意多边形: 形状 493">
            <a:extLst>
              <a:ext uri="{FF2B5EF4-FFF2-40B4-BE49-F238E27FC236}">
                <a16:creationId xmlns:a16="http://schemas.microsoft.com/office/drawing/2014/main" id="{64952858-FD40-4819-85E8-D0746E8C097D}"/>
              </a:ext>
            </a:extLst>
          </p:cNvPr>
          <p:cNvSpPr>
            <a:spLocks/>
          </p:cNvSpPr>
          <p:nvPr/>
        </p:nvSpPr>
        <p:spPr bwMode="auto">
          <a:xfrm flipH="1">
            <a:off x="8869419" y="3144306"/>
            <a:ext cx="828675" cy="511175"/>
          </a:xfrm>
          <a:custGeom>
            <a:avLst/>
            <a:gdLst>
              <a:gd name="T0" fmla="*/ 21 w 251"/>
              <a:gd name="T1" fmla="*/ 106 h 155"/>
              <a:gd name="T2" fmla="*/ 16 w 251"/>
              <a:gd name="T3" fmla="*/ 47 h 155"/>
              <a:gd name="T4" fmla="*/ 68 w 251"/>
              <a:gd name="T5" fmla="*/ 38 h 155"/>
              <a:gd name="T6" fmla="*/ 114 w 251"/>
              <a:gd name="T7" fmla="*/ 42 h 155"/>
              <a:gd name="T8" fmla="*/ 190 w 251"/>
              <a:gd name="T9" fmla="*/ 22 h 155"/>
              <a:gd name="T10" fmla="*/ 186 w 251"/>
              <a:gd name="T11" fmla="*/ 117 h 155"/>
              <a:gd name="T12" fmla="*/ 21 w 251"/>
              <a:gd name="T13" fmla="*/ 106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51" h="155">
                <a:moveTo>
                  <a:pt x="21" y="106"/>
                </a:moveTo>
                <a:cubicBezTo>
                  <a:pt x="20" y="103"/>
                  <a:pt x="0" y="86"/>
                  <a:pt x="16" y="47"/>
                </a:cubicBezTo>
                <a:cubicBezTo>
                  <a:pt x="24" y="26"/>
                  <a:pt x="45" y="32"/>
                  <a:pt x="68" y="38"/>
                </a:cubicBezTo>
                <a:cubicBezTo>
                  <a:pt x="84" y="42"/>
                  <a:pt x="100" y="46"/>
                  <a:pt x="114" y="42"/>
                </a:cubicBezTo>
                <a:cubicBezTo>
                  <a:pt x="149" y="32"/>
                  <a:pt x="173" y="0"/>
                  <a:pt x="190" y="22"/>
                </a:cubicBezTo>
                <a:cubicBezTo>
                  <a:pt x="208" y="44"/>
                  <a:pt x="251" y="96"/>
                  <a:pt x="186" y="117"/>
                </a:cubicBezTo>
                <a:cubicBezTo>
                  <a:pt x="122" y="137"/>
                  <a:pt x="26" y="155"/>
                  <a:pt x="21" y="106"/>
                </a:cubicBezTo>
              </a:path>
            </a:pathLst>
          </a:custGeom>
          <a:solidFill>
            <a:srgbClr val="FF737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95" name="任意多边形: 形状 494">
            <a:extLst>
              <a:ext uri="{FF2B5EF4-FFF2-40B4-BE49-F238E27FC236}">
                <a16:creationId xmlns:a16="http://schemas.microsoft.com/office/drawing/2014/main" id="{0922BC00-ADED-4C43-8139-560B1D6E85D8}"/>
              </a:ext>
            </a:extLst>
          </p:cNvPr>
          <p:cNvSpPr>
            <a:spLocks/>
          </p:cNvSpPr>
          <p:nvPr/>
        </p:nvSpPr>
        <p:spPr bwMode="auto">
          <a:xfrm flipH="1">
            <a:off x="9385357" y="3282419"/>
            <a:ext cx="25400" cy="3175"/>
          </a:xfrm>
          <a:custGeom>
            <a:avLst/>
            <a:gdLst>
              <a:gd name="T0" fmla="*/ 0 w 8"/>
              <a:gd name="T1" fmla="*/ 0 h 1"/>
              <a:gd name="T2" fmla="*/ 0 w 8"/>
              <a:gd name="T3" fmla="*/ 0 h 1"/>
              <a:gd name="T4" fmla="*/ 8 w 8"/>
              <a:gd name="T5" fmla="*/ 1 h 1"/>
              <a:gd name="T6" fmla="*/ 8 w 8"/>
              <a:gd name="T7" fmla="*/ 1 h 1"/>
              <a:gd name="T8" fmla="*/ 0 w 8"/>
              <a:gd name="T9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" h="1"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3" y="1"/>
                  <a:pt x="5" y="1"/>
                  <a:pt x="8" y="1"/>
                </a:cubicBezTo>
                <a:cubicBezTo>
                  <a:pt x="8" y="1"/>
                  <a:pt x="8" y="1"/>
                  <a:pt x="8" y="1"/>
                </a:cubicBezTo>
                <a:cubicBezTo>
                  <a:pt x="5" y="1"/>
                  <a:pt x="3" y="1"/>
                  <a:pt x="0" y="0"/>
                </a:cubicBezTo>
              </a:path>
            </a:pathLst>
          </a:custGeom>
          <a:solidFill>
            <a:srgbClr val="FFA78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96" name="任意多边形: 形状 495">
            <a:extLst>
              <a:ext uri="{FF2B5EF4-FFF2-40B4-BE49-F238E27FC236}">
                <a16:creationId xmlns:a16="http://schemas.microsoft.com/office/drawing/2014/main" id="{B216F170-74AE-43D3-8DD3-34430F54D355}"/>
              </a:ext>
            </a:extLst>
          </p:cNvPr>
          <p:cNvSpPr>
            <a:spLocks/>
          </p:cNvSpPr>
          <p:nvPr/>
        </p:nvSpPr>
        <p:spPr bwMode="auto">
          <a:xfrm flipH="1">
            <a:off x="9269469" y="3282419"/>
            <a:ext cx="141288" cy="300038"/>
          </a:xfrm>
          <a:custGeom>
            <a:avLst/>
            <a:gdLst>
              <a:gd name="T0" fmla="*/ 0 w 43"/>
              <a:gd name="T1" fmla="*/ 0 h 91"/>
              <a:gd name="T2" fmla="*/ 6 w 43"/>
              <a:gd name="T3" fmla="*/ 32 h 91"/>
              <a:gd name="T4" fmla="*/ 35 w 43"/>
              <a:gd name="T5" fmla="*/ 91 h 91"/>
              <a:gd name="T6" fmla="*/ 43 w 43"/>
              <a:gd name="T7" fmla="*/ 89 h 91"/>
              <a:gd name="T8" fmla="*/ 31 w 43"/>
              <a:gd name="T9" fmla="*/ 59 h 91"/>
              <a:gd name="T10" fmla="*/ 8 w 43"/>
              <a:gd name="T11" fmla="*/ 1 h 91"/>
              <a:gd name="T12" fmla="*/ 0 w 43"/>
              <a:gd name="T13" fmla="*/ 0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3" h="91">
                <a:moveTo>
                  <a:pt x="0" y="0"/>
                </a:moveTo>
                <a:cubicBezTo>
                  <a:pt x="0" y="11"/>
                  <a:pt x="2" y="22"/>
                  <a:pt x="6" y="32"/>
                </a:cubicBezTo>
                <a:cubicBezTo>
                  <a:pt x="15" y="53"/>
                  <a:pt x="31" y="69"/>
                  <a:pt x="35" y="91"/>
                </a:cubicBezTo>
                <a:cubicBezTo>
                  <a:pt x="38" y="90"/>
                  <a:pt x="40" y="90"/>
                  <a:pt x="43" y="89"/>
                </a:cubicBezTo>
                <a:cubicBezTo>
                  <a:pt x="41" y="79"/>
                  <a:pt x="37" y="69"/>
                  <a:pt x="31" y="59"/>
                </a:cubicBezTo>
                <a:cubicBezTo>
                  <a:pt x="20" y="39"/>
                  <a:pt x="10" y="22"/>
                  <a:pt x="8" y="1"/>
                </a:cubicBezTo>
                <a:cubicBezTo>
                  <a:pt x="5" y="1"/>
                  <a:pt x="3" y="1"/>
                  <a:pt x="0" y="0"/>
                </a:cubicBezTo>
              </a:path>
            </a:pathLst>
          </a:custGeom>
          <a:solidFill>
            <a:srgbClr val="FF5C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97" name="任意多边形: 形状 496">
            <a:extLst>
              <a:ext uri="{FF2B5EF4-FFF2-40B4-BE49-F238E27FC236}">
                <a16:creationId xmlns:a16="http://schemas.microsoft.com/office/drawing/2014/main" id="{7ACE8C6D-8F07-48EF-8160-C3EB5C38E805}"/>
              </a:ext>
            </a:extLst>
          </p:cNvPr>
          <p:cNvSpPr>
            <a:spLocks/>
          </p:cNvSpPr>
          <p:nvPr/>
        </p:nvSpPr>
        <p:spPr bwMode="auto">
          <a:xfrm flipH="1">
            <a:off x="9428219" y="3252256"/>
            <a:ext cx="117475" cy="342900"/>
          </a:xfrm>
          <a:custGeom>
            <a:avLst/>
            <a:gdLst>
              <a:gd name="T0" fmla="*/ 2 w 36"/>
              <a:gd name="T1" fmla="*/ 0 h 104"/>
              <a:gd name="T2" fmla="*/ 7 w 36"/>
              <a:gd name="T3" fmla="*/ 49 h 104"/>
              <a:gd name="T4" fmla="*/ 17 w 36"/>
              <a:gd name="T5" fmla="*/ 81 h 104"/>
              <a:gd name="T6" fmla="*/ 27 w 36"/>
              <a:gd name="T7" fmla="*/ 104 h 104"/>
              <a:gd name="T8" fmla="*/ 31 w 36"/>
              <a:gd name="T9" fmla="*/ 104 h 104"/>
              <a:gd name="T10" fmla="*/ 36 w 36"/>
              <a:gd name="T11" fmla="*/ 104 h 104"/>
              <a:gd name="T12" fmla="*/ 21 w 36"/>
              <a:gd name="T13" fmla="*/ 68 h 104"/>
              <a:gd name="T14" fmla="*/ 10 w 36"/>
              <a:gd name="T15" fmla="*/ 2 h 104"/>
              <a:gd name="T16" fmla="*/ 2 w 36"/>
              <a:gd name="T17" fmla="*/ 0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6" h="104">
                <a:moveTo>
                  <a:pt x="2" y="0"/>
                </a:moveTo>
                <a:cubicBezTo>
                  <a:pt x="0" y="16"/>
                  <a:pt x="3" y="33"/>
                  <a:pt x="7" y="49"/>
                </a:cubicBezTo>
                <a:cubicBezTo>
                  <a:pt x="9" y="60"/>
                  <a:pt x="13" y="70"/>
                  <a:pt x="17" y="81"/>
                </a:cubicBezTo>
                <a:cubicBezTo>
                  <a:pt x="20" y="89"/>
                  <a:pt x="24" y="96"/>
                  <a:pt x="27" y="104"/>
                </a:cubicBezTo>
                <a:cubicBezTo>
                  <a:pt x="28" y="104"/>
                  <a:pt x="30" y="104"/>
                  <a:pt x="31" y="104"/>
                </a:cubicBezTo>
                <a:cubicBezTo>
                  <a:pt x="33" y="104"/>
                  <a:pt x="34" y="104"/>
                  <a:pt x="36" y="104"/>
                </a:cubicBezTo>
                <a:cubicBezTo>
                  <a:pt x="32" y="92"/>
                  <a:pt x="25" y="80"/>
                  <a:pt x="21" y="68"/>
                </a:cubicBezTo>
                <a:cubicBezTo>
                  <a:pt x="14" y="48"/>
                  <a:pt x="7" y="24"/>
                  <a:pt x="10" y="2"/>
                </a:cubicBezTo>
                <a:cubicBezTo>
                  <a:pt x="7" y="1"/>
                  <a:pt x="5" y="1"/>
                  <a:pt x="2" y="0"/>
                </a:cubicBezTo>
              </a:path>
            </a:pathLst>
          </a:custGeom>
          <a:solidFill>
            <a:srgbClr val="FF5C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98" name="任意多边形: 形状 497">
            <a:extLst>
              <a:ext uri="{FF2B5EF4-FFF2-40B4-BE49-F238E27FC236}">
                <a16:creationId xmlns:a16="http://schemas.microsoft.com/office/drawing/2014/main" id="{311527CA-7BE3-4BD7-BC5C-025328E3218E}"/>
              </a:ext>
            </a:extLst>
          </p:cNvPr>
          <p:cNvSpPr>
            <a:spLocks/>
          </p:cNvSpPr>
          <p:nvPr/>
        </p:nvSpPr>
        <p:spPr bwMode="auto">
          <a:xfrm flipH="1">
            <a:off x="9034519" y="3190344"/>
            <a:ext cx="115888" cy="328613"/>
          </a:xfrm>
          <a:custGeom>
            <a:avLst/>
            <a:gdLst>
              <a:gd name="T0" fmla="*/ 8 w 35"/>
              <a:gd name="T1" fmla="*/ 0 h 100"/>
              <a:gd name="T2" fmla="*/ 0 w 35"/>
              <a:gd name="T3" fmla="*/ 3 h 100"/>
              <a:gd name="T4" fmla="*/ 16 w 35"/>
              <a:gd name="T5" fmla="*/ 57 h 100"/>
              <a:gd name="T6" fmla="*/ 24 w 35"/>
              <a:gd name="T7" fmla="*/ 88 h 100"/>
              <a:gd name="T8" fmla="*/ 27 w 35"/>
              <a:gd name="T9" fmla="*/ 100 h 100"/>
              <a:gd name="T10" fmla="*/ 35 w 35"/>
              <a:gd name="T11" fmla="*/ 96 h 100"/>
              <a:gd name="T12" fmla="*/ 29 w 35"/>
              <a:gd name="T13" fmla="*/ 75 h 100"/>
              <a:gd name="T14" fmla="*/ 8 w 35"/>
              <a:gd name="T15" fmla="*/ 0 h 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5" h="100">
                <a:moveTo>
                  <a:pt x="8" y="0"/>
                </a:moveTo>
                <a:cubicBezTo>
                  <a:pt x="5" y="1"/>
                  <a:pt x="3" y="2"/>
                  <a:pt x="0" y="3"/>
                </a:cubicBezTo>
                <a:cubicBezTo>
                  <a:pt x="5" y="21"/>
                  <a:pt x="11" y="39"/>
                  <a:pt x="16" y="57"/>
                </a:cubicBezTo>
                <a:cubicBezTo>
                  <a:pt x="19" y="68"/>
                  <a:pt x="21" y="78"/>
                  <a:pt x="24" y="88"/>
                </a:cubicBezTo>
                <a:cubicBezTo>
                  <a:pt x="24" y="92"/>
                  <a:pt x="25" y="96"/>
                  <a:pt x="27" y="100"/>
                </a:cubicBezTo>
                <a:cubicBezTo>
                  <a:pt x="30" y="99"/>
                  <a:pt x="32" y="98"/>
                  <a:pt x="35" y="96"/>
                </a:cubicBezTo>
                <a:cubicBezTo>
                  <a:pt x="33" y="89"/>
                  <a:pt x="30" y="81"/>
                  <a:pt x="29" y="75"/>
                </a:cubicBezTo>
                <a:cubicBezTo>
                  <a:pt x="23" y="50"/>
                  <a:pt x="15" y="25"/>
                  <a:pt x="8" y="0"/>
                </a:cubicBezTo>
              </a:path>
            </a:pathLst>
          </a:custGeom>
          <a:solidFill>
            <a:srgbClr val="FF5C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99" name="任意多边形: 形状 498">
            <a:extLst>
              <a:ext uri="{FF2B5EF4-FFF2-40B4-BE49-F238E27FC236}">
                <a16:creationId xmlns:a16="http://schemas.microsoft.com/office/drawing/2014/main" id="{AFF2B2B1-4ED3-4E60-9B56-A70E6FC45F89}"/>
              </a:ext>
            </a:extLst>
          </p:cNvPr>
          <p:cNvSpPr>
            <a:spLocks/>
          </p:cNvSpPr>
          <p:nvPr/>
        </p:nvSpPr>
        <p:spPr bwMode="auto">
          <a:xfrm flipH="1">
            <a:off x="9245656" y="3252256"/>
            <a:ext cx="26988" cy="14288"/>
          </a:xfrm>
          <a:custGeom>
            <a:avLst/>
            <a:gdLst>
              <a:gd name="T0" fmla="*/ 8 w 8"/>
              <a:gd name="T1" fmla="*/ 0 h 4"/>
              <a:gd name="T2" fmla="*/ 0 w 8"/>
              <a:gd name="T3" fmla="*/ 4 h 4"/>
              <a:gd name="T4" fmla="*/ 0 w 8"/>
              <a:gd name="T5" fmla="*/ 4 h 4"/>
              <a:gd name="T6" fmla="*/ 8 w 8"/>
              <a:gd name="T7" fmla="*/ 0 h 4"/>
              <a:gd name="T8" fmla="*/ 8 w 8"/>
              <a:gd name="T9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" h="4">
                <a:moveTo>
                  <a:pt x="8" y="0"/>
                </a:moveTo>
                <a:cubicBezTo>
                  <a:pt x="5" y="1"/>
                  <a:pt x="3" y="2"/>
                  <a:pt x="0" y="4"/>
                </a:cubicBezTo>
                <a:cubicBezTo>
                  <a:pt x="0" y="4"/>
                  <a:pt x="0" y="4"/>
                  <a:pt x="0" y="4"/>
                </a:cubicBezTo>
                <a:cubicBezTo>
                  <a:pt x="3" y="2"/>
                  <a:pt x="5" y="1"/>
                  <a:pt x="8" y="0"/>
                </a:cubicBezTo>
                <a:cubicBezTo>
                  <a:pt x="8" y="0"/>
                  <a:pt x="8" y="0"/>
                  <a:pt x="8" y="0"/>
                </a:cubicBezTo>
              </a:path>
            </a:pathLst>
          </a:custGeom>
          <a:solidFill>
            <a:srgbClr val="FFA78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00" name="任意多边形: 形状 499">
            <a:extLst>
              <a:ext uri="{FF2B5EF4-FFF2-40B4-BE49-F238E27FC236}">
                <a16:creationId xmlns:a16="http://schemas.microsoft.com/office/drawing/2014/main" id="{462FD138-5F51-4394-891D-3F9CEA6E8578}"/>
              </a:ext>
            </a:extLst>
          </p:cNvPr>
          <p:cNvSpPr>
            <a:spLocks/>
          </p:cNvSpPr>
          <p:nvPr/>
        </p:nvSpPr>
        <p:spPr bwMode="auto">
          <a:xfrm flipH="1">
            <a:off x="9126594" y="3252256"/>
            <a:ext cx="146050" cy="296863"/>
          </a:xfrm>
          <a:custGeom>
            <a:avLst/>
            <a:gdLst>
              <a:gd name="T0" fmla="*/ 8 w 44"/>
              <a:gd name="T1" fmla="*/ 0 h 90"/>
              <a:gd name="T2" fmla="*/ 0 w 44"/>
              <a:gd name="T3" fmla="*/ 4 h 90"/>
              <a:gd name="T4" fmla="*/ 13 w 44"/>
              <a:gd name="T5" fmla="*/ 45 h 90"/>
              <a:gd name="T6" fmla="*/ 37 w 44"/>
              <a:gd name="T7" fmla="*/ 90 h 90"/>
              <a:gd name="T8" fmla="*/ 44 w 44"/>
              <a:gd name="T9" fmla="*/ 88 h 90"/>
              <a:gd name="T10" fmla="*/ 32 w 44"/>
              <a:gd name="T11" fmla="*/ 65 h 90"/>
              <a:gd name="T12" fmla="*/ 8 w 44"/>
              <a:gd name="T13" fmla="*/ 0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4" h="90">
                <a:moveTo>
                  <a:pt x="8" y="0"/>
                </a:moveTo>
                <a:cubicBezTo>
                  <a:pt x="5" y="1"/>
                  <a:pt x="3" y="2"/>
                  <a:pt x="0" y="4"/>
                </a:cubicBezTo>
                <a:cubicBezTo>
                  <a:pt x="3" y="18"/>
                  <a:pt x="7" y="31"/>
                  <a:pt x="13" y="45"/>
                </a:cubicBezTo>
                <a:cubicBezTo>
                  <a:pt x="18" y="58"/>
                  <a:pt x="29" y="74"/>
                  <a:pt x="37" y="90"/>
                </a:cubicBezTo>
                <a:cubicBezTo>
                  <a:pt x="39" y="89"/>
                  <a:pt x="41" y="88"/>
                  <a:pt x="44" y="88"/>
                </a:cubicBezTo>
                <a:cubicBezTo>
                  <a:pt x="40" y="80"/>
                  <a:pt x="35" y="73"/>
                  <a:pt x="32" y="65"/>
                </a:cubicBezTo>
                <a:cubicBezTo>
                  <a:pt x="21" y="44"/>
                  <a:pt x="12" y="23"/>
                  <a:pt x="8" y="0"/>
                </a:cubicBezTo>
              </a:path>
            </a:pathLst>
          </a:custGeom>
          <a:solidFill>
            <a:srgbClr val="FF5C5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01" name="任意多边形: 形状 500">
            <a:extLst>
              <a:ext uri="{FF2B5EF4-FFF2-40B4-BE49-F238E27FC236}">
                <a16:creationId xmlns:a16="http://schemas.microsoft.com/office/drawing/2014/main" id="{5BE5E154-345A-4065-A71B-DEBD64CD3419}"/>
              </a:ext>
            </a:extLst>
          </p:cNvPr>
          <p:cNvSpPr>
            <a:spLocks/>
          </p:cNvSpPr>
          <p:nvPr/>
        </p:nvSpPr>
        <p:spPr bwMode="auto">
          <a:xfrm flipH="1">
            <a:off x="6818369" y="3434819"/>
            <a:ext cx="3883025" cy="2286000"/>
          </a:xfrm>
          <a:custGeom>
            <a:avLst/>
            <a:gdLst>
              <a:gd name="T0" fmla="*/ 1177 w 1177"/>
              <a:gd name="T1" fmla="*/ 168 h 694"/>
              <a:gd name="T2" fmla="*/ 912 w 1177"/>
              <a:gd name="T3" fmla="*/ 395 h 694"/>
              <a:gd name="T4" fmla="*/ 630 w 1177"/>
              <a:gd name="T5" fmla="*/ 291 h 694"/>
              <a:gd name="T6" fmla="*/ 631 w 1177"/>
              <a:gd name="T7" fmla="*/ 294 h 694"/>
              <a:gd name="T8" fmla="*/ 646 w 1177"/>
              <a:gd name="T9" fmla="*/ 417 h 694"/>
              <a:gd name="T10" fmla="*/ 654 w 1177"/>
              <a:gd name="T11" fmla="*/ 586 h 694"/>
              <a:gd name="T12" fmla="*/ 237 w 1177"/>
              <a:gd name="T13" fmla="*/ 586 h 694"/>
              <a:gd name="T14" fmla="*/ 253 w 1177"/>
              <a:gd name="T15" fmla="*/ 671 h 694"/>
              <a:gd name="T16" fmla="*/ 131 w 1177"/>
              <a:gd name="T17" fmla="*/ 694 h 694"/>
              <a:gd name="T18" fmla="*/ 161 w 1177"/>
              <a:gd name="T19" fmla="*/ 163 h 694"/>
              <a:gd name="T20" fmla="*/ 352 w 1177"/>
              <a:gd name="T21" fmla="*/ 8 h 694"/>
              <a:gd name="T22" fmla="*/ 455 w 1177"/>
              <a:gd name="T23" fmla="*/ 9 h 694"/>
              <a:gd name="T24" fmla="*/ 880 w 1177"/>
              <a:gd name="T25" fmla="*/ 237 h 694"/>
              <a:gd name="T26" fmla="*/ 1058 w 1177"/>
              <a:gd name="T27" fmla="*/ 111 h 694"/>
              <a:gd name="T28" fmla="*/ 1155 w 1177"/>
              <a:gd name="T29" fmla="*/ 158 h 694"/>
              <a:gd name="T30" fmla="*/ 1177 w 1177"/>
              <a:gd name="T31" fmla="*/ 168 h 6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177" h="694">
                <a:moveTo>
                  <a:pt x="1177" y="168"/>
                </a:moveTo>
                <a:cubicBezTo>
                  <a:pt x="1177" y="168"/>
                  <a:pt x="1108" y="376"/>
                  <a:pt x="912" y="395"/>
                </a:cubicBezTo>
                <a:cubicBezTo>
                  <a:pt x="764" y="410"/>
                  <a:pt x="630" y="291"/>
                  <a:pt x="630" y="291"/>
                </a:cubicBezTo>
                <a:cubicBezTo>
                  <a:pt x="631" y="294"/>
                  <a:pt x="631" y="294"/>
                  <a:pt x="631" y="294"/>
                </a:cubicBezTo>
                <a:cubicBezTo>
                  <a:pt x="635" y="308"/>
                  <a:pt x="651" y="360"/>
                  <a:pt x="646" y="417"/>
                </a:cubicBezTo>
                <a:cubicBezTo>
                  <a:pt x="641" y="470"/>
                  <a:pt x="681" y="536"/>
                  <a:pt x="654" y="586"/>
                </a:cubicBezTo>
                <a:cubicBezTo>
                  <a:pt x="237" y="586"/>
                  <a:pt x="237" y="586"/>
                  <a:pt x="237" y="586"/>
                </a:cubicBezTo>
                <a:cubicBezTo>
                  <a:pt x="253" y="671"/>
                  <a:pt x="253" y="671"/>
                  <a:pt x="253" y="671"/>
                </a:cubicBezTo>
                <a:cubicBezTo>
                  <a:pt x="131" y="694"/>
                  <a:pt x="131" y="694"/>
                  <a:pt x="131" y="694"/>
                </a:cubicBezTo>
                <a:cubicBezTo>
                  <a:pt x="0" y="492"/>
                  <a:pt x="66" y="288"/>
                  <a:pt x="161" y="163"/>
                </a:cubicBezTo>
                <a:cubicBezTo>
                  <a:pt x="245" y="52"/>
                  <a:pt x="352" y="8"/>
                  <a:pt x="352" y="8"/>
                </a:cubicBezTo>
                <a:cubicBezTo>
                  <a:pt x="455" y="9"/>
                  <a:pt x="455" y="9"/>
                  <a:pt x="455" y="9"/>
                </a:cubicBezTo>
                <a:cubicBezTo>
                  <a:pt x="638" y="0"/>
                  <a:pt x="775" y="205"/>
                  <a:pt x="880" y="237"/>
                </a:cubicBezTo>
                <a:cubicBezTo>
                  <a:pt x="985" y="270"/>
                  <a:pt x="1058" y="111"/>
                  <a:pt x="1058" y="111"/>
                </a:cubicBezTo>
                <a:cubicBezTo>
                  <a:pt x="1155" y="158"/>
                  <a:pt x="1155" y="158"/>
                  <a:pt x="1155" y="158"/>
                </a:cubicBezTo>
                <a:cubicBezTo>
                  <a:pt x="1177" y="168"/>
                  <a:pt x="1177" y="168"/>
                  <a:pt x="1177" y="168"/>
                </a:cubicBezTo>
              </a:path>
            </a:pathLst>
          </a:custGeom>
          <a:solidFill>
            <a:srgbClr val="322C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88" name="任意多边形: 形状 387">
            <a:extLst>
              <a:ext uri="{FF2B5EF4-FFF2-40B4-BE49-F238E27FC236}">
                <a16:creationId xmlns:a16="http://schemas.microsoft.com/office/drawing/2014/main" id="{CD803332-1AA0-4520-9000-5210BD854836}"/>
              </a:ext>
            </a:extLst>
          </p:cNvPr>
          <p:cNvSpPr/>
          <p:nvPr userDrawn="1"/>
        </p:nvSpPr>
        <p:spPr>
          <a:xfrm flipH="1">
            <a:off x="11866617" y="1383963"/>
            <a:ext cx="330303" cy="887026"/>
          </a:xfrm>
          <a:custGeom>
            <a:avLst/>
            <a:gdLst>
              <a:gd name="connsiteX0" fmla="*/ 0 w 330303"/>
              <a:gd name="connsiteY0" fmla="*/ 0 h 887026"/>
              <a:gd name="connsiteX1" fmla="*/ 45733 w 330303"/>
              <a:gd name="connsiteY1" fmla="*/ 14196 h 887026"/>
              <a:gd name="connsiteX2" fmla="*/ 330303 w 330303"/>
              <a:gd name="connsiteY2" fmla="*/ 443513 h 887026"/>
              <a:gd name="connsiteX3" fmla="*/ 45733 w 330303"/>
              <a:gd name="connsiteY3" fmla="*/ 872830 h 887026"/>
              <a:gd name="connsiteX4" fmla="*/ 0 w 330303"/>
              <a:gd name="connsiteY4" fmla="*/ 887026 h 8870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0303" h="887026">
                <a:moveTo>
                  <a:pt x="0" y="0"/>
                </a:moveTo>
                <a:lnTo>
                  <a:pt x="45733" y="14196"/>
                </a:lnTo>
                <a:cubicBezTo>
                  <a:pt x="212963" y="84929"/>
                  <a:pt x="330303" y="250518"/>
                  <a:pt x="330303" y="443513"/>
                </a:cubicBezTo>
                <a:cubicBezTo>
                  <a:pt x="330303" y="636508"/>
                  <a:pt x="212963" y="802097"/>
                  <a:pt x="45733" y="872830"/>
                </a:cubicBezTo>
                <a:lnTo>
                  <a:pt x="0" y="887026"/>
                </a:lnTo>
                <a:close/>
              </a:path>
            </a:pathLst>
          </a:custGeom>
          <a:solidFill>
            <a:srgbClr val="C7DBF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389" name="任意多边形: 形状 388">
            <a:extLst>
              <a:ext uri="{FF2B5EF4-FFF2-40B4-BE49-F238E27FC236}">
                <a16:creationId xmlns:a16="http://schemas.microsoft.com/office/drawing/2014/main" id="{773A9CF0-4B0C-43B8-BAF7-21D9C861DE3C}"/>
              </a:ext>
            </a:extLst>
          </p:cNvPr>
          <p:cNvSpPr/>
          <p:nvPr userDrawn="1"/>
        </p:nvSpPr>
        <p:spPr>
          <a:xfrm flipH="1">
            <a:off x="-34105" y="6388506"/>
            <a:ext cx="636607" cy="469494"/>
          </a:xfrm>
          <a:custGeom>
            <a:avLst/>
            <a:gdLst>
              <a:gd name="connsiteX0" fmla="*/ 636607 w 636607"/>
              <a:gd name="connsiteY0" fmla="*/ 0 h 469494"/>
              <a:gd name="connsiteX1" fmla="*/ 636607 w 636607"/>
              <a:gd name="connsiteY1" fmla="*/ 469494 h 469494"/>
              <a:gd name="connsiteX2" fmla="*/ 0 w 636607"/>
              <a:gd name="connsiteY2" fmla="*/ 469494 h 469494"/>
              <a:gd name="connsiteX3" fmla="*/ 13701 w 636607"/>
              <a:gd name="connsiteY3" fmla="*/ 425358 h 469494"/>
              <a:gd name="connsiteX4" fmla="*/ 517695 w 636607"/>
              <a:gd name="connsiteY4" fmla="*/ 11987 h 469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6607" h="469494">
                <a:moveTo>
                  <a:pt x="636607" y="0"/>
                </a:moveTo>
                <a:lnTo>
                  <a:pt x="636607" y="469494"/>
                </a:lnTo>
                <a:lnTo>
                  <a:pt x="0" y="469494"/>
                </a:lnTo>
                <a:lnTo>
                  <a:pt x="13701" y="425358"/>
                </a:lnTo>
                <a:cubicBezTo>
                  <a:pt x="102269" y="215958"/>
                  <a:pt x="289818" y="58617"/>
                  <a:pt x="517695" y="11987"/>
                </a:cubicBezTo>
                <a:close/>
              </a:path>
            </a:pathLst>
          </a:custGeom>
          <a:solidFill>
            <a:srgbClr val="C7DBFC"/>
          </a:solidFill>
          <a:ln w="9525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zh-CN" alt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3.xml"/><Relationship Id="rId4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cs typeface="+mn-ea"/>
              <a:sym typeface="+mn-lt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5645726" y="1892300"/>
            <a:ext cx="5873174" cy="1926420"/>
          </a:xfrm>
        </p:spPr>
        <p:txBody>
          <a:bodyPr>
            <a:normAutofit/>
          </a:bodyPr>
          <a:lstStyle/>
          <a:p>
            <a:r>
              <a:rPr lang="zh-CN" altLang="en-US" sz="7200" i="0" dirty="0">
                <a:latin typeface="+mn-lt"/>
                <a:ea typeface="+mn-ea"/>
                <a:cs typeface="+mn-ea"/>
                <a:sym typeface="+mn-lt"/>
              </a:rPr>
              <a:t>冠状病毒</a:t>
            </a:r>
            <a:br>
              <a:rPr lang="zh-CN" altLang="en-US" sz="7200" i="0" dirty="0">
                <a:latin typeface="+mn-lt"/>
                <a:ea typeface="+mn-ea"/>
                <a:cs typeface="+mn-ea"/>
                <a:sym typeface="+mn-lt"/>
              </a:rPr>
            </a:br>
            <a:r>
              <a:rPr lang="zh-CN" altLang="en-US" sz="4800" b="1" i="0" dirty="0">
                <a:latin typeface="+mn-lt"/>
                <a:ea typeface="+mn-ea"/>
                <a:cs typeface="+mn-ea"/>
                <a:sym typeface="+mn-lt"/>
              </a:rPr>
              <a:t>如何做好公众预防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Speaker name and title</a:t>
            </a:r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en-US" altLang="en-US" dirty="0">
              <a:cs typeface="+mn-ea"/>
              <a:sym typeface="+mn-lt"/>
            </a:endParaRPr>
          </a:p>
        </p:txBody>
      </p:sp>
      <p:sp>
        <p:nvSpPr>
          <p:cNvPr id="16" name="文本占位符 15">
            <a:extLst>
              <a:ext uri="{FF2B5EF4-FFF2-40B4-BE49-F238E27FC236}">
                <a16:creationId xmlns:a16="http://schemas.microsoft.com/office/drawing/2014/main" id="{D1FD7AE2-7279-40C7-A343-99881E23A97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zh-CN" altLang="en-US" spc="2000" dirty="0">
                <a:cs typeface="+mn-ea"/>
                <a:sym typeface="+mn-lt"/>
              </a:rPr>
              <a:t>众志成城万众一心 </a:t>
            </a:r>
          </a:p>
        </p:txBody>
      </p:sp>
      <p:grpSp>
        <p:nvGrpSpPr>
          <p:cNvPr id="10" name="组合 9">
            <a:extLst>
              <a:ext uri="{FF2B5EF4-FFF2-40B4-BE49-F238E27FC236}">
                <a16:creationId xmlns:a16="http://schemas.microsoft.com/office/drawing/2014/main" id="{A346248C-F61E-49C3-AE45-09F9996146AD}"/>
              </a:ext>
            </a:extLst>
          </p:cNvPr>
          <p:cNvGrpSpPr/>
          <p:nvPr/>
        </p:nvGrpSpPr>
        <p:grpSpPr>
          <a:xfrm>
            <a:off x="9037739" y="737492"/>
            <a:ext cx="2288776" cy="717106"/>
            <a:chOff x="5123032" y="2373367"/>
            <a:chExt cx="2801768" cy="877833"/>
          </a:xfrm>
        </p:grpSpPr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ABA6AF41-1CC6-4973-A490-5358F212F77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123032" y="2373367"/>
              <a:ext cx="604667" cy="779836"/>
            </a:xfrm>
            <a:custGeom>
              <a:avLst/>
              <a:gdLst>
                <a:gd name="T0" fmla="*/ 1658 w 3066"/>
                <a:gd name="T1" fmla="*/ 1409 h 3960"/>
                <a:gd name="T2" fmla="*/ 2200 w 3066"/>
                <a:gd name="T3" fmla="*/ 1482 h 3960"/>
                <a:gd name="T4" fmla="*/ 2799 w 3066"/>
                <a:gd name="T5" fmla="*/ 1713 h 3960"/>
                <a:gd name="T6" fmla="*/ 2451 w 3066"/>
                <a:gd name="T7" fmla="*/ 2548 h 3960"/>
                <a:gd name="T8" fmla="*/ 2162 w 3066"/>
                <a:gd name="T9" fmla="*/ 2681 h 3960"/>
                <a:gd name="T10" fmla="*/ 2295 w 3066"/>
                <a:gd name="T11" fmla="*/ 3960 h 3960"/>
                <a:gd name="T12" fmla="*/ 2429 w 3066"/>
                <a:gd name="T13" fmla="*/ 2815 h 3960"/>
                <a:gd name="T14" fmla="*/ 3066 w 3066"/>
                <a:gd name="T15" fmla="*/ 2200 h 3960"/>
                <a:gd name="T16" fmla="*/ 2715 w 3066"/>
                <a:gd name="T17" fmla="*/ 212 h 3960"/>
                <a:gd name="T18" fmla="*/ 2407 w 3066"/>
                <a:gd name="T19" fmla="*/ 229 h 3960"/>
                <a:gd name="T20" fmla="*/ 1876 w 3066"/>
                <a:gd name="T21" fmla="*/ 0 h 3960"/>
                <a:gd name="T22" fmla="*/ 1441 w 3066"/>
                <a:gd name="T23" fmla="*/ 0 h 3960"/>
                <a:gd name="T24" fmla="*/ 1021 w 3066"/>
                <a:gd name="T25" fmla="*/ 76 h 3960"/>
                <a:gd name="T26" fmla="*/ 602 w 3066"/>
                <a:gd name="T27" fmla="*/ 0 h 3960"/>
                <a:gd name="T28" fmla="*/ 251 w 3066"/>
                <a:gd name="T29" fmla="*/ 1076 h 3960"/>
                <a:gd name="T30" fmla="*/ 0 w 3066"/>
                <a:gd name="T31" fmla="*/ 1614 h 3960"/>
                <a:gd name="T32" fmla="*/ 244 w 3066"/>
                <a:gd name="T33" fmla="*/ 2182 h 3960"/>
                <a:gd name="T34" fmla="*/ 888 w 3066"/>
                <a:gd name="T35" fmla="*/ 3827 h 3960"/>
                <a:gd name="T36" fmla="*/ 1155 w 3066"/>
                <a:gd name="T37" fmla="*/ 3827 h 3960"/>
                <a:gd name="T38" fmla="*/ 1021 w 3066"/>
                <a:gd name="T39" fmla="*/ 2548 h 3960"/>
                <a:gd name="T40" fmla="*/ 504 w 3066"/>
                <a:gd name="T41" fmla="*/ 2124 h 3960"/>
                <a:gd name="T42" fmla="*/ 1089 w 3066"/>
                <a:gd name="T43" fmla="*/ 1965 h 3960"/>
                <a:gd name="T44" fmla="*/ 1525 w 3066"/>
                <a:gd name="T45" fmla="*/ 2044 h 3960"/>
                <a:gd name="T46" fmla="*/ 1658 w 3066"/>
                <a:gd name="T47" fmla="*/ 2602 h 3960"/>
                <a:gd name="T48" fmla="*/ 1792 w 3066"/>
                <a:gd name="T49" fmla="*/ 2044 h 3960"/>
                <a:gd name="T50" fmla="*/ 1541 w 3066"/>
                <a:gd name="T51" fmla="*/ 1494 h 3960"/>
                <a:gd name="T52" fmla="*/ 804 w 3066"/>
                <a:gd name="T53" fmla="*/ 267 h 3960"/>
                <a:gd name="T54" fmla="*/ 888 w 3066"/>
                <a:gd name="T55" fmla="*/ 1062 h 3960"/>
                <a:gd name="T56" fmla="*/ 518 w 3066"/>
                <a:gd name="T57" fmla="*/ 351 h 3960"/>
                <a:gd name="T58" fmla="*/ 1089 w 3066"/>
                <a:gd name="T59" fmla="*/ 1699 h 3960"/>
                <a:gd name="T60" fmla="*/ 267 w 3066"/>
                <a:gd name="T61" fmla="*/ 1614 h 3960"/>
                <a:gd name="T62" fmla="*/ 351 w 3066"/>
                <a:gd name="T63" fmla="*/ 1328 h 3960"/>
                <a:gd name="T64" fmla="*/ 1274 w 3066"/>
                <a:gd name="T65" fmla="*/ 1513 h 3960"/>
                <a:gd name="T66" fmla="*/ 1155 w 3066"/>
                <a:gd name="T67" fmla="*/ 1067 h 3960"/>
                <a:gd name="T68" fmla="*/ 1239 w 3066"/>
                <a:gd name="T69" fmla="*/ 267 h 3960"/>
                <a:gd name="T70" fmla="*/ 1525 w 3066"/>
                <a:gd name="T71" fmla="*/ 351 h 3960"/>
                <a:gd name="T72" fmla="*/ 1448 w 3066"/>
                <a:gd name="T73" fmla="*/ 1239 h 3960"/>
                <a:gd name="T74" fmla="*/ 1977 w 3066"/>
                <a:gd name="T75" fmla="*/ 1274 h 3960"/>
                <a:gd name="T76" fmla="*/ 1792 w 3066"/>
                <a:gd name="T77" fmla="*/ 351 h 3960"/>
                <a:gd name="T78" fmla="*/ 2078 w 3066"/>
                <a:gd name="T79" fmla="*/ 267 h 3960"/>
                <a:gd name="T80" fmla="*/ 2162 w 3066"/>
                <a:gd name="T81" fmla="*/ 1089 h 3960"/>
                <a:gd name="T82" fmla="*/ 2614 w 3066"/>
                <a:gd name="T83" fmla="*/ 1486 h 3960"/>
                <a:gd name="T84" fmla="*/ 2429 w 3066"/>
                <a:gd name="T85" fmla="*/ 563 h 3960"/>
                <a:gd name="T86" fmla="*/ 2715 w 3066"/>
                <a:gd name="T87" fmla="*/ 479 h 3960"/>
                <a:gd name="T88" fmla="*/ 2799 w 3066"/>
                <a:gd name="T89" fmla="*/ 1301 h 3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066" h="3960">
                  <a:moveTo>
                    <a:pt x="1541" y="1494"/>
                  </a:moveTo>
                  <a:cubicBezTo>
                    <a:pt x="1584" y="1472"/>
                    <a:pt x="1624" y="1443"/>
                    <a:pt x="1658" y="1409"/>
                  </a:cubicBezTo>
                  <a:cubicBezTo>
                    <a:pt x="1740" y="1490"/>
                    <a:pt x="1853" y="1541"/>
                    <a:pt x="1977" y="1541"/>
                  </a:cubicBezTo>
                  <a:cubicBezTo>
                    <a:pt x="2058" y="1541"/>
                    <a:pt x="2134" y="1519"/>
                    <a:pt x="2200" y="1482"/>
                  </a:cubicBezTo>
                  <a:cubicBezTo>
                    <a:pt x="2270" y="1641"/>
                    <a:pt x="2429" y="1753"/>
                    <a:pt x="2614" y="1753"/>
                  </a:cubicBezTo>
                  <a:cubicBezTo>
                    <a:pt x="2680" y="1753"/>
                    <a:pt x="2743" y="1739"/>
                    <a:pt x="2799" y="1713"/>
                  </a:cubicBezTo>
                  <a:lnTo>
                    <a:pt x="2799" y="2200"/>
                  </a:lnTo>
                  <a:cubicBezTo>
                    <a:pt x="2799" y="2392"/>
                    <a:pt x="2643" y="2548"/>
                    <a:pt x="2451" y="2548"/>
                  </a:cubicBezTo>
                  <a:lnTo>
                    <a:pt x="2295" y="2548"/>
                  </a:lnTo>
                  <a:cubicBezTo>
                    <a:pt x="2222" y="2548"/>
                    <a:pt x="2162" y="2608"/>
                    <a:pt x="2162" y="2681"/>
                  </a:cubicBezTo>
                  <a:lnTo>
                    <a:pt x="2162" y="3827"/>
                  </a:lnTo>
                  <a:cubicBezTo>
                    <a:pt x="2162" y="3900"/>
                    <a:pt x="2222" y="3960"/>
                    <a:pt x="2295" y="3960"/>
                  </a:cubicBezTo>
                  <a:cubicBezTo>
                    <a:pt x="2369" y="3960"/>
                    <a:pt x="2429" y="3900"/>
                    <a:pt x="2429" y="3827"/>
                  </a:cubicBezTo>
                  <a:lnTo>
                    <a:pt x="2429" y="2815"/>
                  </a:lnTo>
                  <a:lnTo>
                    <a:pt x="2451" y="2815"/>
                  </a:lnTo>
                  <a:cubicBezTo>
                    <a:pt x="2790" y="2815"/>
                    <a:pt x="3066" y="2539"/>
                    <a:pt x="3066" y="2200"/>
                  </a:cubicBezTo>
                  <a:lnTo>
                    <a:pt x="3066" y="563"/>
                  </a:lnTo>
                  <a:cubicBezTo>
                    <a:pt x="3066" y="370"/>
                    <a:pt x="2908" y="212"/>
                    <a:pt x="2715" y="212"/>
                  </a:cubicBezTo>
                  <a:lnTo>
                    <a:pt x="2513" y="212"/>
                  </a:lnTo>
                  <a:cubicBezTo>
                    <a:pt x="2476" y="212"/>
                    <a:pt x="2440" y="218"/>
                    <a:pt x="2407" y="229"/>
                  </a:cubicBezTo>
                  <a:cubicBezTo>
                    <a:pt x="2357" y="95"/>
                    <a:pt x="2228" y="0"/>
                    <a:pt x="2078" y="0"/>
                  </a:cubicBezTo>
                  <a:lnTo>
                    <a:pt x="1876" y="0"/>
                  </a:lnTo>
                  <a:cubicBezTo>
                    <a:pt x="1794" y="0"/>
                    <a:pt x="1718" y="28"/>
                    <a:pt x="1658" y="76"/>
                  </a:cubicBezTo>
                  <a:cubicBezTo>
                    <a:pt x="1599" y="28"/>
                    <a:pt x="1523" y="0"/>
                    <a:pt x="1441" y="0"/>
                  </a:cubicBezTo>
                  <a:lnTo>
                    <a:pt x="1239" y="0"/>
                  </a:lnTo>
                  <a:cubicBezTo>
                    <a:pt x="1157" y="0"/>
                    <a:pt x="1081" y="28"/>
                    <a:pt x="1021" y="76"/>
                  </a:cubicBezTo>
                  <a:cubicBezTo>
                    <a:pt x="962" y="28"/>
                    <a:pt x="886" y="0"/>
                    <a:pt x="804" y="0"/>
                  </a:cubicBezTo>
                  <a:lnTo>
                    <a:pt x="602" y="0"/>
                  </a:lnTo>
                  <a:cubicBezTo>
                    <a:pt x="409" y="0"/>
                    <a:pt x="251" y="157"/>
                    <a:pt x="251" y="351"/>
                  </a:cubicBezTo>
                  <a:lnTo>
                    <a:pt x="251" y="1076"/>
                  </a:lnTo>
                  <a:cubicBezTo>
                    <a:pt x="106" y="1119"/>
                    <a:pt x="0" y="1254"/>
                    <a:pt x="0" y="1413"/>
                  </a:cubicBezTo>
                  <a:lnTo>
                    <a:pt x="0" y="1614"/>
                  </a:lnTo>
                  <a:cubicBezTo>
                    <a:pt x="0" y="1748"/>
                    <a:pt x="76" y="1865"/>
                    <a:pt x="187" y="1924"/>
                  </a:cubicBezTo>
                  <a:cubicBezTo>
                    <a:pt x="187" y="1924"/>
                    <a:pt x="230" y="2118"/>
                    <a:pt x="244" y="2182"/>
                  </a:cubicBezTo>
                  <a:cubicBezTo>
                    <a:pt x="316" y="2506"/>
                    <a:pt x="573" y="2750"/>
                    <a:pt x="888" y="2803"/>
                  </a:cubicBezTo>
                  <a:lnTo>
                    <a:pt x="888" y="3827"/>
                  </a:lnTo>
                  <a:cubicBezTo>
                    <a:pt x="888" y="3900"/>
                    <a:pt x="948" y="3960"/>
                    <a:pt x="1021" y="3960"/>
                  </a:cubicBezTo>
                  <a:cubicBezTo>
                    <a:pt x="1095" y="3960"/>
                    <a:pt x="1155" y="3900"/>
                    <a:pt x="1155" y="3827"/>
                  </a:cubicBezTo>
                  <a:lnTo>
                    <a:pt x="1155" y="2681"/>
                  </a:lnTo>
                  <a:cubicBezTo>
                    <a:pt x="1155" y="2608"/>
                    <a:pt x="1095" y="2548"/>
                    <a:pt x="1021" y="2548"/>
                  </a:cubicBezTo>
                  <a:cubicBezTo>
                    <a:pt x="1015" y="2548"/>
                    <a:pt x="1008" y="2548"/>
                    <a:pt x="1002" y="2548"/>
                  </a:cubicBezTo>
                  <a:cubicBezTo>
                    <a:pt x="762" y="2539"/>
                    <a:pt x="557" y="2365"/>
                    <a:pt x="504" y="2124"/>
                  </a:cubicBezTo>
                  <a:cubicBezTo>
                    <a:pt x="495" y="2085"/>
                    <a:pt x="469" y="1965"/>
                    <a:pt x="469" y="1965"/>
                  </a:cubicBezTo>
                  <a:lnTo>
                    <a:pt x="1089" y="1965"/>
                  </a:lnTo>
                  <a:cubicBezTo>
                    <a:pt x="1220" y="1965"/>
                    <a:pt x="1337" y="1910"/>
                    <a:pt x="1420" y="1821"/>
                  </a:cubicBezTo>
                  <a:cubicBezTo>
                    <a:pt x="1484" y="1874"/>
                    <a:pt x="1525" y="1954"/>
                    <a:pt x="1525" y="2044"/>
                  </a:cubicBezTo>
                  <a:lnTo>
                    <a:pt x="1525" y="2469"/>
                  </a:lnTo>
                  <a:cubicBezTo>
                    <a:pt x="1525" y="2543"/>
                    <a:pt x="1585" y="2602"/>
                    <a:pt x="1658" y="2602"/>
                  </a:cubicBezTo>
                  <a:cubicBezTo>
                    <a:pt x="1732" y="2602"/>
                    <a:pt x="1792" y="2543"/>
                    <a:pt x="1792" y="2469"/>
                  </a:cubicBezTo>
                  <a:lnTo>
                    <a:pt x="1792" y="2044"/>
                  </a:lnTo>
                  <a:cubicBezTo>
                    <a:pt x="1792" y="1848"/>
                    <a:pt x="1690" y="1675"/>
                    <a:pt x="1536" y="1576"/>
                  </a:cubicBezTo>
                  <a:cubicBezTo>
                    <a:pt x="1539" y="1556"/>
                    <a:pt x="1541" y="1515"/>
                    <a:pt x="1541" y="1494"/>
                  </a:cubicBezTo>
                  <a:close/>
                  <a:moveTo>
                    <a:pt x="602" y="267"/>
                  </a:moveTo>
                  <a:lnTo>
                    <a:pt x="804" y="267"/>
                  </a:lnTo>
                  <a:cubicBezTo>
                    <a:pt x="850" y="267"/>
                    <a:pt x="888" y="304"/>
                    <a:pt x="888" y="351"/>
                  </a:cubicBezTo>
                  <a:lnTo>
                    <a:pt x="888" y="1062"/>
                  </a:lnTo>
                  <a:lnTo>
                    <a:pt x="518" y="1062"/>
                  </a:lnTo>
                  <a:lnTo>
                    <a:pt x="518" y="351"/>
                  </a:lnTo>
                  <a:cubicBezTo>
                    <a:pt x="518" y="304"/>
                    <a:pt x="556" y="267"/>
                    <a:pt x="602" y="267"/>
                  </a:cubicBezTo>
                  <a:close/>
                  <a:moveTo>
                    <a:pt x="1089" y="1699"/>
                  </a:moveTo>
                  <a:lnTo>
                    <a:pt x="351" y="1699"/>
                  </a:lnTo>
                  <a:cubicBezTo>
                    <a:pt x="305" y="1699"/>
                    <a:pt x="267" y="1661"/>
                    <a:pt x="267" y="1614"/>
                  </a:cubicBezTo>
                  <a:lnTo>
                    <a:pt x="267" y="1413"/>
                  </a:lnTo>
                  <a:cubicBezTo>
                    <a:pt x="267" y="1366"/>
                    <a:pt x="305" y="1328"/>
                    <a:pt x="351" y="1328"/>
                  </a:cubicBezTo>
                  <a:lnTo>
                    <a:pt x="1089" y="1328"/>
                  </a:lnTo>
                  <a:cubicBezTo>
                    <a:pt x="1191" y="1328"/>
                    <a:pt x="1274" y="1411"/>
                    <a:pt x="1274" y="1513"/>
                  </a:cubicBezTo>
                  <a:cubicBezTo>
                    <a:pt x="1274" y="1616"/>
                    <a:pt x="1191" y="1699"/>
                    <a:pt x="1089" y="1699"/>
                  </a:cubicBezTo>
                  <a:close/>
                  <a:moveTo>
                    <a:pt x="1155" y="1067"/>
                  </a:moveTo>
                  <a:lnTo>
                    <a:pt x="1155" y="351"/>
                  </a:lnTo>
                  <a:cubicBezTo>
                    <a:pt x="1155" y="304"/>
                    <a:pt x="1193" y="267"/>
                    <a:pt x="1239" y="267"/>
                  </a:cubicBezTo>
                  <a:lnTo>
                    <a:pt x="1441" y="267"/>
                  </a:lnTo>
                  <a:cubicBezTo>
                    <a:pt x="1487" y="267"/>
                    <a:pt x="1525" y="304"/>
                    <a:pt x="1525" y="351"/>
                  </a:cubicBezTo>
                  <a:lnTo>
                    <a:pt x="1525" y="1089"/>
                  </a:lnTo>
                  <a:cubicBezTo>
                    <a:pt x="1525" y="1151"/>
                    <a:pt x="1495" y="1206"/>
                    <a:pt x="1448" y="1239"/>
                  </a:cubicBezTo>
                  <a:cubicBezTo>
                    <a:pt x="1378" y="1148"/>
                    <a:pt x="1274" y="1084"/>
                    <a:pt x="1155" y="1067"/>
                  </a:cubicBezTo>
                  <a:close/>
                  <a:moveTo>
                    <a:pt x="1977" y="1274"/>
                  </a:moveTo>
                  <a:cubicBezTo>
                    <a:pt x="1875" y="1274"/>
                    <a:pt x="1792" y="1191"/>
                    <a:pt x="1792" y="1089"/>
                  </a:cubicBezTo>
                  <a:lnTo>
                    <a:pt x="1792" y="351"/>
                  </a:lnTo>
                  <a:cubicBezTo>
                    <a:pt x="1792" y="304"/>
                    <a:pt x="1830" y="267"/>
                    <a:pt x="1876" y="267"/>
                  </a:cubicBezTo>
                  <a:lnTo>
                    <a:pt x="2078" y="267"/>
                  </a:lnTo>
                  <a:cubicBezTo>
                    <a:pt x="2124" y="267"/>
                    <a:pt x="2162" y="304"/>
                    <a:pt x="2162" y="351"/>
                  </a:cubicBezTo>
                  <a:lnTo>
                    <a:pt x="2162" y="1089"/>
                  </a:lnTo>
                  <a:cubicBezTo>
                    <a:pt x="2162" y="1191"/>
                    <a:pt x="2079" y="1274"/>
                    <a:pt x="1977" y="1274"/>
                  </a:cubicBezTo>
                  <a:close/>
                  <a:moveTo>
                    <a:pt x="2614" y="1486"/>
                  </a:moveTo>
                  <a:cubicBezTo>
                    <a:pt x="2512" y="1486"/>
                    <a:pt x="2429" y="1403"/>
                    <a:pt x="2429" y="1301"/>
                  </a:cubicBezTo>
                  <a:lnTo>
                    <a:pt x="2429" y="563"/>
                  </a:lnTo>
                  <a:cubicBezTo>
                    <a:pt x="2429" y="517"/>
                    <a:pt x="2467" y="479"/>
                    <a:pt x="2513" y="479"/>
                  </a:cubicBezTo>
                  <a:lnTo>
                    <a:pt x="2715" y="479"/>
                  </a:lnTo>
                  <a:cubicBezTo>
                    <a:pt x="2761" y="479"/>
                    <a:pt x="2799" y="517"/>
                    <a:pt x="2799" y="563"/>
                  </a:cubicBezTo>
                  <a:lnTo>
                    <a:pt x="2799" y="1301"/>
                  </a:lnTo>
                  <a:cubicBezTo>
                    <a:pt x="2799" y="1403"/>
                    <a:pt x="2716" y="1486"/>
                    <a:pt x="2614" y="148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en-US">
                <a:cs typeface="+mn-ea"/>
                <a:sym typeface="+mn-lt"/>
              </a:endParaRPr>
            </a:p>
          </p:txBody>
        </p:sp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6AF63FAD-4F21-4AA3-ABE1-0401402B4EF9}"/>
                </a:ext>
              </a:extLst>
            </p:cNvPr>
            <p:cNvSpPr txBox="1"/>
            <p:nvPr/>
          </p:nvSpPr>
          <p:spPr>
            <a:xfrm>
              <a:off x="5799472" y="2755900"/>
              <a:ext cx="1960228" cy="324616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r>
                <a:rPr lang="zh-CN" altLang="en-US" spc="100" dirty="0">
                  <a:solidFill>
                    <a:schemeClr val="bg1"/>
                  </a:solidFill>
                  <a:cs typeface="+mn-ea"/>
                  <a:sym typeface="+mn-lt"/>
                </a:rPr>
                <a:t>抗击疫情专题</a:t>
              </a:r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BF75D00D-A869-41E0-9EEB-CE864DB3D688}"/>
                </a:ext>
              </a:extLst>
            </p:cNvPr>
            <p:cNvSpPr/>
            <p:nvPr/>
          </p:nvSpPr>
          <p:spPr>
            <a:xfrm>
              <a:off x="5219700" y="2603500"/>
              <a:ext cx="2705100" cy="647700"/>
            </a:xfrm>
            <a:custGeom>
              <a:avLst/>
              <a:gdLst>
                <a:gd name="connsiteX0" fmla="*/ 558800 w 2616200"/>
                <a:gd name="connsiteY0" fmla="*/ 0 h 647700"/>
                <a:gd name="connsiteX1" fmla="*/ 2616200 w 2616200"/>
                <a:gd name="connsiteY1" fmla="*/ 0 h 647700"/>
                <a:gd name="connsiteX2" fmla="*/ 2616200 w 2616200"/>
                <a:gd name="connsiteY2" fmla="*/ 647700 h 647700"/>
                <a:gd name="connsiteX3" fmla="*/ 0 w 2616200"/>
                <a:gd name="connsiteY3" fmla="*/ 64770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16200" h="647700">
                  <a:moveTo>
                    <a:pt x="558800" y="0"/>
                  </a:moveTo>
                  <a:lnTo>
                    <a:pt x="2616200" y="0"/>
                  </a:lnTo>
                  <a:lnTo>
                    <a:pt x="2616200" y="647700"/>
                  </a:lnTo>
                  <a:lnTo>
                    <a:pt x="0" y="647700"/>
                  </a:lnTo>
                </a:path>
              </a:pathLst>
            </a:cu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个人防护和手卫生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0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6" name="箭头: 直角上 5"/>
          <p:cNvSpPr/>
          <p:nvPr/>
        </p:nvSpPr>
        <p:spPr>
          <a:xfrm rot="5400000">
            <a:off x="3497750" y="2215003"/>
            <a:ext cx="974505" cy="1108969"/>
          </a:xfrm>
          <a:prstGeom prst="bentUpArrow">
            <a:avLst/>
          </a:prstGeom>
          <a:solidFill>
            <a:schemeClr val="bg1">
              <a:lumMod val="95000"/>
            </a:schemeClr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55000" lnSpcReduction="20000"/>
          </a:bodyPr>
          <a:lstStyle/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7" name="矩形: 圆角 6"/>
          <p:cNvSpPr/>
          <p:nvPr/>
        </p:nvSpPr>
        <p:spPr>
          <a:xfrm>
            <a:off x="3239881" y="1134510"/>
            <a:ext cx="1639796" cy="1148291"/>
          </a:xfrm>
          <a:prstGeom prst="roundRect">
            <a:avLst>
              <a:gd name="adj" fmla="val 14357"/>
            </a:avLst>
          </a:pr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>
              <a:cs typeface="+mn-ea"/>
              <a:sym typeface="+mn-lt"/>
            </a:endParaRPr>
          </a:p>
        </p:txBody>
      </p:sp>
      <p:sp>
        <p:nvSpPr>
          <p:cNvPr id="8" name="箭头: 直角上 7"/>
          <p:cNvSpPr/>
          <p:nvPr/>
        </p:nvSpPr>
        <p:spPr>
          <a:xfrm rot="5400000">
            <a:off x="4855230" y="3501600"/>
            <a:ext cx="974505" cy="1108969"/>
          </a:xfrm>
          <a:prstGeom prst="bentUpArrow">
            <a:avLst/>
          </a:prstGeom>
          <a:solidFill>
            <a:schemeClr val="bg1">
              <a:lumMod val="95000"/>
            </a:schemeClr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55000" lnSpcReduction="20000"/>
          </a:bodyPr>
          <a:lstStyle/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9" name="矩形: 圆角 8"/>
          <p:cNvSpPr/>
          <p:nvPr/>
        </p:nvSpPr>
        <p:spPr>
          <a:xfrm>
            <a:off x="4597362" y="2421107"/>
            <a:ext cx="1639796" cy="1148291"/>
          </a:xfrm>
          <a:prstGeom prst="roundRect">
            <a:avLst>
              <a:gd name="adj" fmla="val 14357"/>
            </a:avLst>
          </a:pr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>
              <a:cs typeface="+mn-ea"/>
              <a:sym typeface="+mn-lt"/>
            </a:endParaRPr>
          </a:p>
        </p:txBody>
      </p:sp>
      <p:sp>
        <p:nvSpPr>
          <p:cNvPr id="10" name="箭头: 直角上 9"/>
          <p:cNvSpPr/>
          <p:nvPr/>
        </p:nvSpPr>
        <p:spPr>
          <a:xfrm rot="5400000">
            <a:off x="6212711" y="4788196"/>
            <a:ext cx="974505" cy="1108969"/>
          </a:xfrm>
          <a:prstGeom prst="bentUpArrow">
            <a:avLst/>
          </a:prstGeom>
          <a:solidFill>
            <a:schemeClr val="bg1">
              <a:lumMod val="95000"/>
            </a:schemeClr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55000" lnSpcReduction="20000"/>
          </a:bodyPr>
          <a:lstStyle/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1" name="矩形: 圆角 10"/>
          <p:cNvSpPr/>
          <p:nvPr/>
        </p:nvSpPr>
        <p:spPr>
          <a:xfrm>
            <a:off x="7312323" y="4994299"/>
            <a:ext cx="1639796" cy="1148291"/>
          </a:xfrm>
          <a:prstGeom prst="roundRect">
            <a:avLst>
              <a:gd name="adj" fmla="val 14357"/>
            </a:avLst>
          </a:prstGeom>
          <a:solidFill>
            <a:schemeClr val="bg1">
              <a:lumMod val="85000"/>
            </a:schemeClr>
          </a:solidFill>
          <a:ln w="0">
            <a:noFill/>
            <a:prstDash val="solid"/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>
              <a:cs typeface="+mn-ea"/>
              <a:sym typeface="+mn-lt"/>
            </a:endParaRPr>
          </a:p>
        </p:txBody>
      </p:sp>
      <p:sp>
        <p:nvSpPr>
          <p:cNvPr id="12" name="矩形: 圆角 11"/>
          <p:cNvSpPr/>
          <p:nvPr/>
        </p:nvSpPr>
        <p:spPr>
          <a:xfrm>
            <a:off x="5959011" y="3714330"/>
            <a:ext cx="1639796" cy="1148291"/>
          </a:xfrm>
          <a:prstGeom prst="roundRect">
            <a:avLst>
              <a:gd name="adj" fmla="val 14357"/>
            </a:avLst>
          </a:prstGeom>
          <a:solidFill>
            <a:schemeClr val="bg1">
              <a:lumMod val="75000"/>
            </a:schemeClr>
          </a:solidFill>
          <a:ln w="0">
            <a:noFill/>
            <a:prstDash val="solid"/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>
              <a:cs typeface="+mn-ea"/>
              <a:sym typeface="+mn-lt"/>
            </a:endParaRP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64DC2847-DA63-4AF3-B015-B0D0DC7F9B4A}"/>
              </a:ext>
            </a:extLst>
          </p:cNvPr>
          <p:cNvSpPr txBox="1"/>
          <p:nvPr/>
        </p:nvSpPr>
        <p:spPr>
          <a:xfrm>
            <a:off x="673100" y="3714330"/>
            <a:ext cx="4206577" cy="106949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buSzPct val="25000"/>
            </a:pPr>
            <a:r>
              <a:rPr lang="en-US" altLang="zh-CN" sz="2400" b="1">
                <a:cs typeface="+mn-ea"/>
                <a:sym typeface="+mn-lt"/>
              </a:rPr>
              <a:t>Unified fo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sz="2400" b="1">
                <a:cs typeface="+mn-ea"/>
                <a:sym typeface="+mn-lt"/>
              </a:rPr>
              <a:t>nts </a:t>
            </a:r>
            <a:r>
              <a:rPr lang="en-US" altLang="zh-CN" sz="2400" b="1" dirty="0">
                <a:cs typeface="+mn-ea"/>
                <a:sym typeface="+mn-lt"/>
              </a:rPr>
              <a:t>make</a:t>
            </a:r>
          </a:p>
          <a:p>
            <a:pPr>
              <a:buSzPct val="25000"/>
            </a:pPr>
            <a:r>
              <a:rPr lang="en-US" altLang="zh-CN" sz="2400" b="1" dirty="0">
                <a:cs typeface="+mn-ea"/>
                <a:sym typeface="+mn-lt"/>
              </a:rPr>
              <a:t>reading more fluent.</a:t>
            </a: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23E9BBEA-FB54-47C3-BA28-CE85931B8740}"/>
              </a:ext>
            </a:extLst>
          </p:cNvPr>
          <p:cNvSpPr txBox="1"/>
          <p:nvPr/>
        </p:nvSpPr>
        <p:spPr>
          <a:xfrm>
            <a:off x="673100" y="4783827"/>
            <a:ext cx="4206578" cy="97679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  <a:buSzPct val="25000"/>
            </a:pPr>
            <a:r>
              <a:rPr lang="en-US" sz="1200" dirty="0">
                <a:cs typeface="+mn-ea"/>
                <a:sym typeface="+mn-lt"/>
              </a:rPr>
              <a:t>Theme color makes PPT </a:t>
            </a:r>
            <a:r>
              <a:rPr lang="en-US" sz="1200">
                <a:cs typeface="+mn-ea"/>
                <a:sym typeface="+mn-lt"/>
              </a:rPr>
              <a:t>more conven</a:t>
            </a:r>
            <a:r>
              <a:rPr lang="en-US" sz="100">
                <a:cs typeface="+mn-ea"/>
                <a:sym typeface="+mn-lt"/>
              </a:rPr>
              <a:t> </a:t>
            </a:r>
            <a:r>
              <a:rPr lang="en-US" sz="1200">
                <a:cs typeface="+mn-ea"/>
                <a:sym typeface="+mn-lt"/>
              </a:rPr>
              <a:t>ient </a:t>
            </a:r>
            <a:r>
              <a:rPr lang="en-US" sz="1200" dirty="0">
                <a:cs typeface="+mn-ea"/>
                <a:sym typeface="+mn-lt"/>
              </a:rPr>
              <a:t>to change.</a:t>
            </a:r>
          </a:p>
          <a:p>
            <a:pPr>
              <a:lnSpc>
                <a:spcPct val="150000"/>
              </a:lnSpc>
              <a:buSzPct val="25000"/>
            </a:pPr>
            <a:r>
              <a:rPr lang="en-US" sz="1200" dirty="0">
                <a:cs typeface="+mn-ea"/>
                <a:sym typeface="+mn-lt"/>
              </a:rPr>
              <a:t>Adjust the spacing to adapt to Chinese typesetting, use the reference line in PPT.</a:t>
            </a: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921D2456-A6A6-43F5-AD86-0A010D24A2F0}"/>
              </a:ext>
            </a:extLst>
          </p:cNvPr>
          <p:cNvSpPr txBox="1"/>
          <p:nvPr/>
        </p:nvSpPr>
        <p:spPr>
          <a:xfrm>
            <a:off x="5219701" y="1205537"/>
            <a:ext cx="3805748" cy="391099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en-US" altLang="zh-CN" sz="1600" b="1">
                <a:cs typeface="+mn-ea"/>
                <a:sym typeface="+mn-lt"/>
              </a:rPr>
              <a:t>Te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sz="1600" b="1">
                <a:cs typeface="+mn-ea"/>
                <a:sym typeface="+mn-lt"/>
              </a:rPr>
              <a:t>xt </a:t>
            </a:r>
            <a:r>
              <a:rPr lang="en-US" altLang="zh-CN" sz="1600" b="1" dirty="0">
                <a:cs typeface="+mn-ea"/>
                <a:sym typeface="+mn-lt"/>
              </a:rPr>
              <a:t>here</a:t>
            </a:r>
            <a:endParaRPr lang="id-ID" sz="1600" b="1" dirty="0">
              <a:cs typeface="+mn-ea"/>
              <a:sym typeface="+mn-lt"/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F8E07573-A8E5-42F7-B445-E2E8E3B47ABD}"/>
              </a:ext>
            </a:extLst>
          </p:cNvPr>
          <p:cNvSpPr/>
          <p:nvPr/>
        </p:nvSpPr>
        <p:spPr bwMode="auto">
          <a:xfrm>
            <a:off x="5219701" y="1596638"/>
            <a:ext cx="3805748" cy="6151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100" dirty="0">
                <a:cs typeface="+mn-ea"/>
                <a:sym typeface="+mn-lt"/>
              </a:rPr>
              <a:t>Copy </a:t>
            </a:r>
            <a:r>
              <a:rPr lang="en-US" altLang="zh-CN" sz="1100">
                <a:cs typeface="+mn-ea"/>
                <a:sym typeface="+mn-lt"/>
              </a:rPr>
              <a:t>paste font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s</a:t>
            </a:r>
            <a:r>
              <a:rPr lang="en-US" altLang="zh-CN" sz="1100" dirty="0">
                <a:cs typeface="+mn-ea"/>
                <a:sym typeface="+mn-lt"/>
              </a:rPr>
              <a:t>. Choose the only option to retain text.</a:t>
            </a:r>
          </a:p>
          <a:p>
            <a:pPr>
              <a:lnSpc>
                <a:spcPct val="150000"/>
              </a:lnSpc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921D2456-A6A6-43F5-AD86-0A010D24A2F0}"/>
              </a:ext>
            </a:extLst>
          </p:cNvPr>
          <p:cNvSpPr txBox="1"/>
          <p:nvPr/>
        </p:nvSpPr>
        <p:spPr>
          <a:xfrm>
            <a:off x="6389680" y="2492134"/>
            <a:ext cx="3805748" cy="391099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en-US" altLang="zh-CN" sz="1600" b="1">
                <a:cs typeface="+mn-ea"/>
                <a:sym typeface="+mn-lt"/>
              </a:rPr>
              <a:t>Te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sz="1600" b="1">
                <a:cs typeface="+mn-ea"/>
                <a:sym typeface="+mn-lt"/>
              </a:rPr>
              <a:t>xt </a:t>
            </a:r>
            <a:r>
              <a:rPr lang="en-US" altLang="zh-CN" sz="1600" b="1" dirty="0">
                <a:cs typeface="+mn-ea"/>
                <a:sym typeface="+mn-lt"/>
              </a:rPr>
              <a:t>here</a:t>
            </a:r>
            <a:endParaRPr lang="id-ID" sz="1600" b="1" dirty="0">
              <a:cs typeface="+mn-ea"/>
              <a:sym typeface="+mn-lt"/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F8E07573-A8E5-42F7-B445-E2E8E3B47ABD}"/>
              </a:ext>
            </a:extLst>
          </p:cNvPr>
          <p:cNvSpPr/>
          <p:nvPr/>
        </p:nvSpPr>
        <p:spPr bwMode="auto">
          <a:xfrm>
            <a:off x="6389680" y="2883235"/>
            <a:ext cx="3805748" cy="6151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100" dirty="0">
                <a:cs typeface="+mn-ea"/>
                <a:sym typeface="+mn-lt"/>
              </a:rPr>
              <a:t>Copy </a:t>
            </a:r>
            <a:r>
              <a:rPr lang="en-US" altLang="zh-CN" sz="1100">
                <a:cs typeface="+mn-ea"/>
                <a:sym typeface="+mn-lt"/>
              </a:rPr>
              <a:t>paste font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s</a:t>
            </a:r>
            <a:r>
              <a:rPr lang="en-US" altLang="zh-CN" sz="1100" dirty="0">
                <a:cs typeface="+mn-ea"/>
                <a:sym typeface="+mn-lt"/>
              </a:rPr>
              <a:t>. Choose the only option to retain text.</a:t>
            </a:r>
          </a:p>
          <a:p>
            <a:pPr>
              <a:lnSpc>
                <a:spcPct val="150000"/>
              </a:lnSpc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921D2456-A6A6-43F5-AD86-0A010D24A2F0}"/>
              </a:ext>
            </a:extLst>
          </p:cNvPr>
          <p:cNvSpPr txBox="1"/>
          <p:nvPr/>
        </p:nvSpPr>
        <p:spPr>
          <a:xfrm>
            <a:off x="7711612" y="3785357"/>
            <a:ext cx="3807289" cy="391099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en-US" altLang="zh-CN" sz="1600" b="1">
                <a:cs typeface="+mn-ea"/>
                <a:sym typeface="+mn-lt"/>
              </a:rPr>
              <a:t>Te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sz="1600" b="1">
                <a:cs typeface="+mn-ea"/>
                <a:sym typeface="+mn-lt"/>
              </a:rPr>
              <a:t>xt </a:t>
            </a:r>
            <a:r>
              <a:rPr lang="en-US" altLang="zh-CN" sz="1600" b="1" dirty="0">
                <a:cs typeface="+mn-ea"/>
                <a:sym typeface="+mn-lt"/>
              </a:rPr>
              <a:t>here</a:t>
            </a:r>
            <a:endParaRPr lang="id-ID" sz="1600" b="1" dirty="0">
              <a:cs typeface="+mn-ea"/>
              <a:sym typeface="+mn-lt"/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F8E07573-A8E5-42F7-B445-E2E8E3B47ABD}"/>
              </a:ext>
            </a:extLst>
          </p:cNvPr>
          <p:cNvSpPr/>
          <p:nvPr/>
        </p:nvSpPr>
        <p:spPr bwMode="auto">
          <a:xfrm>
            <a:off x="7711612" y="4176458"/>
            <a:ext cx="3807289" cy="6151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100" dirty="0">
                <a:cs typeface="+mn-ea"/>
                <a:sym typeface="+mn-lt"/>
              </a:rPr>
              <a:t>Copy </a:t>
            </a:r>
            <a:r>
              <a:rPr lang="en-US" altLang="zh-CN" sz="1100">
                <a:cs typeface="+mn-ea"/>
                <a:sym typeface="+mn-lt"/>
              </a:rPr>
              <a:t>paste font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s</a:t>
            </a:r>
            <a:r>
              <a:rPr lang="en-US" altLang="zh-CN" sz="1100" dirty="0">
                <a:cs typeface="+mn-ea"/>
                <a:sym typeface="+mn-lt"/>
              </a:rPr>
              <a:t>. Choose the only option to retain text.</a:t>
            </a:r>
          </a:p>
          <a:p>
            <a:pPr>
              <a:lnSpc>
                <a:spcPct val="150000"/>
              </a:lnSpc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921D2456-A6A6-43F5-AD86-0A010D24A2F0}"/>
              </a:ext>
            </a:extLst>
          </p:cNvPr>
          <p:cNvSpPr txBox="1"/>
          <p:nvPr/>
        </p:nvSpPr>
        <p:spPr>
          <a:xfrm>
            <a:off x="9025449" y="5065326"/>
            <a:ext cx="2493452" cy="391099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en-US" altLang="zh-CN" sz="1600" b="1">
                <a:cs typeface="+mn-ea"/>
                <a:sym typeface="+mn-lt"/>
              </a:rPr>
              <a:t>Te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sz="1600" b="1">
                <a:cs typeface="+mn-ea"/>
                <a:sym typeface="+mn-lt"/>
              </a:rPr>
              <a:t>xt </a:t>
            </a:r>
            <a:r>
              <a:rPr lang="en-US" altLang="zh-CN" sz="1600" b="1" dirty="0">
                <a:cs typeface="+mn-ea"/>
                <a:sym typeface="+mn-lt"/>
              </a:rPr>
              <a:t>here</a:t>
            </a:r>
            <a:endParaRPr lang="id-ID" sz="1600" b="1" dirty="0">
              <a:cs typeface="+mn-ea"/>
              <a:sym typeface="+mn-lt"/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F8E07573-A8E5-42F7-B445-E2E8E3B47ABD}"/>
              </a:ext>
            </a:extLst>
          </p:cNvPr>
          <p:cNvSpPr/>
          <p:nvPr/>
        </p:nvSpPr>
        <p:spPr bwMode="auto">
          <a:xfrm>
            <a:off x="9025449" y="5456427"/>
            <a:ext cx="2493452" cy="6151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100" dirty="0">
                <a:cs typeface="+mn-ea"/>
                <a:sym typeface="+mn-lt"/>
              </a:rPr>
              <a:t>Copy </a:t>
            </a:r>
            <a:r>
              <a:rPr lang="en-US" altLang="zh-CN" sz="1100">
                <a:cs typeface="+mn-ea"/>
                <a:sym typeface="+mn-lt"/>
              </a:rPr>
              <a:t>paste fon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ts</a:t>
            </a:r>
            <a:r>
              <a:rPr lang="en-US" altLang="zh-CN" sz="1100" dirty="0">
                <a:cs typeface="+mn-ea"/>
                <a:sym typeface="+mn-lt"/>
              </a:rPr>
              <a:t>. Choose the only option to retain text……</a:t>
            </a:r>
          </a:p>
        </p:txBody>
      </p:sp>
      <p:sp>
        <p:nvSpPr>
          <p:cNvPr id="18" name="任意多边形: 形状 17"/>
          <p:cNvSpPr/>
          <p:nvPr/>
        </p:nvSpPr>
        <p:spPr>
          <a:xfrm>
            <a:off x="3794095" y="1398010"/>
            <a:ext cx="531368" cy="621290"/>
          </a:xfrm>
          <a:custGeom>
            <a:avLst/>
            <a:gdLst>
              <a:gd name="connsiteX0" fmla="*/ 309853 w 516072"/>
              <a:gd name="connsiteY0" fmla="*/ 506697 h 603405"/>
              <a:gd name="connsiteX1" fmla="*/ 326214 w 516072"/>
              <a:gd name="connsiteY1" fmla="*/ 521096 h 603405"/>
              <a:gd name="connsiteX2" fmla="*/ 311812 w 516072"/>
              <a:gd name="connsiteY2" fmla="*/ 537454 h 603405"/>
              <a:gd name="connsiteX3" fmla="*/ 164332 w 516072"/>
              <a:gd name="connsiteY3" fmla="*/ 546670 h 603405"/>
              <a:gd name="connsiteX4" fmla="*/ 163295 w 516072"/>
              <a:gd name="connsiteY4" fmla="*/ 546670 h 603405"/>
              <a:gd name="connsiteX5" fmla="*/ 147971 w 516072"/>
              <a:gd name="connsiteY5" fmla="*/ 532270 h 603405"/>
              <a:gd name="connsiteX6" fmla="*/ 162373 w 516072"/>
              <a:gd name="connsiteY6" fmla="*/ 515913 h 603405"/>
              <a:gd name="connsiteX7" fmla="*/ 300609 w 516072"/>
              <a:gd name="connsiteY7" fmla="*/ 444361 h 603405"/>
              <a:gd name="connsiteX8" fmla="*/ 316970 w 516072"/>
              <a:gd name="connsiteY8" fmla="*/ 458620 h 603405"/>
              <a:gd name="connsiteX9" fmla="*/ 302568 w 516072"/>
              <a:gd name="connsiteY9" fmla="*/ 474949 h 603405"/>
              <a:gd name="connsiteX10" fmla="*/ 155088 w 516072"/>
              <a:gd name="connsiteY10" fmla="*/ 484149 h 603405"/>
              <a:gd name="connsiteX11" fmla="*/ 154051 w 516072"/>
              <a:gd name="connsiteY11" fmla="*/ 484149 h 603405"/>
              <a:gd name="connsiteX12" fmla="*/ 138727 w 516072"/>
              <a:gd name="connsiteY12" fmla="*/ 469775 h 603405"/>
              <a:gd name="connsiteX13" fmla="*/ 153129 w 516072"/>
              <a:gd name="connsiteY13" fmla="*/ 453561 h 603405"/>
              <a:gd name="connsiteX14" fmla="*/ 409511 w 516072"/>
              <a:gd name="connsiteY14" fmla="*/ 410322 h 603405"/>
              <a:gd name="connsiteX15" fmla="*/ 401791 w 516072"/>
              <a:gd name="connsiteY15" fmla="*/ 472344 h 603405"/>
              <a:gd name="connsiteX16" fmla="*/ 425067 w 516072"/>
              <a:gd name="connsiteY16" fmla="*/ 451516 h 603405"/>
              <a:gd name="connsiteX17" fmla="*/ 409511 w 516072"/>
              <a:gd name="connsiteY17" fmla="*/ 410322 h 603405"/>
              <a:gd name="connsiteX18" fmla="*/ 228508 w 516072"/>
              <a:gd name="connsiteY18" fmla="*/ 375201 h 603405"/>
              <a:gd name="connsiteX19" fmla="*/ 218716 w 516072"/>
              <a:gd name="connsiteY19" fmla="*/ 376007 h 603405"/>
              <a:gd name="connsiteX20" fmla="*/ 229314 w 516072"/>
              <a:gd name="connsiteY20" fmla="*/ 402806 h 603405"/>
              <a:gd name="connsiteX21" fmla="*/ 238991 w 516072"/>
              <a:gd name="connsiteY21" fmla="*/ 402001 h 603405"/>
              <a:gd name="connsiteX22" fmla="*/ 242677 w 516072"/>
              <a:gd name="connsiteY22" fmla="*/ 400160 h 603405"/>
              <a:gd name="connsiteX23" fmla="*/ 242908 w 516072"/>
              <a:gd name="connsiteY23" fmla="*/ 396480 h 603405"/>
              <a:gd name="connsiteX24" fmla="*/ 236341 w 516072"/>
              <a:gd name="connsiteY24" fmla="*/ 379802 h 603405"/>
              <a:gd name="connsiteX25" fmla="*/ 233231 w 516072"/>
              <a:gd name="connsiteY25" fmla="*/ 376352 h 603405"/>
              <a:gd name="connsiteX26" fmla="*/ 228508 w 516072"/>
              <a:gd name="connsiteY26" fmla="*/ 375201 h 603405"/>
              <a:gd name="connsiteX27" fmla="*/ 150356 w 516072"/>
              <a:gd name="connsiteY27" fmla="*/ 340362 h 603405"/>
              <a:gd name="connsiteX28" fmla="*/ 145631 w 516072"/>
              <a:gd name="connsiteY28" fmla="*/ 342778 h 603405"/>
              <a:gd name="connsiteX29" fmla="*/ 145286 w 516072"/>
              <a:gd name="connsiteY29" fmla="*/ 347727 h 603405"/>
              <a:gd name="connsiteX30" fmla="*/ 166258 w 516072"/>
              <a:gd name="connsiteY30" fmla="*/ 401128 h 603405"/>
              <a:gd name="connsiteX31" fmla="*/ 170407 w 516072"/>
              <a:gd name="connsiteY31" fmla="*/ 405616 h 603405"/>
              <a:gd name="connsiteX32" fmla="*/ 176629 w 516072"/>
              <a:gd name="connsiteY32" fmla="*/ 407112 h 603405"/>
              <a:gd name="connsiteX33" fmla="*/ 181354 w 516072"/>
              <a:gd name="connsiteY33" fmla="*/ 404696 h 603405"/>
              <a:gd name="connsiteX34" fmla="*/ 181815 w 516072"/>
              <a:gd name="connsiteY34" fmla="*/ 399747 h 603405"/>
              <a:gd name="connsiteX35" fmla="*/ 160727 w 516072"/>
              <a:gd name="connsiteY35" fmla="*/ 346461 h 603405"/>
              <a:gd name="connsiteX36" fmla="*/ 156579 w 516072"/>
              <a:gd name="connsiteY36" fmla="*/ 341858 h 603405"/>
              <a:gd name="connsiteX37" fmla="*/ 150356 w 516072"/>
              <a:gd name="connsiteY37" fmla="*/ 340362 h 603405"/>
              <a:gd name="connsiteX38" fmla="*/ 212726 w 516072"/>
              <a:gd name="connsiteY38" fmla="*/ 335175 h 603405"/>
              <a:gd name="connsiteX39" fmla="*/ 202934 w 516072"/>
              <a:gd name="connsiteY39" fmla="*/ 335980 h 603405"/>
              <a:gd name="connsiteX40" fmla="*/ 213532 w 516072"/>
              <a:gd name="connsiteY40" fmla="*/ 362895 h 603405"/>
              <a:gd name="connsiteX41" fmla="*/ 223209 w 516072"/>
              <a:gd name="connsiteY41" fmla="*/ 362089 h 603405"/>
              <a:gd name="connsiteX42" fmla="*/ 226895 w 516072"/>
              <a:gd name="connsiteY42" fmla="*/ 360249 h 603405"/>
              <a:gd name="connsiteX43" fmla="*/ 227125 w 516072"/>
              <a:gd name="connsiteY43" fmla="*/ 356454 h 603405"/>
              <a:gd name="connsiteX44" fmla="*/ 220559 w 516072"/>
              <a:gd name="connsiteY44" fmla="*/ 339776 h 603405"/>
              <a:gd name="connsiteX45" fmla="*/ 217449 w 516072"/>
              <a:gd name="connsiteY45" fmla="*/ 336325 h 603405"/>
              <a:gd name="connsiteX46" fmla="*/ 212726 w 516072"/>
              <a:gd name="connsiteY46" fmla="*/ 335175 h 603405"/>
              <a:gd name="connsiteX47" fmla="*/ 145055 w 516072"/>
              <a:gd name="connsiteY47" fmla="*/ 327011 h 603405"/>
              <a:gd name="connsiteX48" fmla="*/ 163838 w 516072"/>
              <a:gd name="connsiteY48" fmla="*/ 331500 h 603405"/>
              <a:gd name="connsiteX49" fmla="*/ 176168 w 516072"/>
              <a:gd name="connsiteY49" fmla="*/ 345195 h 603405"/>
              <a:gd name="connsiteX50" fmla="*/ 197256 w 516072"/>
              <a:gd name="connsiteY50" fmla="*/ 398481 h 603405"/>
              <a:gd name="connsiteX51" fmla="*/ 195989 w 516072"/>
              <a:gd name="connsiteY51" fmla="*/ 413212 h 603405"/>
              <a:gd name="connsiteX52" fmla="*/ 181930 w 516072"/>
              <a:gd name="connsiteY52" fmla="*/ 420463 h 603405"/>
              <a:gd name="connsiteX53" fmla="*/ 163147 w 516072"/>
              <a:gd name="connsiteY53" fmla="*/ 415974 h 603405"/>
              <a:gd name="connsiteX54" fmla="*/ 150702 w 516072"/>
              <a:gd name="connsiteY54" fmla="*/ 402394 h 603405"/>
              <a:gd name="connsiteX55" fmla="*/ 129729 w 516072"/>
              <a:gd name="connsiteY55" fmla="*/ 348993 h 603405"/>
              <a:gd name="connsiteX56" fmla="*/ 130882 w 516072"/>
              <a:gd name="connsiteY56" fmla="*/ 334262 h 603405"/>
              <a:gd name="connsiteX57" fmla="*/ 145055 w 516072"/>
              <a:gd name="connsiteY57" fmla="*/ 327011 h 603405"/>
              <a:gd name="connsiteX58" fmla="*/ 213417 w 516072"/>
              <a:gd name="connsiteY58" fmla="*/ 321488 h 603405"/>
              <a:gd name="connsiteX59" fmla="*/ 225743 w 516072"/>
              <a:gd name="connsiteY59" fmla="*/ 324479 h 603405"/>
              <a:gd name="connsiteX60" fmla="*/ 234037 w 516072"/>
              <a:gd name="connsiteY60" fmla="*/ 333565 h 603405"/>
              <a:gd name="connsiteX61" fmla="*/ 245096 w 516072"/>
              <a:gd name="connsiteY61" fmla="*/ 361859 h 603405"/>
              <a:gd name="connsiteX62" fmla="*/ 244866 w 516072"/>
              <a:gd name="connsiteY62" fmla="*/ 365425 h 603405"/>
              <a:gd name="connsiteX63" fmla="*/ 241295 w 516072"/>
              <a:gd name="connsiteY63" fmla="*/ 367265 h 603405"/>
              <a:gd name="connsiteX64" fmla="*/ 241410 w 516072"/>
              <a:gd name="connsiteY64" fmla="*/ 367380 h 603405"/>
              <a:gd name="connsiteX65" fmla="*/ 246018 w 516072"/>
              <a:gd name="connsiteY65" fmla="*/ 368530 h 603405"/>
              <a:gd name="connsiteX66" fmla="*/ 249129 w 516072"/>
              <a:gd name="connsiteY66" fmla="*/ 371866 h 603405"/>
              <a:gd name="connsiteX67" fmla="*/ 260303 w 516072"/>
              <a:gd name="connsiteY67" fmla="*/ 400275 h 603405"/>
              <a:gd name="connsiteX68" fmla="*/ 259496 w 516072"/>
              <a:gd name="connsiteY68" fmla="*/ 409937 h 603405"/>
              <a:gd name="connsiteX69" fmla="*/ 250165 w 516072"/>
              <a:gd name="connsiteY69" fmla="*/ 414768 h 603405"/>
              <a:gd name="connsiteX70" fmla="*/ 223439 w 516072"/>
              <a:gd name="connsiteY70" fmla="*/ 416953 h 603405"/>
              <a:gd name="connsiteX71" fmla="*/ 217679 w 516072"/>
              <a:gd name="connsiteY71" fmla="*/ 413617 h 603405"/>
              <a:gd name="connsiteX72" fmla="*/ 183811 w 516072"/>
              <a:gd name="connsiteY72" fmla="*/ 327814 h 603405"/>
              <a:gd name="connsiteX73" fmla="*/ 186576 w 516072"/>
              <a:gd name="connsiteY73" fmla="*/ 323673 h 603405"/>
              <a:gd name="connsiteX74" fmla="*/ 263606 w 516072"/>
              <a:gd name="connsiteY74" fmla="*/ 317202 h 603405"/>
              <a:gd name="connsiteX75" fmla="*/ 282389 w 516072"/>
              <a:gd name="connsiteY75" fmla="*/ 321691 h 603405"/>
              <a:gd name="connsiteX76" fmla="*/ 294834 w 516072"/>
              <a:gd name="connsiteY76" fmla="*/ 335386 h 603405"/>
              <a:gd name="connsiteX77" fmla="*/ 295987 w 516072"/>
              <a:gd name="connsiteY77" fmla="*/ 338264 h 603405"/>
              <a:gd name="connsiteX78" fmla="*/ 293106 w 516072"/>
              <a:gd name="connsiteY78" fmla="*/ 342292 h 603405"/>
              <a:gd name="connsiteX79" fmla="*/ 286192 w 516072"/>
              <a:gd name="connsiteY79" fmla="*/ 342867 h 603405"/>
              <a:gd name="connsiteX80" fmla="*/ 280430 w 516072"/>
              <a:gd name="connsiteY80" fmla="*/ 339529 h 603405"/>
              <a:gd name="connsiteX81" fmla="*/ 279278 w 516072"/>
              <a:gd name="connsiteY81" fmla="*/ 336652 h 603405"/>
              <a:gd name="connsiteX82" fmla="*/ 275129 w 516072"/>
              <a:gd name="connsiteY82" fmla="*/ 332049 h 603405"/>
              <a:gd name="connsiteX83" fmla="*/ 268907 w 516072"/>
              <a:gd name="connsiteY83" fmla="*/ 330553 h 603405"/>
              <a:gd name="connsiteX84" fmla="*/ 264182 w 516072"/>
              <a:gd name="connsiteY84" fmla="*/ 332969 h 603405"/>
              <a:gd name="connsiteX85" fmla="*/ 263721 w 516072"/>
              <a:gd name="connsiteY85" fmla="*/ 337918 h 603405"/>
              <a:gd name="connsiteX86" fmla="*/ 269022 w 516072"/>
              <a:gd name="connsiteY86" fmla="*/ 351153 h 603405"/>
              <a:gd name="connsiteX87" fmla="*/ 273170 w 516072"/>
              <a:gd name="connsiteY87" fmla="*/ 355757 h 603405"/>
              <a:gd name="connsiteX88" fmla="*/ 279393 w 516072"/>
              <a:gd name="connsiteY88" fmla="*/ 357253 h 603405"/>
              <a:gd name="connsiteX89" fmla="*/ 299328 w 516072"/>
              <a:gd name="connsiteY89" fmla="*/ 362432 h 603405"/>
              <a:gd name="connsiteX90" fmla="*/ 310621 w 516072"/>
              <a:gd name="connsiteY90" fmla="*/ 375322 h 603405"/>
              <a:gd name="connsiteX91" fmla="*/ 315807 w 516072"/>
              <a:gd name="connsiteY91" fmla="*/ 388672 h 603405"/>
              <a:gd name="connsiteX92" fmla="*/ 314539 w 516072"/>
              <a:gd name="connsiteY92" fmla="*/ 403403 h 603405"/>
              <a:gd name="connsiteX93" fmla="*/ 300481 w 516072"/>
              <a:gd name="connsiteY93" fmla="*/ 410654 h 603405"/>
              <a:gd name="connsiteX94" fmla="*/ 281698 w 516072"/>
              <a:gd name="connsiteY94" fmla="*/ 406165 h 603405"/>
              <a:gd name="connsiteX95" fmla="*/ 269252 w 516072"/>
              <a:gd name="connsiteY95" fmla="*/ 392585 h 603405"/>
              <a:gd name="connsiteX96" fmla="*/ 268100 w 516072"/>
              <a:gd name="connsiteY96" fmla="*/ 389593 h 603405"/>
              <a:gd name="connsiteX97" fmla="*/ 270866 w 516072"/>
              <a:gd name="connsiteY97" fmla="*/ 385449 h 603405"/>
              <a:gd name="connsiteX98" fmla="*/ 277780 w 516072"/>
              <a:gd name="connsiteY98" fmla="*/ 384874 h 603405"/>
              <a:gd name="connsiteX99" fmla="*/ 283541 w 516072"/>
              <a:gd name="connsiteY99" fmla="*/ 388212 h 603405"/>
              <a:gd name="connsiteX100" fmla="*/ 284809 w 516072"/>
              <a:gd name="connsiteY100" fmla="*/ 391319 h 603405"/>
              <a:gd name="connsiteX101" fmla="*/ 288957 w 516072"/>
              <a:gd name="connsiteY101" fmla="*/ 395807 h 603405"/>
              <a:gd name="connsiteX102" fmla="*/ 295180 w 516072"/>
              <a:gd name="connsiteY102" fmla="*/ 397303 h 603405"/>
              <a:gd name="connsiteX103" fmla="*/ 299905 w 516072"/>
              <a:gd name="connsiteY103" fmla="*/ 394887 h 603405"/>
              <a:gd name="connsiteX104" fmla="*/ 300250 w 516072"/>
              <a:gd name="connsiteY104" fmla="*/ 389938 h 603405"/>
              <a:gd name="connsiteX105" fmla="*/ 295065 w 516072"/>
              <a:gd name="connsiteY105" fmla="*/ 376588 h 603405"/>
              <a:gd name="connsiteX106" fmla="*/ 290916 w 516072"/>
              <a:gd name="connsiteY106" fmla="*/ 372099 h 603405"/>
              <a:gd name="connsiteX107" fmla="*/ 284694 w 516072"/>
              <a:gd name="connsiteY107" fmla="*/ 370603 h 603405"/>
              <a:gd name="connsiteX108" fmla="*/ 264643 w 516072"/>
              <a:gd name="connsiteY108" fmla="*/ 365424 h 603405"/>
              <a:gd name="connsiteX109" fmla="*/ 253465 w 516072"/>
              <a:gd name="connsiteY109" fmla="*/ 352534 h 603405"/>
              <a:gd name="connsiteX110" fmla="*/ 248164 w 516072"/>
              <a:gd name="connsiteY110" fmla="*/ 339184 h 603405"/>
              <a:gd name="connsiteX111" fmla="*/ 249432 w 516072"/>
              <a:gd name="connsiteY111" fmla="*/ 324453 h 603405"/>
              <a:gd name="connsiteX112" fmla="*/ 263606 w 516072"/>
              <a:gd name="connsiteY112" fmla="*/ 317202 h 603405"/>
              <a:gd name="connsiteX113" fmla="*/ 320670 w 516072"/>
              <a:gd name="connsiteY113" fmla="*/ 288927 h 603405"/>
              <a:gd name="connsiteX114" fmla="*/ 26837 w 516072"/>
              <a:gd name="connsiteY114" fmla="*/ 313206 h 603405"/>
              <a:gd name="connsiteX115" fmla="*/ 69010 w 516072"/>
              <a:gd name="connsiteY115" fmla="*/ 398701 h 603405"/>
              <a:gd name="connsiteX116" fmla="*/ 109340 w 516072"/>
              <a:gd name="connsiteY116" fmla="*/ 411473 h 603405"/>
              <a:gd name="connsiteX117" fmla="*/ 110377 w 516072"/>
              <a:gd name="connsiteY117" fmla="*/ 413429 h 603405"/>
              <a:gd name="connsiteX118" fmla="*/ 112797 w 516072"/>
              <a:gd name="connsiteY118" fmla="*/ 412279 h 603405"/>
              <a:gd name="connsiteX119" fmla="*/ 116139 w 516072"/>
              <a:gd name="connsiteY119" fmla="*/ 412048 h 603405"/>
              <a:gd name="connsiteX120" fmla="*/ 120978 w 516072"/>
              <a:gd name="connsiteY120" fmla="*/ 409632 h 603405"/>
              <a:gd name="connsiteX121" fmla="*/ 121324 w 516072"/>
              <a:gd name="connsiteY121" fmla="*/ 404799 h 603405"/>
              <a:gd name="connsiteX122" fmla="*/ 93900 w 516072"/>
              <a:gd name="connsiteY122" fmla="*/ 335069 h 603405"/>
              <a:gd name="connsiteX123" fmla="*/ 96780 w 516072"/>
              <a:gd name="connsiteY123" fmla="*/ 331041 h 603405"/>
              <a:gd name="connsiteX124" fmla="*/ 103694 w 516072"/>
              <a:gd name="connsiteY124" fmla="*/ 330466 h 603405"/>
              <a:gd name="connsiteX125" fmla="*/ 109456 w 516072"/>
              <a:gd name="connsiteY125" fmla="*/ 333803 h 603405"/>
              <a:gd name="connsiteX126" fmla="*/ 139530 w 516072"/>
              <a:gd name="connsiteY126" fmla="*/ 410092 h 603405"/>
              <a:gd name="connsiteX127" fmla="*/ 138608 w 516072"/>
              <a:gd name="connsiteY127" fmla="*/ 419873 h 603405"/>
              <a:gd name="connsiteX128" fmla="*/ 129275 w 516072"/>
              <a:gd name="connsiteY128" fmla="*/ 424706 h 603405"/>
              <a:gd name="connsiteX129" fmla="*/ 117982 w 516072"/>
              <a:gd name="connsiteY129" fmla="*/ 425741 h 603405"/>
              <a:gd name="connsiteX130" fmla="*/ 114641 w 516072"/>
              <a:gd name="connsiteY130" fmla="*/ 424821 h 603405"/>
              <a:gd name="connsiteX131" fmla="*/ 95743 w 516072"/>
              <a:gd name="connsiteY131" fmla="*/ 475220 h 603405"/>
              <a:gd name="connsiteX132" fmla="*/ 108073 w 516072"/>
              <a:gd name="connsiteY132" fmla="*/ 582693 h 603405"/>
              <a:gd name="connsiteX133" fmla="*/ 390844 w 516072"/>
              <a:gd name="connsiteY133" fmla="*/ 571647 h 603405"/>
              <a:gd name="connsiteX134" fmla="*/ 389577 w 516072"/>
              <a:gd name="connsiteY134" fmla="*/ 545181 h 603405"/>
              <a:gd name="connsiteX135" fmla="*/ 383009 w 516072"/>
              <a:gd name="connsiteY135" fmla="*/ 494667 h 603405"/>
              <a:gd name="connsiteX136" fmla="*/ 320670 w 516072"/>
              <a:gd name="connsiteY136" fmla="*/ 288927 h 603405"/>
              <a:gd name="connsiteX137" fmla="*/ 263171 w 516072"/>
              <a:gd name="connsiteY137" fmla="*/ 241404 h 603405"/>
              <a:gd name="connsiteX138" fmla="*/ 292900 w 516072"/>
              <a:gd name="connsiteY138" fmla="*/ 270861 h 603405"/>
              <a:gd name="connsiteX139" fmla="*/ 310415 w 516072"/>
              <a:gd name="connsiteY139" fmla="*/ 269365 h 603405"/>
              <a:gd name="connsiteX140" fmla="*/ 338646 w 516072"/>
              <a:gd name="connsiteY140" fmla="*/ 241404 h 603405"/>
              <a:gd name="connsiteX141" fmla="*/ 360770 w 516072"/>
              <a:gd name="connsiteY141" fmla="*/ 260045 h 603405"/>
              <a:gd name="connsiteX142" fmla="*/ 412738 w 516072"/>
              <a:gd name="connsiteY142" fmla="*/ 285014 h 603405"/>
              <a:gd name="connsiteX143" fmla="*/ 492821 w 516072"/>
              <a:gd name="connsiteY143" fmla="*/ 387309 h 603405"/>
              <a:gd name="connsiteX144" fmla="*/ 515061 w 516072"/>
              <a:gd name="connsiteY144" fmla="*/ 456695 h 603405"/>
              <a:gd name="connsiteX145" fmla="*/ 501809 w 516072"/>
              <a:gd name="connsiteY145" fmla="*/ 497773 h 603405"/>
              <a:gd name="connsiteX146" fmla="*/ 445463 w 516072"/>
              <a:gd name="connsiteY146" fmla="*/ 548058 h 603405"/>
              <a:gd name="connsiteX147" fmla="*/ 416886 w 516072"/>
              <a:gd name="connsiteY147" fmla="*/ 558874 h 603405"/>
              <a:gd name="connsiteX148" fmla="*/ 410779 w 516072"/>
              <a:gd name="connsiteY148" fmla="*/ 558414 h 603405"/>
              <a:gd name="connsiteX149" fmla="*/ 411240 w 516072"/>
              <a:gd name="connsiteY149" fmla="*/ 581542 h 603405"/>
              <a:gd name="connsiteX150" fmla="*/ 401445 w 516072"/>
              <a:gd name="connsiteY150" fmla="*/ 591668 h 603405"/>
              <a:gd name="connsiteX151" fmla="*/ 96435 w 516072"/>
              <a:gd name="connsiteY151" fmla="*/ 603405 h 603405"/>
              <a:gd name="connsiteX152" fmla="*/ 95974 w 516072"/>
              <a:gd name="connsiteY152" fmla="*/ 603405 h 603405"/>
              <a:gd name="connsiteX153" fmla="*/ 88023 w 516072"/>
              <a:gd name="connsiteY153" fmla="*/ 599608 h 603405"/>
              <a:gd name="connsiteX154" fmla="*/ 86179 w 516072"/>
              <a:gd name="connsiteY154" fmla="*/ 590633 h 603405"/>
              <a:gd name="connsiteX155" fmla="*/ 84797 w 516072"/>
              <a:gd name="connsiteY155" fmla="*/ 521132 h 603405"/>
              <a:gd name="connsiteX156" fmla="*/ 77998 w 516072"/>
              <a:gd name="connsiteY156" fmla="*/ 488568 h 603405"/>
              <a:gd name="connsiteX157" fmla="*/ 72582 w 516072"/>
              <a:gd name="connsiteY157" fmla="*/ 492595 h 603405"/>
              <a:gd name="connsiteX158" fmla="*/ 49767 w 516072"/>
              <a:gd name="connsiteY158" fmla="*/ 499269 h 603405"/>
              <a:gd name="connsiteX159" fmla="*/ 13585 w 516072"/>
              <a:gd name="connsiteY159" fmla="*/ 479363 h 603405"/>
              <a:gd name="connsiteX160" fmla="*/ 35594 w 516072"/>
              <a:gd name="connsiteY160" fmla="*/ 388230 h 603405"/>
              <a:gd name="connsiteX161" fmla="*/ 40203 w 516072"/>
              <a:gd name="connsiteY161" fmla="*/ 383972 h 603405"/>
              <a:gd name="connsiteX162" fmla="*/ 1371 w 516072"/>
              <a:gd name="connsiteY162" fmla="*/ 309524 h 603405"/>
              <a:gd name="connsiteX163" fmla="*/ 1141 w 516072"/>
              <a:gd name="connsiteY163" fmla="*/ 299743 h 603405"/>
              <a:gd name="connsiteX164" fmla="*/ 9322 w 516072"/>
              <a:gd name="connsiteY164" fmla="*/ 294335 h 603405"/>
              <a:gd name="connsiteX165" fmla="*/ 201062 w 516072"/>
              <a:gd name="connsiteY165" fmla="*/ 278456 h 603405"/>
              <a:gd name="connsiteX166" fmla="*/ 241047 w 516072"/>
              <a:gd name="connsiteY166" fmla="*/ 260045 h 603405"/>
              <a:gd name="connsiteX167" fmla="*/ 300977 w 516072"/>
              <a:gd name="connsiteY167" fmla="*/ 0 h 603405"/>
              <a:gd name="connsiteX168" fmla="*/ 401111 w 516072"/>
              <a:gd name="connsiteY168" fmla="*/ 98375 h 603405"/>
              <a:gd name="connsiteX169" fmla="*/ 300977 w 516072"/>
              <a:gd name="connsiteY169" fmla="*/ 239781 h 603405"/>
              <a:gd name="connsiteX170" fmla="*/ 200728 w 516072"/>
              <a:gd name="connsiteY170" fmla="*/ 98375 h 603405"/>
              <a:gd name="connsiteX171" fmla="*/ 300977 w 516072"/>
              <a:gd name="connsiteY171" fmla="*/ 0 h 6034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</a:cxnLst>
            <a:rect l="l" t="t" r="r" b="b"/>
            <a:pathLst>
              <a:path w="516072" h="603405">
                <a:moveTo>
                  <a:pt x="309853" y="506697"/>
                </a:moveTo>
                <a:cubicBezTo>
                  <a:pt x="318379" y="506236"/>
                  <a:pt x="325638" y="512687"/>
                  <a:pt x="326214" y="521096"/>
                </a:cubicBezTo>
                <a:cubicBezTo>
                  <a:pt x="326675" y="529621"/>
                  <a:pt x="320223" y="536878"/>
                  <a:pt x="311812" y="537454"/>
                </a:cubicBezTo>
                <a:lnTo>
                  <a:pt x="164332" y="546670"/>
                </a:lnTo>
                <a:cubicBezTo>
                  <a:pt x="163986" y="546670"/>
                  <a:pt x="163640" y="546670"/>
                  <a:pt x="163295" y="546670"/>
                </a:cubicBezTo>
                <a:cubicBezTo>
                  <a:pt x="155345" y="546670"/>
                  <a:pt x="148547" y="540449"/>
                  <a:pt x="147971" y="532270"/>
                </a:cubicBezTo>
                <a:cubicBezTo>
                  <a:pt x="147510" y="523746"/>
                  <a:pt x="153962" y="516489"/>
                  <a:pt x="162373" y="515913"/>
                </a:cubicBezTo>
                <a:close/>
                <a:moveTo>
                  <a:pt x="300609" y="444361"/>
                </a:moveTo>
                <a:cubicBezTo>
                  <a:pt x="309135" y="443786"/>
                  <a:pt x="316394" y="450226"/>
                  <a:pt x="316970" y="458620"/>
                </a:cubicBezTo>
                <a:cubicBezTo>
                  <a:pt x="317431" y="467130"/>
                  <a:pt x="310979" y="474375"/>
                  <a:pt x="302568" y="474949"/>
                </a:cubicBezTo>
                <a:lnTo>
                  <a:pt x="155088" y="484149"/>
                </a:lnTo>
                <a:cubicBezTo>
                  <a:pt x="154742" y="484149"/>
                  <a:pt x="154396" y="484149"/>
                  <a:pt x="154051" y="484149"/>
                </a:cubicBezTo>
                <a:cubicBezTo>
                  <a:pt x="146101" y="484149"/>
                  <a:pt x="139303" y="477939"/>
                  <a:pt x="138727" y="469775"/>
                </a:cubicBezTo>
                <a:cubicBezTo>
                  <a:pt x="138266" y="461380"/>
                  <a:pt x="144718" y="454021"/>
                  <a:pt x="153129" y="453561"/>
                </a:cubicBezTo>
                <a:close/>
                <a:moveTo>
                  <a:pt x="409511" y="410322"/>
                </a:moveTo>
                <a:lnTo>
                  <a:pt x="401791" y="472344"/>
                </a:lnTo>
                <a:lnTo>
                  <a:pt x="425067" y="451516"/>
                </a:lnTo>
                <a:cubicBezTo>
                  <a:pt x="420919" y="437939"/>
                  <a:pt x="415618" y="423555"/>
                  <a:pt x="409511" y="410322"/>
                </a:cubicBezTo>
                <a:close/>
                <a:moveTo>
                  <a:pt x="228508" y="375201"/>
                </a:moveTo>
                <a:lnTo>
                  <a:pt x="218716" y="376007"/>
                </a:lnTo>
                <a:lnTo>
                  <a:pt x="229314" y="402806"/>
                </a:lnTo>
                <a:lnTo>
                  <a:pt x="238991" y="402001"/>
                </a:lnTo>
                <a:cubicBezTo>
                  <a:pt x="240719" y="401886"/>
                  <a:pt x="241871" y="401311"/>
                  <a:pt x="242677" y="400160"/>
                </a:cubicBezTo>
                <a:cubicBezTo>
                  <a:pt x="243368" y="399125"/>
                  <a:pt x="243484" y="397860"/>
                  <a:pt x="242908" y="396480"/>
                </a:cubicBezTo>
                <a:lnTo>
                  <a:pt x="236341" y="379802"/>
                </a:lnTo>
                <a:cubicBezTo>
                  <a:pt x="235765" y="378307"/>
                  <a:pt x="234729" y="377157"/>
                  <a:pt x="233231" y="376352"/>
                </a:cubicBezTo>
                <a:cubicBezTo>
                  <a:pt x="231733" y="375431"/>
                  <a:pt x="230121" y="375086"/>
                  <a:pt x="228508" y="375201"/>
                </a:cubicBezTo>
                <a:close/>
                <a:moveTo>
                  <a:pt x="150356" y="340362"/>
                </a:moveTo>
                <a:cubicBezTo>
                  <a:pt x="148167" y="340592"/>
                  <a:pt x="146553" y="341397"/>
                  <a:pt x="145631" y="342778"/>
                </a:cubicBezTo>
                <a:cubicBezTo>
                  <a:pt x="144594" y="344160"/>
                  <a:pt x="144479" y="345886"/>
                  <a:pt x="145286" y="347727"/>
                </a:cubicBezTo>
                <a:lnTo>
                  <a:pt x="166258" y="401128"/>
                </a:lnTo>
                <a:cubicBezTo>
                  <a:pt x="167065" y="402969"/>
                  <a:pt x="168333" y="404465"/>
                  <a:pt x="170407" y="405616"/>
                </a:cubicBezTo>
                <a:cubicBezTo>
                  <a:pt x="172366" y="406767"/>
                  <a:pt x="174440" y="407228"/>
                  <a:pt x="176629" y="407112"/>
                </a:cubicBezTo>
                <a:cubicBezTo>
                  <a:pt x="178819" y="406882"/>
                  <a:pt x="180432" y="406077"/>
                  <a:pt x="181354" y="404696"/>
                </a:cubicBezTo>
                <a:cubicBezTo>
                  <a:pt x="182391" y="403315"/>
                  <a:pt x="182506" y="401703"/>
                  <a:pt x="181815" y="399747"/>
                </a:cubicBezTo>
                <a:lnTo>
                  <a:pt x="160727" y="346461"/>
                </a:lnTo>
                <a:cubicBezTo>
                  <a:pt x="160036" y="344620"/>
                  <a:pt x="158653" y="343009"/>
                  <a:pt x="156579" y="341858"/>
                </a:cubicBezTo>
                <a:cubicBezTo>
                  <a:pt x="154620" y="340707"/>
                  <a:pt x="152430" y="340131"/>
                  <a:pt x="150356" y="340362"/>
                </a:cubicBezTo>
                <a:close/>
                <a:moveTo>
                  <a:pt x="212726" y="335175"/>
                </a:moveTo>
                <a:lnTo>
                  <a:pt x="202934" y="335980"/>
                </a:lnTo>
                <a:lnTo>
                  <a:pt x="213532" y="362895"/>
                </a:lnTo>
                <a:lnTo>
                  <a:pt x="223209" y="362089"/>
                </a:lnTo>
                <a:cubicBezTo>
                  <a:pt x="224937" y="361859"/>
                  <a:pt x="226089" y="361284"/>
                  <a:pt x="226895" y="360249"/>
                </a:cubicBezTo>
                <a:cubicBezTo>
                  <a:pt x="227586" y="359214"/>
                  <a:pt x="227701" y="357949"/>
                  <a:pt x="227125" y="356454"/>
                </a:cubicBezTo>
                <a:lnTo>
                  <a:pt x="220559" y="339776"/>
                </a:lnTo>
                <a:cubicBezTo>
                  <a:pt x="219983" y="338396"/>
                  <a:pt x="218946" y="337246"/>
                  <a:pt x="217449" y="336325"/>
                </a:cubicBezTo>
                <a:cubicBezTo>
                  <a:pt x="215951" y="335405"/>
                  <a:pt x="214339" y="335060"/>
                  <a:pt x="212726" y="335175"/>
                </a:cubicBezTo>
                <a:close/>
                <a:moveTo>
                  <a:pt x="145055" y="327011"/>
                </a:moveTo>
                <a:cubicBezTo>
                  <a:pt x="151393" y="326436"/>
                  <a:pt x="157731" y="328047"/>
                  <a:pt x="163838" y="331500"/>
                </a:cubicBezTo>
                <a:cubicBezTo>
                  <a:pt x="169831" y="335068"/>
                  <a:pt x="174094" y="339671"/>
                  <a:pt x="176168" y="345195"/>
                </a:cubicBezTo>
                <a:lnTo>
                  <a:pt x="197256" y="398481"/>
                </a:lnTo>
                <a:cubicBezTo>
                  <a:pt x="199446" y="404005"/>
                  <a:pt x="198985" y="408954"/>
                  <a:pt x="195989" y="413212"/>
                </a:cubicBezTo>
                <a:cubicBezTo>
                  <a:pt x="192993" y="417470"/>
                  <a:pt x="188268" y="419887"/>
                  <a:pt x="181930" y="420463"/>
                </a:cubicBezTo>
                <a:cubicBezTo>
                  <a:pt x="175477" y="420923"/>
                  <a:pt x="169254" y="419427"/>
                  <a:pt x="163147" y="415974"/>
                </a:cubicBezTo>
                <a:cubicBezTo>
                  <a:pt x="157040" y="412407"/>
                  <a:pt x="152891" y="407803"/>
                  <a:pt x="150702" y="402394"/>
                </a:cubicBezTo>
                <a:lnTo>
                  <a:pt x="129729" y="348993"/>
                </a:lnTo>
                <a:cubicBezTo>
                  <a:pt x="127540" y="343469"/>
                  <a:pt x="128001" y="338520"/>
                  <a:pt x="130882" y="334262"/>
                </a:cubicBezTo>
                <a:cubicBezTo>
                  <a:pt x="133878" y="330004"/>
                  <a:pt x="138717" y="327472"/>
                  <a:pt x="145055" y="327011"/>
                </a:cubicBezTo>
                <a:close/>
                <a:moveTo>
                  <a:pt x="213417" y="321488"/>
                </a:moveTo>
                <a:cubicBezTo>
                  <a:pt x="217564" y="321143"/>
                  <a:pt x="221711" y="322178"/>
                  <a:pt x="225743" y="324479"/>
                </a:cubicBezTo>
                <a:cubicBezTo>
                  <a:pt x="229775" y="326779"/>
                  <a:pt x="232540" y="329884"/>
                  <a:pt x="234037" y="333565"/>
                </a:cubicBezTo>
                <a:lnTo>
                  <a:pt x="245096" y="361859"/>
                </a:lnTo>
                <a:cubicBezTo>
                  <a:pt x="245672" y="363240"/>
                  <a:pt x="245557" y="364390"/>
                  <a:pt x="244866" y="365425"/>
                </a:cubicBezTo>
                <a:cubicBezTo>
                  <a:pt x="244060" y="366575"/>
                  <a:pt x="242908" y="367150"/>
                  <a:pt x="241295" y="367265"/>
                </a:cubicBezTo>
                <a:lnTo>
                  <a:pt x="241410" y="367380"/>
                </a:lnTo>
                <a:cubicBezTo>
                  <a:pt x="242908" y="367265"/>
                  <a:pt x="244520" y="367610"/>
                  <a:pt x="246018" y="368530"/>
                </a:cubicBezTo>
                <a:cubicBezTo>
                  <a:pt x="247516" y="369451"/>
                  <a:pt x="248553" y="370486"/>
                  <a:pt x="249129" y="371866"/>
                </a:cubicBezTo>
                <a:lnTo>
                  <a:pt x="260303" y="400275"/>
                </a:lnTo>
                <a:cubicBezTo>
                  <a:pt x="261685" y="403841"/>
                  <a:pt x="261455" y="407176"/>
                  <a:pt x="259496" y="409937"/>
                </a:cubicBezTo>
                <a:cubicBezTo>
                  <a:pt x="257538" y="412812"/>
                  <a:pt x="254313" y="414423"/>
                  <a:pt x="250165" y="414768"/>
                </a:cubicBezTo>
                <a:lnTo>
                  <a:pt x="223439" y="416953"/>
                </a:lnTo>
                <a:cubicBezTo>
                  <a:pt x="221020" y="417183"/>
                  <a:pt x="218486" y="415688"/>
                  <a:pt x="217679" y="413617"/>
                </a:cubicBezTo>
                <a:lnTo>
                  <a:pt x="183811" y="327814"/>
                </a:lnTo>
                <a:cubicBezTo>
                  <a:pt x="183005" y="325744"/>
                  <a:pt x="184272" y="323903"/>
                  <a:pt x="186576" y="323673"/>
                </a:cubicBezTo>
                <a:close/>
                <a:moveTo>
                  <a:pt x="263606" y="317202"/>
                </a:moveTo>
                <a:cubicBezTo>
                  <a:pt x="270059" y="316627"/>
                  <a:pt x="276282" y="318238"/>
                  <a:pt x="282389" y="321691"/>
                </a:cubicBezTo>
                <a:cubicBezTo>
                  <a:pt x="288496" y="325259"/>
                  <a:pt x="292645" y="329862"/>
                  <a:pt x="294834" y="335386"/>
                </a:cubicBezTo>
                <a:lnTo>
                  <a:pt x="295987" y="338264"/>
                </a:lnTo>
                <a:cubicBezTo>
                  <a:pt x="296793" y="340335"/>
                  <a:pt x="295526" y="342176"/>
                  <a:pt x="293106" y="342292"/>
                </a:cubicBezTo>
                <a:lnTo>
                  <a:pt x="286192" y="342867"/>
                </a:lnTo>
                <a:cubicBezTo>
                  <a:pt x="283772" y="343097"/>
                  <a:pt x="281237" y="341601"/>
                  <a:pt x="280430" y="339529"/>
                </a:cubicBezTo>
                <a:lnTo>
                  <a:pt x="279278" y="336652"/>
                </a:lnTo>
                <a:cubicBezTo>
                  <a:pt x="278586" y="334811"/>
                  <a:pt x="277203" y="333200"/>
                  <a:pt x="275129" y="332049"/>
                </a:cubicBezTo>
                <a:cubicBezTo>
                  <a:pt x="273170" y="330898"/>
                  <a:pt x="271096" y="330322"/>
                  <a:pt x="268907" y="330553"/>
                </a:cubicBezTo>
                <a:cubicBezTo>
                  <a:pt x="266717" y="330783"/>
                  <a:pt x="265104" y="331588"/>
                  <a:pt x="264182" y="332969"/>
                </a:cubicBezTo>
                <a:cubicBezTo>
                  <a:pt x="263145" y="334351"/>
                  <a:pt x="263030" y="336077"/>
                  <a:pt x="263721" y="337918"/>
                </a:cubicBezTo>
                <a:lnTo>
                  <a:pt x="269022" y="351153"/>
                </a:lnTo>
                <a:cubicBezTo>
                  <a:pt x="269713" y="352995"/>
                  <a:pt x="271096" y="354606"/>
                  <a:pt x="273170" y="355757"/>
                </a:cubicBezTo>
                <a:cubicBezTo>
                  <a:pt x="275129" y="356908"/>
                  <a:pt x="277319" y="357483"/>
                  <a:pt x="279393" y="357253"/>
                </a:cubicBezTo>
                <a:cubicBezTo>
                  <a:pt x="286307" y="356678"/>
                  <a:pt x="292990" y="358404"/>
                  <a:pt x="299328" y="362432"/>
                </a:cubicBezTo>
                <a:cubicBezTo>
                  <a:pt x="304860" y="366000"/>
                  <a:pt x="308547" y="370258"/>
                  <a:pt x="310621" y="375322"/>
                </a:cubicBezTo>
                <a:lnTo>
                  <a:pt x="315807" y="388672"/>
                </a:lnTo>
                <a:cubicBezTo>
                  <a:pt x="317996" y="394196"/>
                  <a:pt x="317535" y="399145"/>
                  <a:pt x="314539" y="403403"/>
                </a:cubicBezTo>
                <a:cubicBezTo>
                  <a:pt x="311658" y="407661"/>
                  <a:pt x="306819" y="410078"/>
                  <a:pt x="300481" y="410654"/>
                </a:cubicBezTo>
                <a:cubicBezTo>
                  <a:pt x="294028" y="411114"/>
                  <a:pt x="287805" y="409618"/>
                  <a:pt x="281698" y="406165"/>
                </a:cubicBezTo>
                <a:cubicBezTo>
                  <a:pt x="275590" y="402598"/>
                  <a:pt x="271442" y="397994"/>
                  <a:pt x="269252" y="392585"/>
                </a:cubicBezTo>
                <a:lnTo>
                  <a:pt x="268100" y="389593"/>
                </a:lnTo>
                <a:cubicBezTo>
                  <a:pt x="267293" y="387521"/>
                  <a:pt x="268561" y="385680"/>
                  <a:pt x="270866" y="385449"/>
                </a:cubicBezTo>
                <a:lnTo>
                  <a:pt x="277780" y="384874"/>
                </a:lnTo>
                <a:cubicBezTo>
                  <a:pt x="280200" y="384759"/>
                  <a:pt x="282735" y="386255"/>
                  <a:pt x="283541" y="388212"/>
                </a:cubicBezTo>
                <a:lnTo>
                  <a:pt x="284809" y="391319"/>
                </a:lnTo>
                <a:cubicBezTo>
                  <a:pt x="285500" y="393160"/>
                  <a:pt x="286883" y="394656"/>
                  <a:pt x="288957" y="395807"/>
                </a:cubicBezTo>
                <a:cubicBezTo>
                  <a:pt x="290916" y="396958"/>
                  <a:pt x="292990" y="397419"/>
                  <a:pt x="295180" y="397303"/>
                </a:cubicBezTo>
                <a:cubicBezTo>
                  <a:pt x="297369" y="397073"/>
                  <a:pt x="298983" y="396268"/>
                  <a:pt x="299905" y="394887"/>
                </a:cubicBezTo>
                <a:cubicBezTo>
                  <a:pt x="300942" y="393506"/>
                  <a:pt x="301057" y="391894"/>
                  <a:pt x="300250" y="389938"/>
                </a:cubicBezTo>
                <a:lnTo>
                  <a:pt x="295065" y="376588"/>
                </a:lnTo>
                <a:cubicBezTo>
                  <a:pt x="294258" y="374746"/>
                  <a:pt x="292875" y="373250"/>
                  <a:pt x="290916" y="372099"/>
                </a:cubicBezTo>
                <a:cubicBezTo>
                  <a:pt x="288957" y="370948"/>
                  <a:pt x="286883" y="370488"/>
                  <a:pt x="284694" y="370603"/>
                </a:cubicBezTo>
                <a:cubicBezTo>
                  <a:pt x="277780" y="371179"/>
                  <a:pt x="270981" y="369337"/>
                  <a:pt x="264643" y="365424"/>
                </a:cubicBezTo>
                <a:cubicBezTo>
                  <a:pt x="259227" y="361856"/>
                  <a:pt x="255424" y="357483"/>
                  <a:pt x="253465" y="352534"/>
                </a:cubicBezTo>
                <a:lnTo>
                  <a:pt x="248164" y="339184"/>
                </a:lnTo>
                <a:cubicBezTo>
                  <a:pt x="246090" y="333660"/>
                  <a:pt x="246436" y="328711"/>
                  <a:pt x="249432" y="324453"/>
                </a:cubicBezTo>
                <a:cubicBezTo>
                  <a:pt x="252543" y="320195"/>
                  <a:pt x="257268" y="317663"/>
                  <a:pt x="263606" y="317202"/>
                </a:cubicBezTo>
                <a:close/>
                <a:moveTo>
                  <a:pt x="320670" y="288927"/>
                </a:moveTo>
                <a:lnTo>
                  <a:pt x="26837" y="313206"/>
                </a:lnTo>
                <a:cubicBezTo>
                  <a:pt x="44236" y="344389"/>
                  <a:pt x="58064" y="372811"/>
                  <a:pt x="69010" y="398701"/>
                </a:cubicBezTo>
                <a:cubicBezTo>
                  <a:pt x="78459" y="396975"/>
                  <a:pt x="99892" y="395249"/>
                  <a:pt x="109340" y="411473"/>
                </a:cubicBezTo>
                <a:cubicBezTo>
                  <a:pt x="109686" y="412164"/>
                  <a:pt x="110032" y="412739"/>
                  <a:pt x="110377" y="413429"/>
                </a:cubicBezTo>
                <a:cubicBezTo>
                  <a:pt x="110953" y="412854"/>
                  <a:pt x="111760" y="412394"/>
                  <a:pt x="112797" y="412279"/>
                </a:cubicBezTo>
                <a:lnTo>
                  <a:pt x="116139" y="412048"/>
                </a:lnTo>
                <a:cubicBezTo>
                  <a:pt x="118328" y="411818"/>
                  <a:pt x="119941" y="411013"/>
                  <a:pt x="120978" y="409632"/>
                </a:cubicBezTo>
                <a:cubicBezTo>
                  <a:pt x="122015" y="408251"/>
                  <a:pt x="122131" y="406640"/>
                  <a:pt x="121324" y="404799"/>
                </a:cubicBezTo>
                <a:lnTo>
                  <a:pt x="93900" y="335069"/>
                </a:lnTo>
                <a:cubicBezTo>
                  <a:pt x="93093" y="332997"/>
                  <a:pt x="94361" y="331156"/>
                  <a:pt x="96780" y="331041"/>
                </a:cubicBezTo>
                <a:lnTo>
                  <a:pt x="103694" y="330466"/>
                </a:lnTo>
                <a:cubicBezTo>
                  <a:pt x="105999" y="330236"/>
                  <a:pt x="108649" y="331732"/>
                  <a:pt x="109456" y="333803"/>
                </a:cubicBezTo>
                <a:lnTo>
                  <a:pt x="139530" y="410092"/>
                </a:lnTo>
                <a:cubicBezTo>
                  <a:pt x="140913" y="413774"/>
                  <a:pt x="140682" y="416996"/>
                  <a:pt x="138608" y="419873"/>
                </a:cubicBezTo>
                <a:cubicBezTo>
                  <a:pt x="136649" y="422750"/>
                  <a:pt x="133423" y="424361"/>
                  <a:pt x="129275" y="424706"/>
                </a:cubicBezTo>
                <a:lnTo>
                  <a:pt x="117982" y="425741"/>
                </a:lnTo>
                <a:cubicBezTo>
                  <a:pt x="116830" y="425741"/>
                  <a:pt x="115678" y="425511"/>
                  <a:pt x="114641" y="424821"/>
                </a:cubicBezTo>
                <a:cubicBezTo>
                  <a:pt x="118559" y="442656"/>
                  <a:pt x="111414" y="461412"/>
                  <a:pt x="95743" y="475220"/>
                </a:cubicBezTo>
                <a:cubicBezTo>
                  <a:pt x="110262" y="529072"/>
                  <a:pt x="109916" y="564858"/>
                  <a:pt x="108073" y="582693"/>
                </a:cubicBezTo>
                <a:lnTo>
                  <a:pt x="390844" y="571647"/>
                </a:lnTo>
                <a:cubicBezTo>
                  <a:pt x="390729" y="563017"/>
                  <a:pt x="390268" y="554041"/>
                  <a:pt x="389577" y="545181"/>
                </a:cubicBezTo>
                <a:cubicBezTo>
                  <a:pt x="376902" y="530913"/>
                  <a:pt x="378169" y="508014"/>
                  <a:pt x="383009" y="494667"/>
                </a:cubicBezTo>
                <a:cubicBezTo>
                  <a:pt x="366877" y="402728"/>
                  <a:pt x="331041" y="313436"/>
                  <a:pt x="320670" y="288927"/>
                </a:cubicBezTo>
                <a:close/>
                <a:moveTo>
                  <a:pt x="263171" y="241404"/>
                </a:moveTo>
                <a:lnTo>
                  <a:pt x="292900" y="270861"/>
                </a:lnTo>
                <a:lnTo>
                  <a:pt x="310415" y="269365"/>
                </a:lnTo>
                <a:lnTo>
                  <a:pt x="338646" y="241404"/>
                </a:lnTo>
                <a:lnTo>
                  <a:pt x="360770" y="260045"/>
                </a:lnTo>
                <a:cubicBezTo>
                  <a:pt x="360770" y="260045"/>
                  <a:pt x="407552" y="282483"/>
                  <a:pt x="412738" y="285014"/>
                </a:cubicBezTo>
                <a:cubicBezTo>
                  <a:pt x="445117" y="300433"/>
                  <a:pt x="471504" y="335414"/>
                  <a:pt x="492821" y="387309"/>
                </a:cubicBezTo>
                <a:cubicBezTo>
                  <a:pt x="507571" y="423210"/>
                  <a:pt x="514715" y="455314"/>
                  <a:pt x="515061" y="456695"/>
                </a:cubicBezTo>
                <a:cubicBezTo>
                  <a:pt x="518402" y="471768"/>
                  <a:pt x="513332" y="487417"/>
                  <a:pt x="501809" y="497773"/>
                </a:cubicBezTo>
                <a:lnTo>
                  <a:pt x="445463" y="548058"/>
                </a:lnTo>
                <a:cubicBezTo>
                  <a:pt x="437281" y="555307"/>
                  <a:pt x="427026" y="558874"/>
                  <a:pt x="416886" y="558874"/>
                </a:cubicBezTo>
                <a:cubicBezTo>
                  <a:pt x="414927" y="558874"/>
                  <a:pt x="412853" y="558759"/>
                  <a:pt x="410779" y="558414"/>
                </a:cubicBezTo>
                <a:cubicBezTo>
                  <a:pt x="411124" y="566238"/>
                  <a:pt x="411355" y="573948"/>
                  <a:pt x="411240" y="581542"/>
                </a:cubicBezTo>
                <a:cubicBezTo>
                  <a:pt x="411240" y="586950"/>
                  <a:pt x="406861" y="591438"/>
                  <a:pt x="401445" y="591668"/>
                </a:cubicBezTo>
                <a:lnTo>
                  <a:pt x="96435" y="603405"/>
                </a:lnTo>
                <a:cubicBezTo>
                  <a:pt x="96319" y="603405"/>
                  <a:pt x="96204" y="603405"/>
                  <a:pt x="95974" y="603405"/>
                </a:cubicBezTo>
                <a:cubicBezTo>
                  <a:pt x="92863" y="603405"/>
                  <a:pt x="89982" y="602024"/>
                  <a:pt x="88023" y="599608"/>
                </a:cubicBezTo>
                <a:cubicBezTo>
                  <a:pt x="86064" y="597076"/>
                  <a:pt x="85373" y="593739"/>
                  <a:pt x="86179" y="590633"/>
                </a:cubicBezTo>
                <a:cubicBezTo>
                  <a:pt x="86295" y="590172"/>
                  <a:pt x="92171" y="566814"/>
                  <a:pt x="84797" y="521132"/>
                </a:cubicBezTo>
                <a:cubicBezTo>
                  <a:pt x="83299" y="511697"/>
                  <a:pt x="81109" y="500765"/>
                  <a:pt x="77998" y="488568"/>
                </a:cubicBezTo>
                <a:cubicBezTo>
                  <a:pt x="76385" y="489949"/>
                  <a:pt x="74541" y="491330"/>
                  <a:pt x="72582" y="492595"/>
                </a:cubicBezTo>
                <a:cubicBezTo>
                  <a:pt x="65553" y="497083"/>
                  <a:pt x="57603" y="499269"/>
                  <a:pt x="49767" y="499269"/>
                </a:cubicBezTo>
                <a:cubicBezTo>
                  <a:pt x="35594" y="499269"/>
                  <a:pt x="21651" y="492250"/>
                  <a:pt x="13585" y="479363"/>
                </a:cubicBezTo>
                <a:cubicBezTo>
                  <a:pt x="1025" y="459571"/>
                  <a:pt x="-818" y="423900"/>
                  <a:pt x="35594" y="388230"/>
                </a:cubicBezTo>
                <a:cubicBezTo>
                  <a:pt x="36977" y="386849"/>
                  <a:pt x="38475" y="385468"/>
                  <a:pt x="40203" y="383972"/>
                </a:cubicBezTo>
                <a:cubicBezTo>
                  <a:pt x="29602" y="361189"/>
                  <a:pt x="16927" y="336334"/>
                  <a:pt x="1371" y="309524"/>
                </a:cubicBezTo>
                <a:cubicBezTo>
                  <a:pt x="-357" y="306532"/>
                  <a:pt x="-473" y="302850"/>
                  <a:pt x="1141" y="299743"/>
                </a:cubicBezTo>
                <a:cubicBezTo>
                  <a:pt x="2754" y="296636"/>
                  <a:pt x="5865" y="294565"/>
                  <a:pt x="9322" y="294335"/>
                </a:cubicBezTo>
                <a:lnTo>
                  <a:pt x="201062" y="278456"/>
                </a:lnTo>
                <a:lnTo>
                  <a:pt x="241047" y="260045"/>
                </a:lnTo>
                <a:close/>
                <a:moveTo>
                  <a:pt x="300977" y="0"/>
                </a:moveTo>
                <a:cubicBezTo>
                  <a:pt x="372419" y="0"/>
                  <a:pt x="401687" y="36819"/>
                  <a:pt x="401111" y="98375"/>
                </a:cubicBezTo>
                <a:cubicBezTo>
                  <a:pt x="400189" y="186969"/>
                  <a:pt x="357785" y="239781"/>
                  <a:pt x="300977" y="239781"/>
                </a:cubicBezTo>
                <a:cubicBezTo>
                  <a:pt x="244054" y="239781"/>
                  <a:pt x="201765" y="186969"/>
                  <a:pt x="200728" y="98375"/>
                </a:cubicBezTo>
                <a:cubicBezTo>
                  <a:pt x="200152" y="36819"/>
                  <a:pt x="229420" y="0"/>
                  <a:pt x="300977" y="0"/>
                </a:cubicBezTo>
                <a:close/>
              </a:path>
            </a:pathLst>
          </a:custGeom>
          <a:solidFill>
            <a:schemeClr val="bg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5138090" y="2711470"/>
            <a:ext cx="558340" cy="567564"/>
          </a:xfrm>
          <a:custGeom>
            <a:avLst/>
            <a:gdLst>
              <a:gd name="connsiteX0" fmla="*/ 24879 w 541917"/>
              <a:gd name="connsiteY0" fmla="*/ 387059 h 550871"/>
              <a:gd name="connsiteX1" fmla="*/ 518330 w 541917"/>
              <a:gd name="connsiteY1" fmla="*/ 387059 h 550871"/>
              <a:gd name="connsiteX2" fmla="*/ 536414 w 541917"/>
              <a:gd name="connsiteY2" fmla="*/ 396088 h 550871"/>
              <a:gd name="connsiteX3" fmla="*/ 541581 w 541917"/>
              <a:gd name="connsiteY3" fmla="*/ 415436 h 550871"/>
              <a:gd name="connsiteX4" fmla="*/ 522205 w 541917"/>
              <a:gd name="connsiteY4" fmla="*/ 550871 h 550871"/>
              <a:gd name="connsiteX5" fmla="*/ 19712 w 541917"/>
              <a:gd name="connsiteY5" fmla="*/ 550871 h 550871"/>
              <a:gd name="connsiteX6" fmla="*/ 336 w 541917"/>
              <a:gd name="connsiteY6" fmla="*/ 415436 h 550871"/>
              <a:gd name="connsiteX7" fmla="*/ 5503 w 541917"/>
              <a:gd name="connsiteY7" fmla="*/ 396088 h 550871"/>
              <a:gd name="connsiteX8" fmla="*/ 24879 w 541917"/>
              <a:gd name="connsiteY8" fmla="*/ 387059 h 550871"/>
              <a:gd name="connsiteX9" fmla="*/ 292206 w 541917"/>
              <a:gd name="connsiteY9" fmla="*/ 330316 h 550871"/>
              <a:gd name="connsiteX10" fmla="*/ 417595 w 541917"/>
              <a:gd name="connsiteY10" fmla="*/ 330316 h 550871"/>
              <a:gd name="connsiteX11" fmla="*/ 426644 w 541917"/>
              <a:gd name="connsiteY11" fmla="*/ 341907 h 550871"/>
              <a:gd name="connsiteX12" fmla="*/ 424058 w 541917"/>
              <a:gd name="connsiteY12" fmla="*/ 359937 h 550871"/>
              <a:gd name="connsiteX13" fmla="*/ 411132 w 541917"/>
              <a:gd name="connsiteY13" fmla="*/ 371528 h 550871"/>
              <a:gd name="connsiteX14" fmla="*/ 267645 w 541917"/>
              <a:gd name="connsiteY14" fmla="*/ 371528 h 550871"/>
              <a:gd name="connsiteX15" fmla="*/ 267645 w 541917"/>
              <a:gd name="connsiteY15" fmla="*/ 361225 h 550871"/>
              <a:gd name="connsiteX16" fmla="*/ 268938 w 541917"/>
              <a:gd name="connsiteY16" fmla="*/ 359937 h 550871"/>
              <a:gd name="connsiteX17" fmla="*/ 292206 w 541917"/>
              <a:gd name="connsiteY17" fmla="*/ 330316 h 550871"/>
              <a:gd name="connsiteX18" fmla="*/ 274065 w 541917"/>
              <a:gd name="connsiteY18" fmla="*/ 245200 h 550871"/>
              <a:gd name="connsiteX19" fmla="*/ 429145 w 541917"/>
              <a:gd name="connsiteY19" fmla="*/ 245200 h 550871"/>
              <a:gd name="connsiteX20" fmla="*/ 439484 w 541917"/>
              <a:gd name="connsiteY20" fmla="*/ 259348 h 550871"/>
              <a:gd name="connsiteX21" fmla="*/ 436899 w 541917"/>
              <a:gd name="connsiteY21" fmla="*/ 279927 h 550871"/>
              <a:gd name="connsiteX22" fmla="*/ 422684 w 541917"/>
              <a:gd name="connsiteY22" fmla="*/ 294074 h 550871"/>
              <a:gd name="connsiteX23" fmla="*/ 289573 w 541917"/>
              <a:gd name="connsiteY23" fmla="*/ 294074 h 550871"/>
              <a:gd name="connsiteX24" fmla="*/ 281819 w 541917"/>
              <a:gd name="connsiteY24" fmla="*/ 283785 h 550871"/>
              <a:gd name="connsiteX25" fmla="*/ 274065 w 541917"/>
              <a:gd name="connsiteY25" fmla="*/ 245200 h 550871"/>
              <a:gd name="connsiteX26" fmla="*/ 205692 w 541917"/>
              <a:gd name="connsiteY26" fmla="*/ 219313 h 550871"/>
              <a:gd name="connsiteX27" fmla="*/ 267629 w 541917"/>
              <a:gd name="connsiteY27" fmla="*/ 298025 h 550871"/>
              <a:gd name="connsiteX28" fmla="*/ 270210 w 541917"/>
              <a:gd name="connsiteY28" fmla="*/ 296735 h 550871"/>
              <a:gd name="connsiteX29" fmla="*/ 279242 w 541917"/>
              <a:gd name="connsiteY29" fmla="*/ 318671 h 550871"/>
              <a:gd name="connsiteX30" fmla="*/ 262468 w 541917"/>
              <a:gd name="connsiteY30" fmla="*/ 345768 h 550871"/>
              <a:gd name="connsiteX31" fmla="*/ 259887 w 541917"/>
              <a:gd name="connsiteY31" fmla="*/ 344478 h 550871"/>
              <a:gd name="connsiteX32" fmla="*/ 243112 w 541917"/>
              <a:gd name="connsiteY32" fmla="*/ 370285 h 550871"/>
              <a:gd name="connsiteX33" fmla="*/ 187627 w 541917"/>
              <a:gd name="connsiteY33" fmla="*/ 370285 h 550871"/>
              <a:gd name="connsiteX34" fmla="*/ 168272 w 541917"/>
              <a:gd name="connsiteY34" fmla="*/ 345768 h 550871"/>
              <a:gd name="connsiteX35" fmla="*/ 165691 w 541917"/>
              <a:gd name="connsiteY35" fmla="*/ 345768 h 550871"/>
              <a:gd name="connsiteX36" fmla="*/ 146336 w 541917"/>
              <a:gd name="connsiteY36" fmla="*/ 318671 h 550871"/>
              <a:gd name="connsiteX37" fmla="*/ 152787 w 541917"/>
              <a:gd name="connsiteY37" fmla="*/ 296735 h 550871"/>
              <a:gd name="connsiteX38" fmla="*/ 154078 w 541917"/>
              <a:gd name="connsiteY38" fmla="*/ 296735 h 550871"/>
              <a:gd name="connsiteX39" fmla="*/ 205692 w 541917"/>
              <a:gd name="connsiteY39" fmla="*/ 219313 h 550871"/>
              <a:gd name="connsiteX40" fmla="*/ 76563 w 541917"/>
              <a:gd name="connsiteY40" fmla="*/ 122600 h 550871"/>
              <a:gd name="connsiteX41" fmla="*/ 464111 w 541917"/>
              <a:gd name="connsiteY41" fmla="*/ 122600 h 550871"/>
              <a:gd name="connsiteX42" fmla="*/ 536453 w 541917"/>
              <a:gd name="connsiteY42" fmla="*/ 194836 h 550871"/>
              <a:gd name="connsiteX43" fmla="*/ 513200 w 541917"/>
              <a:gd name="connsiteY43" fmla="*/ 362527 h 550871"/>
              <a:gd name="connsiteX44" fmla="*/ 479613 w 541917"/>
              <a:gd name="connsiteY44" fmla="*/ 362527 h 550871"/>
              <a:gd name="connsiteX45" fmla="*/ 501574 w 541917"/>
              <a:gd name="connsiteY45" fmla="*/ 194836 h 550871"/>
              <a:gd name="connsiteX46" fmla="*/ 464111 w 541917"/>
              <a:gd name="connsiteY46" fmla="*/ 157428 h 550871"/>
              <a:gd name="connsiteX47" fmla="*/ 76563 w 541917"/>
              <a:gd name="connsiteY47" fmla="*/ 157428 h 550871"/>
              <a:gd name="connsiteX48" fmla="*/ 39100 w 541917"/>
              <a:gd name="connsiteY48" fmla="*/ 194836 h 550871"/>
              <a:gd name="connsiteX49" fmla="*/ 63645 w 541917"/>
              <a:gd name="connsiteY49" fmla="*/ 365107 h 550871"/>
              <a:gd name="connsiteX50" fmla="*/ 30057 w 541917"/>
              <a:gd name="connsiteY50" fmla="*/ 365107 h 550871"/>
              <a:gd name="connsiteX51" fmla="*/ 4221 w 541917"/>
              <a:gd name="connsiteY51" fmla="*/ 194836 h 550871"/>
              <a:gd name="connsiteX52" fmla="*/ 76563 w 541917"/>
              <a:gd name="connsiteY52" fmla="*/ 122600 h 550871"/>
              <a:gd name="connsiteX53" fmla="*/ 89318 w 541917"/>
              <a:gd name="connsiteY53" fmla="*/ 57986 h 550871"/>
              <a:gd name="connsiteX54" fmla="*/ 436859 w 541917"/>
              <a:gd name="connsiteY54" fmla="*/ 57986 h 550871"/>
              <a:gd name="connsiteX55" fmla="*/ 444611 w 541917"/>
              <a:gd name="connsiteY55" fmla="*/ 61864 h 550871"/>
              <a:gd name="connsiteX56" fmla="*/ 445903 w 541917"/>
              <a:gd name="connsiteY56" fmla="*/ 69619 h 550871"/>
              <a:gd name="connsiteX57" fmla="*/ 440735 w 541917"/>
              <a:gd name="connsiteY57" fmla="*/ 95470 h 550871"/>
              <a:gd name="connsiteX58" fmla="*/ 86734 w 541917"/>
              <a:gd name="connsiteY58" fmla="*/ 95470 h 550871"/>
              <a:gd name="connsiteX59" fmla="*/ 80274 w 541917"/>
              <a:gd name="connsiteY59" fmla="*/ 69619 h 550871"/>
              <a:gd name="connsiteX60" fmla="*/ 81566 w 541917"/>
              <a:gd name="connsiteY60" fmla="*/ 61864 h 550871"/>
              <a:gd name="connsiteX61" fmla="*/ 89318 w 541917"/>
              <a:gd name="connsiteY61" fmla="*/ 57986 h 550871"/>
              <a:gd name="connsiteX62" fmla="*/ 125555 w 541917"/>
              <a:gd name="connsiteY62" fmla="*/ 0 h 550871"/>
              <a:gd name="connsiteX63" fmla="*/ 401914 w 541917"/>
              <a:gd name="connsiteY63" fmla="*/ 0 h 550871"/>
              <a:gd name="connsiteX64" fmla="*/ 408371 w 541917"/>
              <a:gd name="connsiteY64" fmla="*/ 3878 h 550871"/>
              <a:gd name="connsiteX65" fmla="*/ 409663 w 541917"/>
              <a:gd name="connsiteY65" fmla="*/ 10341 h 550871"/>
              <a:gd name="connsiteX66" fmla="*/ 405789 w 541917"/>
              <a:gd name="connsiteY66" fmla="*/ 37484 h 550871"/>
              <a:gd name="connsiteX67" fmla="*/ 121681 w 541917"/>
              <a:gd name="connsiteY67" fmla="*/ 37484 h 550871"/>
              <a:gd name="connsiteX68" fmla="*/ 116516 w 541917"/>
              <a:gd name="connsiteY68" fmla="*/ 10341 h 550871"/>
              <a:gd name="connsiteX69" fmla="*/ 117807 w 541917"/>
              <a:gd name="connsiteY69" fmla="*/ 3878 h 550871"/>
              <a:gd name="connsiteX70" fmla="*/ 125555 w 541917"/>
              <a:gd name="connsiteY70" fmla="*/ 0 h 5508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</a:cxnLst>
            <a:rect l="l" t="t" r="r" b="b"/>
            <a:pathLst>
              <a:path w="541917" h="550871">
                <a:moveTo>
                  <a:pt x="24879" y="387059"/>
                </a:moveTo>
                <a:lnTo>
                  <a:pt x="518330" y="387059"/>
                </a:lnTo>
                <a:cubicBezTo>
                  <a:pt x="524789" y="387059"/>
                  <a:pt x="531247" y="390929"/>
                  <a:pt x="536414" y="396088"/>
                </a:cubicBezTo>
                <a:cubicBezTo>
                  <a:pt x="540290" y="401248"/>
                  <a:pt x="542873" y="407697"/>
                  <a:pt x="541581" y="415436"/>
                </a:cubicBezTo>
                <a:lnTo>
                  <a:pt x="522205" y="550871"/>
                </a:lnTo>
                <a:lnTo>
                  <a:pt x="19712" y="550871"/>
                </a:lnTo>
                <a:lnTo>
                  <a:pt x="336" y="415436"/>
                </a:lnTo>
                <a:cubicBezTo>
                  <a:pt x="-956" y="407697"/>
                  <a:pt x="1627" y="401248"/>
                  <a:pt x="5503" y="396088"/>
                </a:cubicBezTo>
                <a:cubicBezTo>
                  <a:pt x="10670" y="390929"/>
                  <a:pt x="17128" y="387059"/>
                  <a:pt x="24879" y="387059"/>
                </a:cubicBezTo>
                <a:close/>
                <a:moveTo>
                  <a:pt x="292206" y="330316"/>
                </a:moveTo>
                <a:lnTo>
                  <a:pt x="417595" y="330316"/>
                </a:lnTo>
                <a:cubicBezTo>
                  <a:pt x="424058" y="330316"/>
                  <a:pt x="427936" y="335468"/>
                  <a:pt x="426644" y="341907"/>
                </a:cubicBezTo>
                <a:lnTo>
                  <a:pt x="424058" y="359937"/>
                </a:lnTo>
                <a:cubicBezTo>
                  <a:pt x="422766" y="366377"/>
                  <a:pt x="417595" y="371528"/>
                  <a:pt x="411132" y="371528"/>
                </a:cubicBezTo>
                <a:lnTo>
                  <a:pt x="267645" y="371528"/>
                </a:lnTo>
                <a:lnTo>
                  <a:pt x="267645" y="361225"/>
                </a:lnTo>
                <a:cubicBezTo>
                  <a:pt x="267645" y="359937"/>
                  <a:pt x="268938" y="359937"/>
                  <a:pt x="268938" y="359937"/>
                </a:cubicBezTo>
                <a:cubicBezTo>
                  <a:pt x="279279" y="356074"/>
                  <a:pt x="288328" y="343195"/>
                  <a:pt x="292206" y="330316"/>
                </a:cubicBezTo>
                <a:close/>
                <a:moveTo>
                  <a:pt x="274065" y="245200"/>
                </a:moveTo>
                <a:lnTo>
                  <a:pt x="429145" y="245200"/>
                </a:lnTo>
                <a:cubicBezTo>
                  <a:pt x="436899" y="245200"/>
                  <a:pt x="440776" y="251631"/>
                  <a:pt x="439484" y="259348"/>
                </a:cubicBezTo>
                <a:lnTo>
                  <a:pt x="436899" y="279927"/>
                </a:lnTo>
                <a:cubicBezTo>
                  <a:pt x="435607" y="287643"/>
                  <a:pt x="429145" y="292788"/>
                  <a:pt x="422684" y="294074"/>
                </a:cubicBezTo>
                <a:lnTo>
                  <a:pt x="289573" y="294074"/>
                </a:lnTo>
                <a:cubicBezTo>
                  <a:pt x="286989" y="288930"/>
                  <a:pt x="285696" y="286357"/>
                  <a:pt x="281819" y="283785"/>
                </a:cubicBezTo>
                <a:cubicBezTo>
                  <a:pt x="280527" y="268351"/>
                  <a:pt x="277942" y="255490"/>
                  <a:pt x="274065" y="245200"/>
                </a:cubicBezTo>
                <a:close/>
                <a:moveTo>
                  <a:pt x="205692" y="219313"/>
                </a:moveTo>
                <a:cubicBezTo>
                  <a:pt x="257306" y="219313"/>
                  <a:pt x="266339" y="264476"/>
                  <a:pt x="267629" y="298025"/>
                </a:cubicBezTo>
                <a:cubicBezTo>
                  <a:pt x="267629" y="296735"/>
                  <a:pt x="268919" y="296735"/>
                  <a:pt x="270210" y="296735"/>
                </a:cubicBezTo>
                <a:cubicBezTo>
                  <a:pt x="277952" y="296735"/>
                  <a:pt x="279242" y="307058"/>
                  <a:pt x="279242" y="318671"/>
                </a:cubicBezTo>
                <a:cubicBezTo>
                  <a:pt x="277952" y="330284"/>
                  <a:pt x="270210" y="345768"/>
                  <a:pt x="262468" y="345768"/>
                </a:cubicBezTo>
                <a:cubicBezTo>
                  <a:pt x="261177" y="345768"/>
                  <a:pt x="259887" y="345768"/>
                  <a:pt x="259887" y="344478"/>
                </a:cubicBezTo>
                <a:cubicBezTo>
                  <a:pt x="254725" y="354801"/>
                  <a:pt x="249564" y="363833"/>
                  <a:pt x="243112" y="370285"/>
                </a:cubicBezTo>
                <a:lnTo>
                  <a:pt x="187627" y="370285"/>
                </a:lnTo>
                <a:cubicBezTo>
                  <a:pt x="179885" y="363833"/>
                  <a:pt x="173433" y="354801"/>
                  <a:pt x="168272" y="345768"/>
                </a:cubicBezTo>
                <a:cubicBezTo>
                  <a:pt x="166981" y="345768"/>
                  <a:pt x="166981" y="345768"/>
                  <a:pt x="165691" y="345768"/>
                </a:cubicBezTo>
                <a:cubicBezTo>
                  <a:pt x="157949" y="345768"/>
                  <a:pt x="147626" y="330284"/>
                  <a:pt x="146336" y="318671"/>
                </a:cubicBezTo>
                <a:cubicBezTo>
                  <a:pt x="145045" y="307058"/>
                  <a:pt x="145045" y="296735"/>
                  <a:pt x="152787" y="296735"/>
                </a:cubicBezTo>
                <a:cubicBezTo>
                  <a:pt x="152787" y="296735"/>
                  <a:pt x="154078" y="296735"/>
                  <a:pt x="154078" y="296735"/>
                </a:cubicBezTo>
                <a:cubicBezTo>
                  <a:pt x="151497" y="263185"/>
                  <a:pt x="157949" y="219313"/>
                  <a:pt x="205692" y="219313"/>
                </a:cubicBezTo>
                <a:close/>
                <a:moveTo>
                  <a:pt x="76563" y="122600"/>
                </a:moveTo>
                <a:lnTo>
                  <a:pt x="464111" y="122600"/>
                </a:lnTo>
                <a:cubicBezTo>
                  <a:pt x="504158" y="122600"/>
                  <a:pt x="536453" y="154849"/>
                  <a:pt x="536453" y="194836"/>
                </a:cubicBezTo>
                <a:lnTo>
                  <a:pt x="513200" y="362527"/>
                </a:lnTo>
                <a:lnTo>
                  <a:pt x="479613" y="362527"/>
                </a:lnTo>
                <a:lnTo>
                  <a:pt x="501574" y="194836"/>
                </a:lnTo>
                <a:cubicBezTo>
                  <a:pt x="501574" y="174197"/>
                  <a:pt x="484780" y="157428"/>
                  <a:pt x="464111" y="157428"/>
                </a:cubicBezTo>
                <a:lnTo>
                  <a:pt x="76563" y="157428"/>
                </a:lnTo>
                <a:cubicBezTo>
                  <a:pt x="55894" y="157428"/>
                  <a:pt x="39100" y="174197"/>
                  <a:pt x="39100" y="194836"/>
                </a:cubicBezTo>
                <a:lnTo>
                  <a:pt x="63645" y="365107"/>
                </a:lnTo>
                <a:lnTo>
                  <a:pt x="30057" y="365107"/>
                </a:lnTo>
                <a:lnTo>
                  <a:pt x="4221" y="194836"/>
                </a:lnTo>
                <a:cubicBezTo>
                  <a:pt x="4221" y="154849"/>
                  <a:pt x="36516" y="122600"/>
                  <a:pt x="76563" y="122600"/>
                </a:cubicBezTo>
                <a:close/>
                <a:moveTo>
                  <a:pt x="89318" y="57986"/>
                </a:moveTo>
                <a:lnTo>
                  <a:pt x="436859" y="57986"/>
                </a:lnTo>
                <a:cubicBezTo>
                  <a:pt x="440735" y="57986"/>
                  <a:pt x="443319" y="59279"/>
                  <a:pt x="444611" y="61864"/>
                </a:cubicBezTo>
                <a:cubicBezTo>
                  <a:pt x="445903" y="64449"/>
                  <a:pt x="447195" y="67034"/>
                  <a:pt x="445903" y="69619"/>
                </a:cubicBezTo>
                <a:lnTo>
                  <a:pt x="440735" y="95470"/>
                </a:lnTo>
                <a:lnTo>
                  <a:pt x="86734" y="95470"/>
                </a:lnTo>
                <a:lnTo>
                  <a:pt x="80274" y="69619"/>
                </a:lnTo>
                <a:cubicBezTo>
                  <a:pt x="78982" y="67034"/>
                  <a:pt x="80274" y="64449"/>
                  <a:pt x="81566" y="61864"/>
                </a:cubicBezTo>
                <a:cubicBezTo>
                  <a:pt x="84150" y="59279"/>
                  <a:pt x="86734" y="57986"/>
                  <a:pt x="89318" y="57986"/>
                </a:cubicBezTo>
                <a:close/>
                <a:moveTo>
                  <a:pt x="125555" y="0"/>
                </a:moveTo>
                <a:lnTo>
                  <a:pt x="401914" y="0"/>
                </a:lnTo>
                <a:cubicBezTo>
                  <a:pt x="404497" y="0"/>
                  <a:pt x="407080" y="1293"/>
                  <a:pt x="408371" y="3878"/>
                </a:cubicBezTo>
                <a:cubicBezTo>
                  <a:pt x="409663" y="5170"/>
                  <a:pt x="410954" y="7756"/>
                  <a:pt x="409663" y="10341"/>
                </a:cubicBezTo>
                <a:lnTo>
                  <a:pt x="405789" y="37484"/>
                </a:lnTo>
                <a:lnTo>
                  <a:pt x="121681" y="37484"/>
                </a:lnTo>
                <a:lnTo>
                  <a:pt x="116516" y="10341"/>
                </a:lnTo>
                <a:cubicBezTo>
                  <a:pt x="115224" y="7756"/>
                  <a:pt x="116516" y="5170"/>
                  <a:pt x="117807" y="3878"/>
                </a:cubicBezTo>
                <a:cubicBezTo>
                  <a:pt x="120390" y="1293"/>
                  <a:pt x="122973" y="0"/>
                  <a:pt x="125555" y="0"/>
                </a:cubicBezTo>
                <a:close/>
              </a:path>
            </a:pathLst>
          </a:custGeom>
          <a:solidFill>
            <a:schemeClr val="bg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20" name="任意多边形: 形状 19"/>
          <p:cNvSpPr/>
          <p:nvPr/>
        </p:nvSpPr>
        <p:spPr>
          <a:xfrm>
            <a:off x="6521813" y="4004693"/>
            <a:ext cx="514192" cy="567564"/>
          </a:xfrm>
          <a:custGeom>
            <a:avLst/>
            <a:gdLst>
              <a:gd name="T0" fmla="*/ 5898 w 7382"/>
              <a:gd name="T1" fmla="*/ 6877 h 8160"/>
              <a:gd name="T2" fmla="*/ 5632 w 7382"/>
              <a:gd name="T3" fmla="*/ 7436 h 8160"/>
              <a:gd name="T4" fmla="*/ 2473 w 7382"/>
              <a:gd name="T5" fmla="*/ 8160 h 8160"/>
              <a:gd name="T6" fmla="*/ 1750 w 7382"/>
              <a:gd name="T7" fmla="*/ 6877 h 8160"/>
              <a:gd name="T8" fmla="*/ 1019 w 7382"/>
              <a:gd name="T9" fmla="*/ 6412 h 8160"/>
              <a:gd name="T10" fmla="*/ 5898 w 7382"/>
              <a:gd name="T11" fmla="*/ 5947 h 8160"/>
              <a:gd name="T12" fmla="*/ 7382 w 7382"/>
              <a:gd name="T13" fmla="*/ 1030 h 8160"/>
              <a:gd name="T14" fmla="*/ 6351 w 7382"/>
              <a:gd name="T15" fmla="*/ 5647 h 8160"/>
              <a:gd name="T16" fmla="*/ 0 w 7382"/>
              <a:gd name="T17" fmla="*/ 4617 h 8160"/>
              <a:gd name="T18" fmla="*/ 1031 w 7382"/>
              <a:gd name="T19" fmla="*/ 0 h 8160"/>
              <a:gd name="T20" fmla="*/ 7382 w 7382"/>
              <a:gd name="T21" fmla="*/ 1030 h 8160"/>
              <a:gd name="T22" fmla="*/ 6351 w 7382"/>
              <a:gd name="T23" fmla="*/ 929 h 8160"/>
              <a:gd name="T24" fmla="*/ 929 w 7382"/>
              <a:gd name="T25" fmla="*/ 1030 h 8160"/>
              <a:gd name="T26" fmla="*/ 1031 w 7382"/>
              <a:gd name="T27" fmla="*/ 4718 h 8160"/>
              <a:gd name="T28" fmla="*/ 6453 w 7382"/>
              <a:gd name="T29" fmla="*/ 4617 h 8160"/>
              <a:gd name="T30" fmla="*/ 5583 w 7382"/>
              <a:gd name="T31" fmla="*/ 3543 h 8160"/>
              <a:gd name="T32" fmla="*/ 4097 w 7382"/>
              <a:gd name="T33" fmla="*/ 3729 h 8160"/>
              <a:gd name="T34" fmla="*/ 4282 w 7382"/>
              <a:gd name="T35" fmla="*/ 4287 h 8160"/>
              <a:gd name="T36" fmla="*/ 5769 w 7382"/>
              <a:gd name="T37" fmla="*/ 4101 h 8160"/>
              <a:gd name="T38" fmla="*/ 5583 w 7382"/>
              <a:gd name="T39" fmla="*/ 3543 h 8160"/>
              <a:gd name="T40" fmla="*/ 4282 w 7382"/>
              <a:gd name="T41" fmla="*/ 1529 h 8160"/>
              <a:gd name="T42" fmla="*/ 4097 w 7382"/>
              <a:gd name="T43" fmla="*/ 2086 h 8160"/>
              <a:gd name="T44" fmla="*/ 5583 w 7382"/>
              <a:gd name="T45" fmla="*/ 2272 h 8160"/>
              <a:gd name="T46" fmla="*/ 5769 w 7382"/>
              <a:gd name="T47" fmla="*/ 1715 h 8160"/>
              <a:gd name="T48" fmla="*/ 5583 w 7382"/>
              <a:gd name="T49" fmla="*/ 2536 h 8160"/>
              <a:gd name="T50" fmla="*/ 4097 w 7382"/>
              <a:gd name="T51" fmla="*/ 2722 h 8160"/>
              <a:gd name="T52" fmla="*/ 4282 w 7382"/>
              <a:gd name="T53" fmla="*/ 3279 h 8160"/>
              <a:gd name="T54" fmla="*/ 5769 w 7382"/>
              <a:gd name="T55" fmla="*/ 3094 h 8160"/>
              <a:gd name="T56" fmla="*/ 5583 w 7382"/>
              <a:gd name="T57" fmla="*/ 2536 h 8160"/>
              <a:gd name="T58" fmla="*/ 2129 w 7382"/>
              <a:gd name="T59" fmla="*/ 2425 h 8160"/>
              <a:gd name="T60" fmla="*/ 2394 w 7382"/>
              <a:gd name="T61" fmla="*/ 2240 h 8160"/>
              <a:gd name="T62" fmla="*/ 2940 w 7382"/>
              <a:gd name="T63" fmla="*/ 2410 h 8160"/>
              <a:gd name="T64" fmla="*/ 3052 w 7382"/>
              <a:gd name="T65" fmla="*/ 2022 h 8160"/>
              <a:gd name="T66" fmla="*/ 2614 w 7382"/>
              <a:gd name="T67" fmla="*/ 1704 h 8160"/>
              <a:gd name="T68" fmla="*/ 2223 w 7382"/>
              <a:gd name="T69" fmla="*/ 1704 h 8160"/>
              <a:gd name="T70" fmla="*/ 1680 w 7382"/>
              <a:gd name="T71" fmla="*/ 2460 h 8160"/>
              <a:gd name="T72" fmla="*/ 2361 w 7382"/>
              <a:gd name="T73" fmla="*/ 3094 h 8160"/>
              <a:gd name="T74" fmla="*/ 2776 w 7382"/>
              <a:gd name="T75" fmla="*/ 3362 h 8160"/>
              <a:gd name="T76" fmla="*/ 1953 w 7382"/>
              <a:gd name="T77" fmla="*/ 3370 h 8160"/>
              <a:gd name="T78" fmla="*/ 1613 w 7382"/>
              <a:gd name="T79" fmla="*/ 3538 h 8160"/>
              <a:gd name="T80" fmla="*/ 2223 w 7382"/>
              <a:gd name="T81" fmla="*/ 3929 h 8160"/>
              <a:gd name="T82" fmla="*/ 2419 w 7382"/>
              <a:gd name="T83" fmla="*/ 4287 h 8160"/>
              <a:gd name="T84" fmla="*/ 2614 w 7382"/>
              <a:gd name="T85" fmla="*/ 3946 h 8160"/>
              <a:gd name="T86" fmla="*/ 3225 w 7382"/>
              <a:gd name="T87" fmla="*/ 3312 h 8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7382" h="8160">
                <a:moveTo>
                  <a:pt x="6363" y="6412"/>
                </a:moveTo>
                <a:cubicBezTo>
                  <a:pt x="6363" y="6669"/>
                  <a:pt x="6155" y="6877"/>
                  <a:pt x="5898" y="6877"/>
                </a:cubicBezTo>
                <a:lnTo>
                  <a:pt x="5632" y="6877"/>
                </a:lnTo>
                <a:lnTo>
                  <a:pt x="5632" y="7436"/>
                </a:lnTo>
                <a:cubicBezTo>
                  <a:pt x="5632" y="7835"/>
                  <a:pt x="5307" y="8160"/>
                  <a:pt x="4908" y="8160"/>
                </a:cubicBezTo>
                <a:lnTo>
                  <a:pt x="2473" y="8160"/>
                </a:lnTo>
                <a:cubicBezTo>
                  <a:pt x="2075" y="8160"/>
                  <a:pt x="1750" y="7835"/>
                  <a:pt x="1750" y="7436"/>
                </a:cubicBezTo>
                <a:lnTo>
                  <a:pt x="1750" y="6877"/>
                </a:lnTo>
                <a:lnTo>
                  <a:pt x="1483" y="6877"/>
                </a:lnTo>
                <a:cubicBezTo>
                  <a:pt x="1227" y="6877"/>
                  <a:pt x="1019" y="6669"/>
                  <a:pt x="1019" y="6412"/>
                </a:cubicBezTo>
                <a:cubicBezTo>
                  <a:pt x="1019" y="6155"/>
                  <a:pt x="1227" y="5947"/>
                  <a:pt x="1483" y="5947"/>
                </a:cubicBezTo>
                <a:lnTo>
                  <a:pt x="5898" y="5947"/>
                </a:lnTo>
                <a:cubicBezTo>
                  <a:pt x="6155" y="5947"/>
                  <a:pt x="6363" y="6155"/>
                  <a:pt x="6363" y="6412"/>
                </a:cubicBezTo>
                <a:close/>
                <a:moveTo>
                  <a:pt x="7382" y="1030"/>
                </a:moveTo>
                <a:lnTo>
                  <a:pt x="7382" y="4617"/>
                </a:lnTo>
                <a:cubicBezTo>
                  <a:pt x="7382" y="5185"/>
                  <a:pt x="6920" y="5647"/>
                  <a:pt x="6351" y="5647"/>
                </a:cubicBezTo>
                <a:lnTo>
                  <a:pt x="1031" y="5647"/>
                </a:lnTo>
                <a:cubicBezTo>
                  <a:pt x="462" y="5647"/>
                  <a:pt x="0" y="5185"/>
                  <a:pt x="0" y="4617"/>
                </a:cubicBezTo>
                <a:lnTo>
                  <a:pt x="0" y="1030"/>
                </a:lnTo>
                <a:cubicBezTo>
                  <a:pt x="0" y="462"/>
                  <a:pt x="462" y="0"/>
                  <a:pt x="1031" y="0"/>
                </a:cubicBezTo>
                <a:lnTo>
                  <a:pt x="6351" y="0"/>
                </a:lnTo>
                <a:cubicBezTo>
                  <a:pt x="6920" y="0"/>
                  <a:pt x="7382" y="462"/>
                  <a:pt x="7382" y="1030"/>
                </a:cubicBezTo>
                <a:close/>
                <a:moveTo>
                  <a:pt x="6453" y="1030"/>
                </a:moveTo>
                <a:cubicBezTo>
                  <a:pt x="6453" y="975"/>
                  <a:pt x="6407" y="929"/>
                  <a:pt x="6351" y="929"/>
                </a:cubicBezTo>
                <a:lnTo>
                  <a:pt x="1031" y="929"/>
                </a:lnTo>
                <a:cubicBezTo>
                  <a:pt x="975" y="929"/>
                  <a:pt x="929" y="975"/>
                  <a:pt x="929" y="1030"/>
                </a:cubicBezTo>
                <a:lnTo>
                  <a:pt x="929" y="4617"/>
                </a:lnTo>
                <a:cubicBezTo>
                  <a:pt x="929" y="4672"/>
                  <a:pt x="975" y="4718"/>
                  <a:pt x="1031" y="4718"/>
                </a:cubicBezTo>
                <a:lnTo>
                  <a:pt x="6351" y="4718"/>
                </a:lnTo>
                <a:cubicBezTo>
                  <a:pt x="6407" y="4718"/>
                  <a:pt x="6453" y="4672"/>
                  <a:pt x="6453" y="4617"/>
                </a:cubicBezTo>
                <a:lnTo>
                  <a:pt x="6453" y="1030"/>
                </a:lnTo>
                <a:close/>
                <a:moveTo>
                  <a:pt x="5583" y="3543"/>
                </a:moveTo>
                <a:lnTo>
                  <a:pt x="4282" y="3543"/>
                </a:lnTo>
                <a:cubicBezTo>
                  <a:pt x="4180" y="3543"/>
                  <a:pt x="4097" y="3627"/>
                  <a:pt x="4097" y="3729"/>
                </a:cubicBezTo>
                <a:lnTo>
                  <a:pt x="4097" y="4101"/>
                </a:lnTo>
                <a:cubicBezTo>
                  <a:pt x="4097" y="4204"/>
                  <a:pt x="4180" y="4287"/>
                  <a:pt x="4282" y="4287"/>
                </a:cubicBezTo>
                <a:lnTo>
                  <a:pt x="5583" y="4287"/>
                </a:lnTo>
                <a:cubicBezTo>
                  <a:pt x="5686" y="4287"/>
                  <a:pt x="5769" y="4204"/>
                  <a:pt x="5769" y="4101"/>
                </a:cubicBezTo>
                <a:lnTo>
                  <a:pt x="5769" y="3729"/>
                </a:lnTo>
                <a:cubicBezTo>
                  <a:pt x="5769" y="3627"/>
                  <a:pt x="5686" y="3543"/>
                  <a:pt x="5583" y="3543"/>
                </a:cubicBezTo>
                <a:close/>
                <a:moveTo>
                  <a:pt x="5583" y="1529"/>
                </a:moveTo>
                <a:lnTo>
                  <a:pt x="4282" y="1529"/>
                </a:lnTo>
                <a:cubicBezTo>
                  <a:pt x="4180" y="1529"/>
                  <a:pt x="4097" y="1612"/>
                  <a:pt x="4097" y="1715"/>
                </a:cubicBezTo>
                <a:lnTo>
                  <a:pt x="4097" y="2086"/>
                </a:lnTo>
                <a:cubicBezTo>
                  <a:pt x="4097" y="2189"/>
                  <a:pt x="4180" y="2272"/>
                  <a:pt x="4282" y="2272"/>
                </a:cubicBezTo>
                <a:lnTo>
                  <a:pt x="5583" y="2272"/>
                </a:lnTo>
                <a:cubicBezTo>
                  <a:pt x="5686" y="2272"/>
                  <a:pt x="5769" y="2189"/>
                  <a:pt x="5769" y="2086"/>
                </a:cubicBezTo>
                <a:lnTo>
                  <a:pt x="5769" y="1715"/>
                </a:lnTo>
                <a:cubicBezTo>
                  <a:pt x="5769" y="1612"/>
                  <a:pt x="5686" y="1529"/>
                  <a:pt x="5583" y="1529"/>
                </a:cubicBezTo>
                <a:close/>
                <a:moveTo>
                  <a:pt x="5583" y="2536"/>
                </a:moveTo>
                <a:lnTo>
                  <a:pt x="4282" y="2536"/>
                </a:lnTo>
                <a:cubicBezTo>
                  <a:pt x="4180" y="2536"/>
                  <a:pt x="4097" y="2619"/>
                  <a:pt x="4097" y="2722"/>
                </a:cubicBezTo>
                <a:lnTo>
                  <a:pt x="4097" y="3094"/>
                </a:lnTo>
                <a:cubicBezTo>
                  <a:pt x="4097" y="3196"/>
                  <a:pt x="4180" y="3279"/>
                  <a:pt x="4282" y="3279"/>
                </a:cubicBezTo>
                <a:lnTo>
                  <a:pt x="5583" y="3279"/>
                </a:lnTo>
                <a:cubicBezTo>
                  <a:pt x="5686" y="3279"/>
                  <a:pt x="5769" y="3196"/>
                  <a:pt x="5769" y="3094"/>
                </a:cubicBezTo>
                <a:lnTo>
                  <a:pt x="5769" y="2722"/>
                </a:lnTo>
                <a:cubicBezTo>
                  <a:pt x="5769" y="2619"/>
                  <a:pt x="5686" y="2536"/>
                  <a:pt x="5583" y="2536"/>
                </a:cubicBezTo>
                <a:close/>
                <a:moveTo>
                  <a:pt x="2573" y="2695"/>
                </a:moveTo>
                <a:cubicBezTo>
                  <a:pt x="2217" y="2604"/>
                  <a:pt x="2129" y="2560"/>
                  <a:pt x="2129" y="2425"/>
                </a:cubicBezTo>
                <a:lnTo>
                  <a:pt x="2129" y="2419"/>
                </a:lnTo>
                <a:cubicBezTo>
                  <a:pt x="2129" y="2319"/>
                  <a:pt x="2220" y="2240"/>
                  <a:pt x="2394" y="2240"/>
                </a:cubicBezTo>
                <a:cubicBezTo>
                  <a:pt x="2535" y="2240"/>
                  <a:pt x="2676" y="2290"/>
                  <a:pt x="2826" y="2378"/>
                </a:cubicBezTo>
                <a:cubicBezTo>
                  <a:pt x="2861" y="2398"/>
                  <a:pt x="2896" y="2410"/>
                  <a:pt x="2940" y="2410"/>
                </a:cubicBezTo>
                <a:cubicBezTo>
                  <a:pt x="3058" y="2410"/>
                  <a:pt x="3152" y="2319"/>
                  <a:pt x="3152" y="2201"/>
                </a:cubicBezTo>
                <a:cubicBezTo>
                  <a:pt x="3152" y="2113"/>
                  <a:pt x="3102" y="2052"/>
                  <a:pt x="3052" y="2022"/>
                </a:cubicBezTo>
                <a:cubicBezTo>
                  <a:pt x="2922" y="1940"/>
                  <a:pt x="2776" y="1885"/>
                  <a:pt x="2614" y="1859"/>
                </a:cubicBezTo>
                <a:lnTo>
                  <a:pt x="2614" y="1704"/>
                </a:lnTo>
                <a:cubicBezTo>
                  <a:pt x="2614" y="1596"/>
                  <a:pt x="2527" y="1508"/>
                  <a:pt x="2419" y="1508"/>
                </a:cubicBezTo>
                <a:cubicBezTo>
                  <a:pt x="2311" y="1508"/>
                  <a:pt x="2223" y="1596"/>
                  <a:pt x="2223" y="1704"/>
                </a:cubicBezTo>
                <a:lnTo>
                  <a:pt x="2223" y="1857"/>
                </a:lnTo>
                <a:cubicBezTo>
                  <a:pt x="1899" y="1917"/>
                  <a:pt x="1680" y="2142"/>
                  <a:pt x="1680" y="2460"/>
                </a:cubicBezTo>
                <a:lnTo>
                  <a:pt x="1680" y="2466"/>
                </a:lnTo>
                <a:cubicBezTo>
                  <a:pt x="1680" y="2874"/>
                  <a:pt x="1947" y="2989"/>
                  <a:pt x="2361" y="3094"/>
                </a:cubicBezTo>
                <a:cubicBezTo>
                  <a:pt x="2705" y="3182"/>
                  <a:pt x="2776" y="3241"/>
                  <a:pt x="2776" y="3356"/>
                </a:cubicBezTo>
                <a:lnTo>
                  <a:pt x="2776" y="3362"/>
                </a:lnTo>
                <a:cubicBezTo>
                  <a:pt x="2776" y="3482"/>
                  <a:pt x="2664" y="3555"/>
                  <a:pt x="2479" y="3555"/>
                </a:cubicBezTo>
                <a:cubicBezTo>
                  <a:pt x="2279" y="3555"/>
                  <a:pt x="2109" y="3485"/>
                  <a:pt x="1953" y="3370"/>
                </a:cubicBezTo>
                <a:cubicBezTo>
                  <a:pt x="1924" y="3350"/>
                  <a:pt x="1883" y="3329"/>
                  <a:pt x="1824" y="3329"/>
                </a:cubicBezTo>
                <a:cubicBezTo>
                  <a:pt x="1707" y="3329"/>
                  <a:pt x="1613" y="3420"/>
                  <a:pt x="1613" y="3538"/>
                </a:cubicBezTo>
                <a:cubicBezTo>
                  <a:pt x="1613" y="3608"/>
                  <a:pt x="1648" y="3673"/>
                  <a:pt x="1698" y="3708"/>
                </a:cubicBezTo>
                <a:cubicBezTo>
                  <a:pt x="1857" y="3822"/>
                  <a:pt x="2038" y="3894"/>
                  <a:pt x="2223" y="3929"/>
                </a:cubicBezTo>
                <a:lnTo>
                  <a:pt x="2223" y="4091"/>
                </a:lnTo>
                <a:cubicBezTo>
                  <a:pt x="2223" y="4199"/>
                  <a:pt x="2311" y="4287"/>
                  <a:pt x="2419" y="4287"/>
                </a:cubicBezTo>
                <a:cubicBezTo>
                  <a:pt x="2527" y="4287"/>
                  <a:pt x="2614" y="4199"/>
                  <a:pt x="2614" y="4091"/>
                </a:cubicBezTo>
                <a:lnTo>
                  <a:pt x="2614" y="3946"/>
                </a:lnTo>
                <a:cubicBezTo>
                  <a:pt x="2979" y="3900"/>
                  <a:pt x="3225" y="3680"/>
                  <a:pt x="3225" y="3318"/>
                </a:cubicBezTo>
                <a:lnTo>
                  <a:pt x="3225" y="3312"/>
                </a:lnTo>
                <a:cubicBezTo>
                  <a:pt x="3225" y="2953"/>
                  <a:pt x="2990" y="2803"/>
                  <a:pt x="2573" y="2695"/>
                </a:cubicBezTo>
                <a:close/>
              </a:path>
            </a:pathLst>
          </a:custGeom>
          <a:solidFill>
            <a:schemeClr val="bg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21" name="任意多边形: 形状 20"/>
          <p:cNvSpPr/>
          <p:nvPr/>
        </p:nvSpPr>
        <p:spPr>
          <a:xfrm>
            <a:off x="7848439" y="5301283"/>
            <a:ext cx="567564" cy="534322"/>
          </a:xfrm>
          <a:custGeom>
            <a:avLst/>
            <a:gdLst>
              <a:gd name="connsiteX0" fmla="*/ 87165 w 606240"/>
              <a:gd name="connsiteY0" fmla="*/ 422475 h 570733"/>
              <a:gd name="connsiteX1" fmla="*/ 331445 w 606240"/>
              <a:gd name="connsiteY1" fmla="*/ 422475 h 570733"/>
              <a:gd name="connsiteX2" fmla="*/ 319381 w 606240"/>
              <a:gd name="connsiteY2" fmla="*/ 455711 h 570733"/>
              <a:gd name="connsiteX3" fmla="*/ 87165 w 606240"/>
              <a:gd name="connsiteY3" fmla="*/ 455711 h 570733"/>
              <a:gd name="connsiteX4" fmla="*/ 70424 w 606240"/>
              <a:gd name="connsiteY4" fmla="*/ 439093 h 570733"/>
              <a:gd name="connsiteX5" fmla="*/ 87165 w 606240"/>
              <a:gd name="connsiteY5" fmla="*/ 422475 h 570733"/>
              <a:gd name="connsiteX6" fmla="*/ 87162 w 606240"/>
              <a:gd name="connsiteY6" fmla="*/ 355932 h 570733"/>
              <a:gd name="connsiteX7" fmla="*/ 362071 w 606240"/>
              <a:gd name="connsiteY7" fmla="*/ 355932 h 570733"/>
              <a:gd name="connsiteX8" fmla="*/ 353188 w 606240"/>
              <a:gd name="connsiteY8" fmla="*/ 373871 h 570733"/>
              <a:gd name="connsiteX9" fmla="*/ 345988 w 606240"/>
              <a:gd name="connsiteY9" fmla="*/ 389380 h 570733"/>
              <a:gd name="connsiteX10" fmla="*/ 87162 w 606240"/>
              <a:gd name="connsiteY10" fmla="*/ 389380 h 570733"/>
              <a:gd name="connsiteX11" fmla="*/ 70424 w 606240"/>
              <a:gd name="connsiteY11" fmla="*/ 372656 h 570733"/>
              <a:gd name="connsiteX12" fmla="*/ 87162 w 606240"/>
              <a:gd name="connsiteY12" fmla="*/ 355932 h 570733"/>
              <a:gd name="connsiteX13" fmla="*/ 87163 w 606240"/>
              <a:gd name="connsiteY13" fmla="*/ 289389 h 570733"/>
              <a:gd name="connsiteX14" fmla="*/ 367701 w 606240"/>
              <a:gd name="connsiteY14" fmla="*/ 289389 h 570733"/>
              <a:gd name="connsiteX15" fmla="*/ 384440 w 606240"/>
              <a:gd name="connsiteY15" fmla="*/ 306089 h 570733"/>
              <a:gd name="connsiteX16" fmla="*/ 367795 w 606240"/>
              <a:gd name="connsiteY16" fmla="*/ 322696 h 570733"/>
              <a:gd name="connsiteX17" fmla="*/ 87163 w 606240"/>
              <a:gd name="connsiteY17" fmla="*/ 322696 h 570733"/>
              <a:gd name="connsiteX18" fmla="*/ 70424 w 606240"/>
              <a:gd name="connsiteY18" fmla="*/ 306089 h 570733"/>
              <a:gd name="connsiteX19" fmla="*/ 87163 w 606240"/>
              <a:gd name="connsiteY19" fmla="*/ 289389 h 570733"/>
              <a:gd name="connsiteX20" fmla="*/ 212536 w 606240"/>
              <a:gd name="connsiteY20" fmla="*/ 222916 h 570733"/>
              <a:gd name="connsiteX21" fmla="*/ 369182 w 606240"/>
              <a:gd name="connsiteY21" fmla="*/ 222916 h 570733"/>
              <a:gd name="connsiteX22" fmla="*/ 385922 w 606240"/>
              <a:gd name="connsiteY22" fmla="*/ 239616 h 570733"/>
              <a:gd name="connsiteX23" fmla="*/ 369182 w 606240"/>
              <a:gd name="connsiteY23" fmla="*/ 256223 h 570733"/>
              <a:gd name="connsiteX24" fmla="*/ 212536 w 606240"/>
              <a:gd name="connsiteY24" fmla="*/ 256223 h 570733"/>
              <a:gd name="connsiteX25" fmla="*/ 195889 w 606240"/>
              <a:gd name="connsiteY25" fmla="*/ 239616 h 570733"/>
              <a:gd name="connsiteX26" fmla="*/ 212536 w 606240"/>
              <a:gd name="connsiteY26" fmla="*/ 222916 h 570733"/>
              <a:gd name="connsiteX27" fmla="*/ 551652 w 606240"/>
              <a:gd name="connsiteY27" fmla="*/ 116932 h 570733"/>
              <a:gd name="connsiteX28" fmla="*/ 567829 w 606240"/>
              <a:gd name="connsiteY28" fmla="*/ 121601 h 570733"/>
              <a:gd name="connsiteX29" fmla="*/ 583444 w 606240"/>
              <a:gd name="connsiteY29" fmla="*/ 152602 h 570733"/>
              <a:gd name="connsiteX30" fmla="*/ 581948 w 606240"/>
              <a:gd name="connsiteY30" fmla="*/ 158391 h 570733"/>
              <a:gd name="connsiteX31" fmla="*/ 575403 w 606240"/>
              <a:gd name="connsiteY31" fmla="*/ 175946 h 570733"/>
              <a:gd name="connsiteX32" fmla="*/ 590738 w 606240"/>
              <a:gd name="connsiteY32" fmla="*/ 184817 h 570733"/>
              <a:gd name="connsiteX33" fmla="*/ 600276 w 606240"/>
              <a:gd name="connsiteY33" fmla="*/ 190326 h 570733"/>
              <a:gd name="connsiteX34" fmla="*/ 604764 w 606240"/>
              <a:gd name="connsiteY34" fmla="*/ 206760 h 570733"/>
              <a:gd name="connsiteX35" fmla="*/ 523786 w 606240"/>
              <a:gd name="connsiteY35" fmla="*/ 345890 h 570733"/>
              <a:gd name="connsiteX36" fmla="*/ 521168 w 606240"/>
              <a:gd name="connsiteY36" fmla="*/ 347010 h 570733"/>
              <a:gd name="connsiteX37" fmla="*/ 510602 w 606240"/>
              <a:gd name="connsiteY37" fmla="*/ 323293 h 570733"/>
              <a:gd name="connsiteX38" fmla="*/ 579891 w 606240"/>
              <a:gd name="connsiteY38" fmla="*/ 204145 h 570733"/>
              <a:gd name="connsiteX39" fmla="*/ 565678 w 606240"/>
              <a:gd name="connsiteY39" fmla="*/ 195928 h 570733"/>
              <a:gd name="connsiteX40" fmla="*/ 559226 w 606240"/>
              <a:gd name="connsiteY40" fmla="*/ 207227 h 570733"/>
              <a:gd name="connsiteX41" fmla="*/ 524067 w 606240"/>
              <a:gd name="connsiteY41" fmla="*/ 266240 h 570733"/>
              <a:gd name="connsiteX42" fmla="*/ 497043 w 606240"/>
              <a:gd name="connsiteY42" fmla="*/ 309566 h 570733"/>
              <a:gd name="connsiteX43" fmla="*/ 384833 w 606240"/>
              <a:gd name="connsiteY43" fmla="*/ 463356 h 570733"/>
              <a:gd name="connsiteX44" fmla="*/ 356500 w 606240"/>
              <a:gd name="connsiteY44" fmla="*/ 490435 h 570733"/>
              <a:gd name="connsiteX45" fmla="*/ 343128 w 606240"/>
              <a:gd name="connsiteY45" fmla="*/ 494450 h 570733"/>
              <a:gd name="connsiteX46" fmla="*/ 340323 w 606240"/>
              <a:gd name="connsiteY46" fmla="*/ 480911 h 570733"/>
              <a:gd name="connsiteX47" fmla="*/ 342661 w 606240"/>
              <a:gd name="connsiteY47" fmla="*/ 468679 h 570733"/>
              <a:gd name="connsiteX48" fmla="*/ 376791 w 606240"/>
              <a:gd name="connsiteY48" fmla="*/ 385388 h 570733"/>
              <a:gd name="connsiteX49" fmla="*/ 441686 w 606240"/>
              <a:gd name="connsiteY49" fmla="*/ 265120 h 570733"/>
              <a:gd name="connsiteX50" fmla="*/ 463099 w 606240"/>
              <a:gd name="connsiteY50" fmla="*/ 229543 h 570733"/>
              <a:gd name="connsiteX51" fmla="*/ 517708 w 606240"/>
              <a:gd name="connsiteY51" fmla="*/ 144758 h 570733"/>
              <a:gd name="connsiteX52" fmla="*/ 536316 w 606240"/>
              <a:gd name="connsiteY52" fmla="*/ 124029 h 570733"/>
              <a:gd name="connsiteX53" fmla="*/ 551652 w 606240"/>
              <a:gd name="connsiteY53" fmla="*/ 116932 h 570733"/>
              <a:gd name="connsiteX54" fmla="*/ 133805 w 606240"/>
              <a:gd name="connsiteY54" fmla="*/ 87970 h 570733"/>
              <a:gd name="connsiteX55" fmla="*/ 144376 w 606240"/>
              <a:gd name="connsiteY55" fmla="*/ 98240 h 570733"/>
              <a:gd name="connsiteX56" fmla="*/ 151860 w 606240"/>
              <a:gd name="connsiteY56" fmla="*/ 106736 h 570733"/>
              <a:gd name="connsiteX57" fmla="*/ 168230 w 606240"/>
              <a:gd name="connsiteY57" fmla="*/ 111310 h 570733"/>
              <a:gd name="connsiteX58" fmla="*/ 171317 w 606240"/>
              <a:gd name="connsiteY58" fmla="*/ 117566 h 570733"/>
              <a:gd name="connsiteX59" fmla="*/ 167575 w 606240"/>
              <a:gd name="connsiteY59" fmla="*/ 131103 h 570733"/>
              <a:gd name="connsiteX60" fmla="*/ 160840 w 606240"/>
              <a:gd name="connsiteY60" fmla="*/ 134091 h 570733"/>
              <a:gd name="connsiteX61" fmla="*/ 135021 w 606240"/>
              <a:gd name="connsiteY61" fmla="*/ 129423 h 570733"/>
              <a:gd name="connsiteX62" fmla="*/ 128193 w 606240"/>
              <a:gd name="connsiteY62" fmla="*/ 130917 h 570733"/>
              <a:gd name="connsiteX63" fmla="*/ 126041 w 606240"/>
              <a:gd name="connsiteY63" fmla="*/ 148189 h 570733"/>
              <a:gd name="connsiteX64" fmla="*/ 137267 w 606240"/>
              <a:gd name="connsiteY64" fmla="*/ 154257 h 570733"/>
              <a:gd name="connsiteX65" fmla="*/ 157846 w 606240"/>
              <a:gd name="connsiteY65" fmla="*/ 163220 h 570733"/>
              <a:gd name="connsiteX66" fmla="*/ 170475 w 606240"/>
              <a:gd name="connsiteY66" fmla="*/ 218678 h 570733"/>
              <a:gd name="connsiteX67" fmla="*/ 150363 w 606240"/>
              <a:gd name="connsiteY67" fmla="*/ 231935 h 570733"/>
              <a:gd name="connsiteX68" fmla="*/ 145499 w 606240"/>
              <a:gd name="connsiteY68" fmla="*/ 238471 h 570733"/>
              <a:gd name="connsiteX69" fmla="*/ 145592 w 606240"/>
              <a:gd name="connsiteY69" fmla="*/ 249114 h 570733"/>
              <a:gd name="connsiteX70" fmla="*/ 140915 w 606240"/>
              <a:gd name="connsiteY70" fmla="*/ 254249 h 570733"/>
              <a:gd name="connsiteX71" fmla="*/ 129315 w 606240"/>
              <a:gd name="connsiteY71" fmla="*/ 254529 h 570733"/>
              <a:gd name="connsiteX72" fmla="*/ 124170 w 606240"/>
              <a:gd name="connsiteY72" fmla="*/ 249301 h 570733"/>
              <a:gd name="connsiteX73" fmla="*/ 123890 w 606240"/>
              <a:gd name="connsiteY73" fmla="*/ 241458 h 570733"/>
              <a:gd name="connsiteX74" fmla="*/ 117903 w 606240"/>
              <a:gd name="connsiteY74" fmla="*/ 234549 h 570733"/>
              <a:gd name="connsiteX75" fmla="*/ 97229 w 606240"/>
              <a:gd name="connsiteY75" fmla="*/ 228948 h 570733"/>
              <a:gd name="connsiteX76" fmla="*/ 92833 w 606240"/>
              <a:gd name="connsiteY76" fmla="*/ 219891 h 570733"/>
              <a:gd name="connsiteX77" fmla="*/ 96107 w 606240"/>
              <a:gd name="connsiteY77" fmla="*/ 207941 h 570733"/>
              <a:gd name="connsiteX78" fmla="*/ 102936 w 606240"/>
              <a:gd name="connsiteY78" fmla="*/ 204860 h 570733"/>
              <a:gd name="connsiteX79" fmla="*/ 126041 w 606240"/>
              <a:gd name="connsiteY79" fmla="*/ 211302 h 570733"/>
              <a:gd name="connsiteX80" fmla="*/ 141008 w 606240"/>
              <a:gd name="connsiteY80" fmla="*/ 209061 h 570733"/>
              <a:gd name="connsiteX81" fmla="*/ 143534 w 606240"/>
              <a:gd name="connsiteY81" fmla="*/ 188521 h 570733"/>
              <a:gd name="connsiteX82" fmla="*/ 134928 w 606240"/>
              <a:gd name="connsiteY82" fmla="*/ 183667 h 570733"/>
              <a:gd name="connsiteX83" fmla="*/ 111355 w 606240"/>
              <a:gd name="connsiteY83" fmla="*/ 173490 h 570733"/>
              <a:gd name="connsiteX84" fmla="*/ 92084 w 606240"/>
              <a:gd name="connsiteY84" fmla="*/ 142120 h 570733"/>
              <a:gd name="connsiteX85" fmla="*/ 117154 w 606240"/>
              <a:gd name="connsiteY85" fmla="*/ 109350 h 570733"/>
              <a:gd name="connsiteX86" fmla="*/ 123515 w 606240"/>
              <a:gd name="connsiteY86" fmla="*/ 100667 h 570733"/>
              <a:gd name="connsiteX87" fmla="*/ 123422 w 606240"/>
              <a:gd name="connsiteY87" fmla="*/ 94038 h 570733"/>
              <a:gd name="connsiteX88" fmla="*/ 129128 w 606240"/>
              <a:gd name="connsiteY88" fmla="*/ 88063 h 570733"/>
              <a:gd name="connsiteX89" fmla="*/ 133805 w 606240"/>
              <a:gd name="connsiteY89" fmla="*/ 87970 h 570733"/>
              <a:gd name="connsiteX90" fmla="*/ 70698 w 606240"/>
              <a:gd name="connsiteY90" fmla="*/ 0 h 570733"/>
              <a:gd name="connsiteX91" fmla="*/ 302245 w 606240"/>
              <a:gd name="connsiteY91" fmla="*/ 0 h 570733"/>
              <a:gd name="connsiteX92" fmla="*/ 314215 w 606240"/>
              <a:gd name="connsiteY92" fmla="*/ 2428 h 570733"/>
              <a:gd name="connsiteX93" fmla="*/ 324409 w 606240"/>
              <a:gd name="connsiteY93" fmla="*/ 8964 h 570733"/>
              <a:gd name="connsiteX94" fmla="*/ 445045 w 606240"/>
              <a:gd name="connsiteY94" fmla="*/ 124754 h 570733"/>
              <a:gd name="connsiteX95" fmla="*/ 452246 w 606240"/>
              <a:gd name="connsiteY95" fmla="*/ 135213 h 570733"/>
              <a:gd name="connsiteX96" fmla="*/ 454770 w 606240"/>
              <a:gd name="connsiteY96" fmla="*/ 147726 h 570733"/>
              <a:gd name="connsiteX97" fmla="*/ 454770 w 606240"/>
              <a:gd name="connsiteY97" fmla="*/ 193108 h 570733"/>
              <a:gd name="connsiteX98" fmla="*/ 452246 w 606240"/>
              <a:gd name="connsiteY98" fmla="*/ 197123 h 570733"/>
              <a:gd name="connsiteX99" fmla="*/ 425780 w 606240"/>
              <a:gd name="connsiteY99" fmla="*/ 240731 h 570733"/>
              <a:gd name="connsiteX100" fmla="*/ 422788 w 606240"/>
              <a:gd name="connsiteY100" fmla="*/ 245400 h 570733"/>
              <a:gd name="connsiteX101" fmla="*/ 421479 w 606240"/>
              <a:gd name="connsiteY101" fmla="*/ 247828 h 570733"/>
              <a:gd name="connsiteX102" fmla="*/ 421479 w 606240"/>
              <a:gd name="connsiteY102" fmla="*/ 157811 h 570733"/>
              <a:gd name="connsiteX103" fmla="*/ 362376 w 606240"/>
              <a:gd name="connsiteY103" fmla="*/ 157811 h 570733"/>
              <a:gd name="connsiteX104" fmla="*/ 291678 w 606240"/>
              <a:gd name="connsiteY104" fmla="*/ 87216 h 570733"/>
              <a:gd name="connsiteX105" fmla="*/ 291678 w 606240"/>
              <a:gd name="connsiteY105" fmla="*/ 33150 h 570733"/>
              <a:gd name="connsiteX106" fmla="*/ 70698 w 606240"/>
              <a:gd name="connsiteY106" fmla="*/ 33150 h 570733"/>
              <a:gd name="connsiteX107" fmla="*/ 33385 w 606240"/>
              <a:gd name="connsiteY107" fmla="*/ 70408 h 570733"/>
              <a:gd name="connsiteX108" fmla="*/ 33385 w 606240"/>
              <a:gd name="connsiteY108" fmla="*/ 499952 h 570733"/>
              <a:gd name="connsiteX109" fmla="*/ 70698 w 606240"/>
              <a:gd name="connsiteY109" fmla="*/ 537116 h 570733"/>
              <a:gd name="connsiteX110" fmla="*/ 384166 w 606240"/>
              <a:gd name="connsiteY110" fmla="*/ 537116 h 570733"/>
              <a:gd name="connsiteX111" fmla="*/ 421479 w 606240"/>
              <a:gd name="connsiteY111" fmla="*/ 499952 h 570733"/>
              <a:gd name="connsiteX112" fmla="*/ 421572 w 606240"/>
              <a:gd name="connsiteY112" fmla="*/ 499952 h 570733"/>
              <a:gd name="connsiteX113" fmla="*/ 421572 w 606240"/>
              <a:gd name="connsiteY113" fmla="*/ 460452 h 570733"/>
              <a:gd name="connsiteX114" fmla="*/ 454864 w 606240"/>
              <a:gd name="connsiteY114" fmla="*/ 417778 h 570733"/>
              <a:gd name="connsiteX115" fmla="*/ 454864 w 606240"/>
              <a:gd name="connsiteY115" fmla="*/ 500138 h 570733"/>
              <a:gd name="connsiteX116" fmla="*/ 384166 w 606240"/>
              <a:gd name="connsiteY116" fmla="*/ 570733 h 570733"/>
              <a:gd name="connsiteX117" fmla="*/ 70698 w 606240"/>
              <a:gd name="connsiteY117" fmla="*/ 570733 h 570733"/>
              <a:gd name="connsiteX118" fmla="*/ 0 w 606240"/>
              <a:gd name="connsiteY118" fmla="*/ 500138 h 570733"/>
              <a:gd name="connsiteX119" fmla="*/ 0 w 606240"/>
              <a:gd name="connsiteY119" fmla="*/ 70595 h 570733"/>
              <a:gd name="connsiteX120" fmla="*/ 70698 w 606240"/>
              <a:gd name="connsiteY120" fmla="*/ 0 h 5707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</a:cxnLst>
            <a:rect l="l" t="t" r="r" b="b"/>
            <a:pathLst>
              <a:path w="606240" h="570733">
                <a:moveTo>
                  <a:pt x="87165" y="422475"/>
                </a:moveTo>
                <a:lnTo>
                  <a:pt x="331445" y="422475"/>
                </a:lnTo>
                <a:cubicBezTo>
                  <a:pt x="326956" y="433585"/>
                  <a:pt x="322934" y="444508"/>
                  <a:pt x="319381" y="455711"/>
                </a:cubicBezTo>
                <a:lnTo>
                  <a:pt x="87165" y="455711"/>
                </a:lnTo>
                <a:cubicBezTo>
                  <a:pt x="77906" y="455711"/>
                  <a:pt x="70424" y="448149"/>
                  <a:pt x="70424" y="439093"/>
                </a:cubicBezTo>
                <a:cubicBezTo>
                  <a:pt x="70424" y="429944"/>
                  <a:pt x="77906" y="422475"/>
                  <a:pt x="87165" y="422475"/>
                </a:cubicBezTo>
                <a:close/>
                <a:moveTo>
                  <a:pt x="87162" y="355932"/>
                </a:moveTo>
                <a:lnTo>
                  <a:pt x="362071" y="355932"/>
                </a:lnTo>
                <a:cubicBezTo>
                  <a:pt x="359079" y="361912"/>
                  <a:pt x="356087" y="367891"/>
                  <a:pt x="353188" y="373871"/>
                </a:cubicBezTo>
                <a:cubicBezTo>
                  <a:pt x="350757" y="379103"/>
                  <a:pt x="348232" y="384241"/>
                  <a:pt x="345988" y="389380"/>
                </a:cubicBezTo>
                <a:lnTo>
                  <a:pt x="87162" y="389380"/>
                </a:lnTo>
                <a:cubicBezTo>
                  <a:pt x="77905" y="389380"/>
                  <a:pt x="70424" y="381719"/>
                  <a:pt x="70424" y="372656"/>
                </a:cubicBezTo>
                <a:cubicBezTo>
                  <a:pt x="70424" y="363406"/>
                  <a:pt x="78092" y="355932"/>
                  <a:pt x="87162" y="355932"/>
                </a:cubicBezTo>
                <a:close/>
                <a:moveTo>
                  <a:pt x="87163" y="289389"/>
                </a:moveTo>
                <a:lnTo>
                  <a:pt x="367701" y="289389"/>
                </a:lnTo>
                <a:cubicBezTo>
                  <a:pt x="376959" y="289389"/>
                  <a:pt x="384440" y="296946"/>
                  <a:pt x="384440" y="306089"/>
                </a:cubicBezTo>
                <a:cubicBezTo>
                  <a:pt x="384440" y="315232"/>
                  <a:pt x="376959" y="322696"/>
                  <a:pt x="367795" y="322696"/>
                </a:cubicBezTo>
                <a:lnTo>
                  <a:pt x="87163" y="322696"/>
                </a:lnTo>
                <a:cubicBezTo>
                  <a:pt x="77905" y="322696"/>
                  <a:pt x="70424" y="315232"/>
                  <a:pt x="70424" y="306089"/>
                </a:cubicBezTo>
                <a:cubicBezTo>
                  <a:pt x="70424" y="296853"/>
                  <a:pt x="78092" y="289389"/>
                  <a:pt x="87163" y="289389"/>
                </a:cubicBezTo>
                <a:close/>
                <a:moveTo>
                  <a:pt x="212536" y="222916"/>
                </a:moveTo>
                <a:lnTo>
                  <a:pt x="369182" y="222916"/>
                </a:lnTo>
                <a:cubicBezTo>
                  <a:pt x="378253" y="222916"/>
                  <a:pt x="385735" y="230380"/>
                  <a:pt x="385922" y="239616"/>
                </a:cubicBezTo>
                <a:cubicBezTo>
                  <a:pt x="385922" y="248759"/>
                  <a:pt x="378253" y="256223"/>
                  <a:pt x="369182" y="256223"/>
                </a:cubicBezTo>
                <a:lnTo>
                  <a:pt x="212536" y="256223"/>
                </a:lnTo>
                <a:cubicBezTo>
                  <a:pt x="203371" y="256223"/>
                  <a:pt x="195889" y="248666"/>
                  <a:pt x="195889" y="239616"/>
                </a:cubicBezTo>
                <a:cubicBezTo>
                  <a:pt x="195889" y="230380"/>
                  <a:pt x="203464" y="222916"/>
                  <a:pt x="212536" y="222916"/>
                </a:cubicBezTo>
                <a:close/>
                <a:moveTo>
                  <a:pt x="551652" y="116932"/>
                </a:moveTo>
                <a:cubicBezTo>
                  <a:pt x="556748" y="116536"/>
                  <a:pt x="561984" y="118100"/>
                  <a:pt x="567829" y="121601"/>
                </a:cubicBezTo>
                <a:cubicBezTo>
                  <a:pt x="581387" y="129631"/>
                  <a:pt x="586156" y="138969"/>
                  <a:pt x="583444" y="152602"/>
                </a:cubicBezTo>
                <a:cubicBezTo>
                  <a:pt x="583070" y="154563"/>
                  <a:pt x="582416" y="156430"/>
                  <a:pt x="581948" y="158391"/>
                </a:cubicBezTo>
                <a:cubicBezTo>
                  <a:pt x="580172" y="164367"/>
                  <a:pt x="577927" y="170250"/>
                  <a:pt x="575403" y="175946"/>
                </a:cubicBezTo>
                <a:lnTo>
                  <a:pt x="590738" y="184817"/>
                </a:lnTo>
                <a:lnTo>
                  <a:pt x="600276" y="190326"/>
                </a:lnTo>
                <a:cubicBezTo>
                  <a:pt x="605980" y="193687"/>
                  <a:pt x="607850" y="200877"/>
                  <a:pt x="604764" y="206760"/>
                </a:cubicBezTo>
                <a:lnTo>
                  <a:pt x="523786" y="345890"/>
                </a:lnTo>
                <a:cubicBezTo>
                  <a:pt x="523319" y="346823"/>
                  <a:pt x="522197" y="347290"/>
                  <a:pt x="521168" y="347010"/>
                </a:cubicBezTo>
                <a:cubicBezTo>
                  <a:pt x="509947" y="344396"/>
                  <a:pt x="505365" y="332350"/>
                  <a:pt x="510602" y="323293"/>
                </a:cubicBezTo>
                <a:lnTo>
                  <a:pt x="579891" y="204145"/>
                </a:lnTo>
                <a:lnTo>
                  <a:pt x="565678" y="195928"/>
                </a:lnTo>
                <a:cubicBezTo>
                  <a:pt x="563621" y="199663"/>
                  <a:pt x="561376" y="203492"/>
                  <a:pt x="559226" y="207227"/>
                </a:cubicBezTo>
                <a:cubicBezTo>
                  <a:pt x="547724" y="227022"/>
                  <a:pt x="535662" y="246444"/>
                  <a:pt x="524067" y="266240"/>
                </a:cubicBezTo>
                <a:lnTo>
                  <a:pt x="497043" y="309566"/>
                </a:lnTo>
                <a:cubicBezTo>
                  <a:pt x="462632" y="363071"/>
                  <a:pt x="426818" y="415361"/>
                  <a:pt x="384833" y="463356"/>
                </a:cubicBezTo>
                <a:cubicBezTo>
                  <a:pt x="376230" y="473161"/>
                  <a:pt x="367254" y="482778"/>
                  <a:pt x="356500" y="490435"/>
                </a:cubicBezTo>
                <a:cubicBezTo>
                  <a:pt x="352479" y="493330"/>
                  <a:pt x="348178" y="497345"/>
                  <a:pt x="343128" y="494450"/>
                </a:cubicBezTo>
                <a:cubicBezTo>
                  <a:pt x="338079" y="491462"/>
                  <a:pt x="339762" y="485580"/>
                  <a:pt x="340323" y="480911"/>
                </a:cubicBezTo>
                <a:cubicBezTo>
                  <a:pt x="340697" y="476802"/>
                  <a:pt x="341819" y="472694"/>
                  <a:pt x="342661" y="468679"/>
                </a:cubicBezTo>
                <a:cubicBezTo>
                  <a:pt x="351357" y="439826"/>
                  <a:pt x="363700" y="412373"/>
                  <a:pt x="376791" y="385388"/>
                </a:cubicBezTo>
                <a:cubicBezTo>
                  <a:pt x="396615" y="344302"/>
                  <a:pt x="418496" y="304337"/>
                  <a:pt x="441686" y="265120"/>
                </a:cubicBezTo>
                <a:lnTo>
                  <a:pt x="463099" y="229543"/>
                </a:lnTo>
                <a:cubicBezTo>
                  <a:pt x="480772" y="200971"/>
                  <a:pt x="497791" y="171837"/>
                  <a:pt x="517708" y="144758"/>
                </a:cubicBezTo>
                <a:cubicBezTo>
                  <a:pt x="523225" y="137288"/>
                  <a:pt x="529023" y="130005"/>
                  <a:pt x="536316" y="124029"/>
                </a:cubicBezTo>
                <a:cubicBezTo>
                  <a:pt x="541600" y="119687"/>
                  <a:pt x="546555" y="117329"/>
                  <a:pt x="551652" y="116932"/>
                </a:cubicBezTo>
                <a:close/>
                <a:moveTo>
                  <a:pt x="133805" y="87970"/>
                </a:moveTo>
                <a:cubicBezTo>
                  <a:pt x="144095" y="87783"/>
                  <a:pt x="144095" y="87783"/>
                  <a:pt x="144376" y="98240"/>
                </a:cubicBezTo>
                <a:cubicBezTo>
                  <a:pt x="144470" y="105615"/>
                  <a:pt x="144470" y="105709"/>
                  <a:pt x="151860" y="106736"/>
                </a:cubicBezTo>
                <a:cubicBezTo>
                  <a:pt x="157472" y="107483"/>
                  <a:pt x="162991" y="109070"/>
                  <a:pt x="168230" y="111310"/>
                </a:cubicBezTo>
                <a:cubicBezTo>
                  <a:pt x="171036" y="112618"/>
                  <a:pt x="172159" y="114578"/>
                  <a:pt x="171317" y="117566"/>
                </a:cubicBezTo>
                <a:cubicBezTo>
                  <a:pt x="170101" y="122047"/>
                  <a:pt x="168978" y="126622"/>
                  <a:pt x="167575" y="131103"/>
                </a:cubicBezTo>
                <a:cubicBezTo>
                  <a:pt x="166359" y="135398"/>
                  <a:pt x="164956" y="135958"/>
                  <a:pt x="160840" y="134091"/>
                </a:cubicBezTo>
                <a:cubicBezTo>
                  <a:pt x="152608" y="130263"/>
                  <a:pt x="144002" y="128769"/>
                  <a:pt x="135021" y="129423"/>
                </a:cubicBezTo>
                <a:cubicBezTo>
                  <a:pt x="132683" y="129516"/>
                  <a:pt x="130251" y="129890"/>
                  <a:pt x="128193" y="130917"/>
                </a:cubicBezTo>
                <a:cubicBezTo>
                  <a:pt x="120428" y="134371"/>
                  <a:pt x="119306" y="142960"/>
                  <a:pt x="126041" y="148189"/>
                </a:cubicBezTo>
                <a:cubicBezTo>
                  <a:pt x="129409" y="150803"/>
                  <a:pt x="133244" y="152670"/>
                  <a:pt x="137267" y="154257"/>
                </a:cubicBezTo>
                <a:cubicBezTo>
                  <a:pt x="144282" y="157152"/>
                  <a:pt x="151205" y="159766"/>
                  <a:pt x="157846" y="163220"/>
                </a:cubicBezTo>
                <a:cubicBezTo>
                  <a:pt x="178894" y="174424"/>
                  <a:pt x="184881" y="200565"/>
                  <a:pt x="170475" y="218678"/>
                </a:cubicBezTo>
                <a:cubicBezTo>
                  <a:pt x="165237" y="225213"/>
                  <a:pt x="158501" y="229601"/>
                  <a:pt x="150363" y="231935"/>
                </a:cubicBezTo>
                <a:cubicBezTo>
                  <a:pt x="146902" y="232962"/>
                  <a:pt x="145218" y="234829"/>
                  <a:pt x="145499" y="238471"/>
                </a:cubicBezTo>
                <a:cubicBezTo>
                  <a:pt x="145779" y="241925"/>
                  <a:pt x="145592" y="245566"/>
                  <a:pt x="145592" y="249114"/>
                </a:cubicBezTo>
                <a:cubicBezTo>
                  <a:pt x="145592" y="252382"/>
                  <a:pt x="144002" y="254156"/>
                  <a:pt x="140915" y="254249"/>
                </a:cubicBezTo>
                <a:cubicBezTo>
                  <a:pt x="136986" y="254529"/>
                  <a:pt x="133151" y="254529"/>
                  <a:pt x="129315" y="254529"/>
                </a:cubicBezTo>
                <a:cubicBezTo>
                  <a:pt x="125948" y="254529"/>
                  <a:pt x="124264" y="252662"/>
                  <a:pt x="124170" y="249301"/>
                </a:cubicBezTo>
                <a:cubicBezTo>
                  <a:pt x="124077" y="246687"/>
                  <a:pt x="124077" y="244072"/>
                  <a:pt x="123890" y="241458"/>
                </a:cubicBezTo>
                <a:cubicBezTo>
                  <a:pt x="123703" y="235576"/>
                  <a:pt x="123515" y="235296"/>
                  <a:pt x="117903" y="234549"/>
                </a:cubicBezTo>
                <a:cubicBezTo>
                  <a:pt x="110793" y="233616"/>
                  <a:pt x="103871" y="232122"/>
                  <a:pt x="97229" y="228948"/>
                </a:cubicBezTo>
                <a:cubicBezTo>
                  <a:pt x="91991" y="226614"/>
                  <a:pt x="91523" y="225213"/>
                  <a:pt x="92833" y="219891"/>
                </a:cubicBezTo>
                <a:cubicBezTo>
                  <a:pt x="93862" y="215877"/>
                  <a:pt x="94984" y="211956"/>
                  <a:pt x="96107" y="207941"/>
                </a:cubicBezTo>
                <a:cubicBezTo>
                  <a:pt x="97510" y="203366"/>
                  <a:pt x="98726" y="202713"/>
                  <a:pt x="102936" y="204860"/>
                </a:cubicBezTo>
                <a:cubicBezTo>
                  <a:pt x="110326" y="208408"/>
                  <a:pt x="118090" y="210462"/>
                  <a:pt x="126041" y="211302"/>
                </a:cubicBezTo>
                <a:cubicBezTo>
                  <a:pt x="131186" y="211769"/>
                  <a:pt x="136238" y="211209"/>
                  <a:pt x="141008" y="209061"/>
                </a:cubicBezTo>
                <a:cubicBezTo>
                  <a:pt x="149895" y="204953"/>
                  <a:pt x="151111" y="194590"/>
                  <a:pt x="143534" y="188521"/>
                </a:cubicBezTo>
                <a:cubicBezTo>
                  <a:pt x="140915" y="186561"/>
                  <a:pt x="138015" y="184880"/>
                  <a:pt x="134928" y="183667"/>
                </a:cubicBezTo>
                <a:cubicBezTo>
                  <a:pt x="127070" y="180306"/>
                  <a:pt x="118838" y="177785"/>
                  <a:pt x="111355" y="173490"/>
                </a:cubicBezTo>
                <a:cubicBezTo>
                  <a:pt x="99194" y="166488"/>
                  <a:pt x="91523" y="156685"/>
                  <a:pt x="92084" y="142120"/>
                </a:cubicBezTo>
                <a:cubicBezTo>
                  <a:pt x="92833" y="125502"/>
                  <a:pt x="102094" y="115045"/>
                  <a:pt x="117154" y="109350"/>
                </a:cubicBezTo>
                <a:cubicBezTo>
                  <a:pt x="123422" y="107016"/>
                  <a:pt x="123422" y="107109"/>
                  <a:pt x="123515" y="100667"/>
                </a:cubicBezTo>
                <a:cubicBezTo>
                  <a:pt x="123422" y="98426"/>
                  <a:pt x="123422" y="96279"/>
                  <a:pt x="123422" y="94038"/>
                </a:cubicBezTo>
                <a:cubicBezTo>
                  <a:pt x="123422" y="89183"/>
                  <a:pt x="124264" y="88343"/>
                  <a:pt x="129128" y="88063"/>
                </a:cubicBezTo>
                <a:cubicBezTo>
                  <a:pt x="130812" y="87970"/>
                  <a:pt x="132309" y="87970"/>
                  <a:pt x="133805" y="87970"/>
                </a:cubicBezTo>
                <a:close/>
                <a:moveTo>
                  <a:pt x="70698" y="0"/>
                </a:moveTo>
                <a:lnTo>
                  <a:pt x="302245" y="0"/>
                </a:lnTo>
                <a:cubicBezTo>
                  <a:pt x="306360" y="0"/>
                  <a:pt x="310381" y="934"/>
                  <a:pt x="314215" y="2428"/>
                </a:cubicBezTo>
                <a:cubicBezTo>
                  <a:pt x="317956" y="3922"/>
                  <a:pt x="321416" y="6163"/>
                  <a:pt x="324409" y="8964"/>
                </a:cubicBezTo>
                <a:lnTo>
                  <a:pt x="445045" y="124754"/>
                </a:lnTo>
                <a:cubicBezTo>
                  <a:pt x="448131" y="127743"/>
                  <a:pt x="450469" y="131291"/>
                  <a:pt x="452246" y="135213"/>
                </a:cubicBezTo>
                <a:cubicBezTo>
                  <a:pt x="453835" y="139135"/>
                  <a:pt x="454770" y="143337"/>
                  <a:pt x="454770" y="147726"/>
                </a:cubicBezTo>
                <a:lnTo>
                  <a:pt x="454770" y="193108"/>
                </a:lnTo>
                <a:cubicBezTo>
                  <a:pt x="453835" y="194509"/>
                  <a:pt x="452994" y="195723"/>
                  <a:pt x="452246" y="197123"/>
                </a:cubicBezTo>
                <a:cubicBezTo>
                  <a:pt x="449347" y="201699"/>
                  <a:pt x="434945" y="225791"/>
                  <a:pt x="425780" y="240731"/>
                </a:cubicBezTo>
                <a:cubicBezTo>
                  <a:pt x="424658" y="242412"/>
                  <a:pt x="423723" y="244093"/>
                  <a:pt x="422788" y="245400"/>
                </a:cubicBezTo>
                <a:cubicBezTo>
                  <a:pt x="422414" y="246147"/>
                  <a:pt x="421946" y="247081"/>
                  <a:pt x="421479" y="247828"/>
                </a:cubicBezTo>
                <a:lnTo>
                  <a:pt x="421479" y="157811"/>
                </a:lnTo>
                <a:lnTo>
                  <a:pt x="362376" y="157811"/>
                </a:lnTo>
                <a:cubicBezTo>
                  <a:pt x="323286" y="157811"/>
                  <a:pt x="291678" y="126155"/>
                  <a:pt x="291678" y="87216"/>
                </a:cubicBezTo>
                <a:lnTo>
                  <a:pt x="291678" y="33150"/>
                </a:lnTo>
                <a:lnTo>
                  <a:pt x="70698" y="33150"/>
                </a:lnTo>
                <a:cubicBezTo>
                  <a:pt x="50125" y="33150"/>
                  <a:pt x="33385" y="49864"/>
                  <a:pt x="33385" y="70408"/>
                </a:cubicBezTo>
                <a:lnTo>
                  <a:pt x="33385" y="499952"/>
                </a:lnTo>
                <a:cubicBezTo>
                  <a:pt x="33385" y="520495"/>
                  <a:pt x="50125" y="537116"/>
                  <a:pt x="70698" y="537116"/>
                </a:cubicBezTo>
                <a:lnTo>
                  <a:pt x="384166" y="537116"/>
                </a:lnTo>
                <a:cubicBezTo>
                  <a:pt x="404739" y="537116"/>
                  <a:pt x="421479" y="520495"/>
                  <a:pt x="421479" y="499952"/>
                </a:cubicBezTo>
                <a:lnTo>
                  <a:pt x="421572" y="499952"/>
                </a:lnTo>
                <a:lnTo>
                  <a:pt x="421572" y="460452"/>
                </a:lnTo>
                <a:cubicBezTo>
                  <a:pt x="433075" y="446539"/>
                  <a:pt x="444110" y="432158"/>
                  <a:pt x="454864" y="417778"/>
                </a:cubicBezTo>
                <a:lnTo>
                  <a:pt x="454864" y="500138"/>
                </a:lnTo>
                <a:cubicBezTo>
                  <a:pt x="454864" y="539171"/>
                  <a:pt x="423162" y="570733"/>
                  <a:pt x="384166" y="570733"/>
                </a:cubicBezTo>
                <a:lnTo>
                  <a:pt x="70698" y="570733"/>
                </a:lnTo>
                <a:cubicBezTo>
                  <a:pt x="31702" y="570733"/>
                  <a:pt x="0" y="539171"/>
                  <a:pt x="0" y="500138"/>
                </a:cubicBezTo>
                <a:lnTo>
                  <a:pt x="0" y="70595"/>
                </a:lnTo>
                <a:cubicBezTo>
                  <a:pt x="0" y="31656"/>
                  <a:pt x="31702" y="0"/>
                  <a:pt x="70698" y="0"/>
                </a:cubicBezTo>
                <a:close/>
              </a:path>
            </a:pathLst>
          </a:custGeom>
          <a:solidFill>
            <a:schemeClr val="bg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893385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512149" y="2951599"/>
            <a:ext cx="5572087" cy="895350"/>
          </a:xfrm>
        </p:spPr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健康监测与就医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5512149" y="3846949"/>
            <a:ext cx="5572087" cy="1015623"/>
          </a:xfrm>
        </p:spPr>
        <p:txBody>
          <a:bodyPr/>
          <a:lstStyle/>
          <a:p>
            <a:pPr lvl="0"/>
            <a:r>
              <a:rPr lang="en-US" altLang="zh-CN">
                <a:cs typeface="+mn-ea"/>
                <a:sym typeface="+mn-lt"/>
              </a:rPr>
              <a:t>Supporting text  here.</a:t>
            </a:r>
          </a:p>
          <a:p>
            <a:pPr lvl="0"/>
            <a:r>
              <a:rPr lang="en-US" altLang="zh-CN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653575" y="238681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cs typeface="+mn-ea"/>
                <a:sym typeface="+mn-lt"/>
              </a:rPr>
              <a:t>/</a:t>
            </a:r>
            <a:r>
              <a:rPr lang="en-US" altLang="zh-CN" sz="100" spc="100" dirty="0">
                <a:solidFill>
                  <a:schemeClr val="bg1"/>
                </a:solidFill>
                <a:cs typeface="+mn-ea"/>
                <a:sym typeface="+mn-lt"/>
              </a:rPr>
              <a:t> </a:t>
            </a:r>
            <a:r>
              <a:rPr lang="en-US" altLang="zh-CN" spc="100" dirty="0">
                <a:solidFill>
                  <a:schemeClr val="bg1"/>
                </a:solidFill>
                <a:cs typeface="+mn-ea"/>
                <a:sym typeface="+mn-lt"/>
              </a:rPr>
              <a:t>03</a:t>
            </a:r>
            <a:endParaRPr lang="zh-CN" altLang="en-US" spc="1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258748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健康监测与就医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2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6" name="任意多边形: 形状 5">
            <a:extLst>
              <a:ext uri="{FF2B5EF4-FFF2-40B4-BE49-F238E27FC236}">
                <a16:creationId xmlns:a16="http://schemas.microsoft.com/office/drawing/2014/main" id="{6F166C77-D283-44A9-B897-FFD7D8F90782}"/>
              </a:ext>
            </a:extLst>
          </p:cNvPr>
          <p:cNvSpPr/>
          <p:nvPr/>
        </p:nvSpPr>
        <p:spPr>
          <a:xfrm>
            <a:off x="673100" y="5000744"/>
            <a:ext cx="3308556" cy="1857256"/>
          </a:xfrm>
          <a:custGeom>
            <a:avLst/>
            <a:gdLst>
              <a:gd name="connsiteX0" fmla="*/ 1814106 w 3628212"/>
              <a:gd name="connsiteY0" fmla="*/ 0 h 2036693"/>
              <a:gd name="connsiteX1" fmla="*/ 3628212 w 3628212"/>
              <a:gd name="connsiteY1" fmla="*/ 1814106 h 2036693"/>
              <a:gd name="connsiteX2" fmla="*/ 3605774 w 3628212"/>
              <a:gd name="connsiteY2" fmla="*/ 2036693 h 2036693"/>
              <a:gd name="connsiteX3" fmla="*/ 22439 w 3628212"/>
              <a:gd name="connsiteY3" fmla="*/ 2036693 h 2036693"/>
              <a:gd name="connsiteX4" fmla="*/ 0 w 3628212"/>
              <a:gd name="connsiteY4" fmla="*/ 1814106 h 2036693"/>
              <a:gd name="connsiteX5" fmla="*/ 1814106 w 3628212"/>
              <a:gd name="connsiteY5" fmla="*/ 0 h 20366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28212" h="2036693">
                <a:moveTo>
                  <a:pt x="1814106" y="0"/>
                </a:moveTo>
                <a:cubicBezTo>
                  <a:pt x="2816009" y="0"/>
                  <a:pt x="3628212" y="812203"/>
                  <a:pt x="3628212" y="1814106"/>
                </a:cubicBezTo>
                <a:lnTo>
                  <a:pt x="3605774" y="2036693"/>
                </a:lnTo>
                <a:lnTo>
                  <a:pt x="22439" y="2036693"/>
                </a:lnTo>
                <a:lnTo>
                  <a:pt x="0" y="1814106"/>
                </a:lnTo>
                <a:cubicBezTo>
                  <a:pt x="0" y="812203"/>
                  <a:pt x="812203" y="0"/>
                  <a:pt x="1814106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altLang="zh-CN" sz="2800" b="1" i="1" dirty="0">
                <a:cs typeface="+mn-ea"/>
                <a:sym typeface="+mn-lt"/>
              </a:rPr>
              <a:t>01</a:t>
            </a:r>
            <a:endParaRPr lang="zh-CN" altLang="en-US" sz="2800" b="1" i="1" dirty="0">
              <a:cs typeface="+mn-ea"/>
              <a:sym typeface="+mn-lt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EDA47C0C-6809-43E4-822C-0C12AE630B3F}"/>
              </a:ext>
            </a:extLst>
          </p:cNvPr>
          <p:cNvSpPr txBox="1"/>
          <p:nvPr/>
        </p:nvSpPr>
        <p:spPr>
          <a:xfrm>
            <a:off x="4525699" y="1265313"/>
            <a:ext cx="3140603" cy="83099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/>
          <a:p>
            <a:pPr algn="ctr">
              <a:buSzPct val="25000"/>
            </a:pPr>
            <a:r>
              <a:rPr lang="en-US" sz="2400" b="1">
                <a:cs typeface="+mn-ea"/>
                <a:sym typeface="+mn-lt"/>
              </a:rPr>
              <a:t>Unified</a:t>
            </a:r>
            <a:r>
              <a:rPr lang="en-US" sz="100" b="1">
                <a:cs typeface="+mn-ea"/>
                <a:sym typeface="+mn-lt"/>
              </a:rPr>
              <a:t> </a:t>
            </a:r>
            <a:r>
              <a:rPr lang="en-US" sz="2400" b="1">
                <a:cs typeface="+mn-ea"/>
                <a:sym typeface="+mn-lt"/>
              </a:rPr>
              <a:t> </a:t>
            </a:r>
            <a:r>
              <a:rPr lang="en-US" sz="2400" b="1" dirty="0">
                <a:cs typeface="+mn-ea"/>
                <a:sym typeface="+mn-lt"/>
              </a:rPr>
              <a:t>fonts make</a:t>
            </a:r>
          </a:p>
          <a:p>
            <a:pPr algn="ctr">
              <a:buSzPct val="25000"/>
            </a:pPr>
            <a:r>
              <a:rPr lang="en-US" sz="2400" b="1" dirty="0">
                <a:cs typeface="+mn-ea"/>
                <a:sym typeface="+mn-lt"/>
              </a:rPr>
              <a:t>reading more fluent.</a:t>
            </a:r>
          </a:p>
        </p:txBody>
      </p: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15AE3561-6D60-4F7D-8958-800A0D3C8BFD}"/>
              </a:ext>
            </a:extLst>
          </p:cNvPr>
          <p:cNvSpPr/>
          <p:nvPr/>
        </p:nvSpPr>
        <p:spPr>
          <a:xfrm>
            <a:off x="3185515" y="5000744"/>
            <a:ext cx="3308556" cy="1857256"/>
          </a:xfrm>
          <a:custGeom>
            <a:avLst/>
            <a:gdLst>
              <a:gd name="connsiteX0" fmla="*/ 1814106 w 3628212"/>
              <a:gd name="connsiteY0" fmla="*/ 0 h 2036693"/>
              <a:gd name="connsiteX1" fmla="*/ 3628212 w 3628212"/>
              <a:gd name="connsiteY1" fmla="*/ 1814106 h 2036693"/>
              <a:gd name="connsiteX2" fmla="*/ 3605774 w 3628212"/>
              <a:gd name="connsiteY2" fmla="*/ 2036693 h 2036693"/>
              <a:gd name="connsiteX3" fmla="*/ 22439 w 3628212"/>
              <a:gd name="connsiteY3" fmla="*/ 2036693 h 2036693"/>
              <a:gd name="connsiteX4" fmla="*/ 0 w 3628212"/>
              <a:gd name="connsiteY4" fmla="*/ 1814106 h 2036693"/>
              <a:gd name="connsiteX5" fmla="*/ 1814106 w 3628212"/>
              <a:gd name="connsiteY5" fmla="*/ 0 h 20366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28212" h="2036693">
                <a:moveTo>
                  <a:pt x="1814106" y="0"/>
                </a:moveTo>
                <a:cubicBezTo>
                  <a:pt x="2816009" y="0"/>
                  <a:pt x="3628212" y="812203"/>
                  <a:pt x="3628212" y="1814106"/>
                </a:cubicBezTo>
                <a:lnTo>
                  <a:pt x="3605774" y="2036693"/>
                </a:lnTo>
                <a:lnTo>
                  <a:pt x="22439" y="2036693"/>
                </a:lnTo>
                <a:lnTo>
                  <a:pt x="0" y="1814106"/>
                </a:lnTo>
                <a:cubicBezTo>
                  <a:pt x="0" y="812203"/>
                  <a:pt x="812203" y="0"/>
                  <a:pt x="1814106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altLang="zh-CN" sz="2800" b="1" i="1" dirty="0">
                <a:cs typeface="+mn-ea"/>
                <a:sym typeface="+mn-lt"/>
              </a:rPr>
              <a:t>02</a:t>
            </a:r>
            <a:endParaRPr lang="zh-CN" altLang="en-US" sz="2800" b="1" i="1" dirty="0">
              <a:cs typeface="+mn-ea"/>
              <a:sym typeface="+mn-lt"/>
            </a:endParaRPr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FC22D58E-7EB3-49AB-8DC8-C348C689C368}"/>
              </a:ext>
            </a:extLst>
          </p:cNvPr>
          <p:cNvSpPr/>
          <p:nvPr/>
        </p:nvSpPr>
        <p:spPr>
          <a:xfrm>
            <a:off x="5697930" y="5000744"/>
            <a:ext cx="3308556" cy="1857256"/>
          </a:xfrm>
          <a:custGeom>
            <a:avLst/>
            <a:gdLst>
              <a:gd name="connsiteX0" fmla="*/ 1814106 w 3628212"/>
              <a:gd name="connsiteY0" fmla="*/ 0 h 2036693"/>
              <a:gd name="connsiteX1" fmla="*/ 3628212 w 3628212"/>
              <a:gd name="connsiteY1" fmla="*/ 1814106 h 2036693"/>
              <a:gd name="connsiteX2" fmla="*/ 3605774 w 3628212"/>
              <a:gd name="connsiteY2" fmla="*/ 2036693 h 2036693"/>
              <a:gd name="connsiteX3" fmla="*/ 22439 w 3628212"/>
              <a:gd name="connsiteY3" fmla="*/ 2036693 h 2036693"/>
              <a:gd name="connsiteX4" fmla="*/ 0 w 3628212"/>
              <a:gd name="connsiteY4" fmla="*/ 1814106 h 2036693"/>
              <a:gd name="connsiteX5" fmla="*/ 1814106 w 3628212"/>
              <a:gd name="connsiteY5" fmla="*/ 0 h 20366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28212" h="2036693">
                <a:moveTo>
                  <a:pt x="1814106" y="0"/>
                </a:moveTo>
                <a:cubicBezTo>
                  <a:pt x="2816009" y="0"/>
                  <a:pt x="3628212" y="812203"/>
                  <a:pt x="3628212" y="1814106"/>
                </a:cubicBezTo>
                <a:lnTo>
                  <a:pt x="3605774" y="2036693"/>
                </a:lnTo>
                <a:lnTo>
                  <a:pt x="22439" y="2036693"/>
                </a:lnTo>
                <a:lnTo>
                  <a:pt x="0" y="1814106"/>
                </a:lnTo>
                <a:cubicBezTo>
                  <a:pt x="0" y="812203"/>
                  <a:pt x="812203" y="0"/>
                  <a:pt x="1814106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altLang="zh-CN" sz="2800" b="1" i="1" dirty="0">
                <a:cs typeface="+mn-ea"/>
                <a:sym typeface="+mn-lt"/>
              </a:rPr>
              <a:t>03</a:t>
            </a:r>
            <a:endParaRPr lang="zh-CN" altLang="en-US" sz="2800" b="1" i="1" dirty="0">
              <a:cs typeface="+mn-ea"/>
              <a:sym typeface="+mn-lt"/>
            </a:endParaRPr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62F14B3B-41CB-45B8-9C51-C4FD541617EF}"/>
              </a:ext>
            </a:extLst>
          </p:cNvPr>
          <p:cNvSpPr/>
          <p:nvPr/>
        </p:nvSpPr>
        <p:spPr>
          <a:xfrm>
            <a:off x="8210344" y="5000744"/>
            <a:ext cx="3308556" cy="1857256"/>
          </a:xfrm>
          <a:custGeom>
            <a:avLst/>
            <a:gdLst>
              <a:gd name="connsiteX0" fmla="*/ 1814106 w 3628212"/>
              <a:gd name="connsiteY0" fmla="*/ 0 h 2036693"/>
              <a:gd name="connsiteX1" fmla="*/ 3628212 w 3628212"/>
              <a:gd name="connsiteY1" fmla="*/ 1814106 h 2036693"/>
              <a:gd name="connsiteX2" fmla="*/ 3605774 w 3628212"/>
              <a:gd name="connsiteY2" fmla="*/ 2036693 h 2036693"/>
              <a:gd name="connsiteX3" fmla="*/ 22439 w 3628212"/>
              <a:gd name="connsiteY3" fmla="*/ 2036693 h 2036693"/>
              <a:gd name="connsiteX4" fmla="*/ 0 w 3628212"/>
              <a:gd name="connsiteY4" fmla="*/ 1814106 h 2036693"/>
              <a:gd name="connsiteX5" fmla="*/ 1814106 w 3628212"/>
              <a:gd name="connsiteY5" fmla="*/ 0 h 20366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28212" h="2036693">
                <a:moveTo>
                  <a:pt x="1814106" y="0"/>
                </a:moveTo>
                <a:cubicBezTo>
                  <a:pt x="2816009" y="0"/>
                  <a:pt x="3628212" y="812203"/>
                  <a:pt x="3628212" y="1814106"/>
                </a:cubicBezTo>
                <a:lnTo>
                  <a:pt x="3605774" y="2036693"/>
                </a:lnTo>
                <a:lnTo>
                  <a:pt x="22439" y="2036693"/>
                </a:lnTo>
                <a:lnTo>
                  <a:pt x="0" y="1814106"/>
                </a:lnTo>
                <a:cubicBezTo>
                  <a:pt x="0" y="812203"/>
                  <a:pt x="812203" y="0"/>
                  <a:pt x="1814106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r>
              <a:rPr lang="en-US" altLang="zh-CN" sz="2800" b="1" i="1" dirty="0">
                <a:cs typeface="+mn-ea"/>
                <a:sym typeface="+mn-lt"/>
              </a:rPr>
              <a:t>04</a:t>
            </a:r>
            <a:endParaRPr lang="zh-CN" altLang="en-US" sz="2800" b="1" i="1" dirty="0">
              <a:cs typeface="+mn-ea"/>
              <a:sym typeface="+mn-lt"/>
            </a:endParaRPr>
          </a:p>
        </p:txBody>
      </p:sp>
      <p:cxnSp>
        <p:nvCxnSpPr>
          <p:cNvPr id="11" name="直接箭头连接符 10">
            <a:extLst>
              <a:ext uri="{FF2B5EF4-FFF2-40B4-BE49-F238E27FC236}">
                <a16:creationId xmlns:a16="http://schemas.microsoft.com/office/drawing/2014/main" id="{59EC5DDC-1852-4AC9-A44B-81FA0451849F}"/>
              </a:ext>
            </a:extLst>
          </p:cNvPr>
          <p:cNvCxnSpPr>
            <a:cxnSpLocks/>
            <a:stCxn id="6" idx="0"/>
          </p:cNvCxnSpPr>
          <p:nvPr/>
        </p:nvCxnSpPr>
        <p:spPr>
          <a:xfrm flipV="1">
            <a:off x="2327378" y="4429760"/>
            <a:ext cx="0" cy="570984"/>
          </a:xfrm>
          <a:prstGeom prst="straightConnector1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椭圆 39">
            <a:extLst>
              <a:ext uri="{FF2B5EF4-FFF2-40B4-BE49-F238E27FC236}">
                <a16:creationId xmlns:a16="http://schemas.microsoft.com/office/drawing/2014/main" id="{08A4C2A4-5E22-452E-949B-6906FFD3ABF9}"/>
              </a:ext>
            </a:extLst>
          </p:cNvPr>
          <p:cNvSpPr/>
          <p:nvPr/>
        </p:nvSpPr>
        <p:spPr>
          <a:xfrm>
            <a:off x="1943067" y="2476277"/>
            <a:ext cx="768622" cy="768622"/>
          </a:xfrm>
          <a:prstGeom prst="ellipse">
            <a:avLst/>
          </a:prstGeom>
          <a:noFill/>
          <a:ln w="12700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41" name="椭圆 40">
            <a:extLst>
              <a:ext uri="{FF2B5EF4-FFF2-40B4-BE49-F238E27FC236}">
                <a16:creationId xmlns:a16="http://schemas.microsoft.com/office/drawing/2014/main" id="{413E929E-66C6-492E-AD8A-9327A7C1E057}"/>
              </a:ext>
            </a:extLst>
          </p:cNvPr>
          <p:cNvSpPr/>
          <p:nvPr/>
        </p:nvSpPr>
        <p:spPr>
          <a:xfrm>
            <a:off x="2014129" y="2547339"/>
            <a:ext cx="626499" cy="626499"/>
          </a:xfrm>
          <a:prstGeom prst="ellipse">
            <a:avLst/>
          </a:prstGeom>
          <a:solidFill>
            <a:schemeClr val="bg1">
              <a:lumMod val="8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42" name="任意多边形: 形状 41">
            <a:extLst>
              <a:ext uri="{FF2B5EF4-FFF2-40B4-BE49-F238E27FC236}">
                <a16:creationId xmlns:a16="http://schemas.microsoft.com/office/drawing/2014/main" id="{B37AEE44-40CC-4CF8-BCC6-95487A069FAA}"/>
              </a:ext>
            </a:extLst>
          </p:cNvPr>
          <p:cNvSpPr/>
          <p:nvPr/>
        </p:nvSpPr>
        <p:spPr>
          <a:xfrm>
            <a:off x="2142760" y="2667922"/>
            <a:ext cx="369236" cy="385331"/>
          </a:xfrm>
          <a:custGeom>
            <a:avLst/>
            <a:gdLst>
              <a:gd name="connsiteX0" fmla="*/ 519512 w 581137"/>
              <a:gd name="connsiteY0" fmla="*/ 332111 h 606469"/>
              <a:gd name="connsiteX1" fmla="*/ 540163 w 581137"/>
              <a:gd name="connsiteY1" fmla="*/ 340671 h 606469"/>
              <a:gd name="connsiteX2" fmla="*/ 572553 w 581137"/>
              <a:gd name="connsiteY2" fmla="*/ 373014 h 606469"/>
              <a:gd name="connsiteX3" fmla="*/ 572553 w 581137"/>
              <a:gd name="connsiteY3" fmla="*/ 414307 h 606469"/>
              <a:gd name="connsiteX4" fmla="*/ 388637 w 581137"/>
              <a:gd name="connsiteY4" fmla="*/ 597958 h 606469"/>
              <a:gd name="connsiteX5" fmla="*/ 367986 w 581137"/>
              <a:gd name="connsiteY5" fmla="*/ 606469 h 606469"/>
              <a:gd name="connsiteX6" fmla="*/ 347334 w 581137"/>
              <a:gd name="connsiteY6" fmla="*/ 597958 h 606469"/>
              <a:gd name="connsiteX7" fmla="*/ 311096 w 581137"/>
              <a:gd name="connsiteY7" fmla="*/ 561772 h 606469"/>
              <a:gd name="connsiteX8" fmla="*/ 294244 w 581137"/>
              <a:gd name="connsiteY8" fmla="*/ 544944 h 606469"/>
              <a:gd name="connsiteX9" fmla="*/ 257860 w 581137"/>
              <a:gd name="connsiteY9" fmla="*/ 508613 h 606469"/>
              <a:gd name="connsiteX10" fmla="*/ 257860 w 581137"/>
              <a:gd name="connsiteY10" fmla="*/ 467320 h 606469"/>
              <a:gd name="connsiteX11" fmla="*/ 290250 w 581137"/>
              <a:gd name="connsiteY11" fmla="*/ 434977 h 606469"/>
              <a:gd name="connsiteX12" fmla="*/ 310901 w 581137"/>
              <a:gd name="connsiteY12" fmla="*/ 426417 h 606469"/>
              <a:gd name="connsiteX13" fmla="*/ 331553 w 581137"/>
              <a:gd name="connsiteY13" fmla="*/ 434977 h 606469"/>
              <a:gd name="connsiteX14" fmla="*/ 367986 w 581137"/>
              <a:gd name="connsiteY14" fmla="*/ 471308 h 606469"/>
              <a:gd name="connsiteX15" fmla="*/ 377970 w 581137"/>
              <a:gd name="connsiteY15" fmla="*/ 461387 h 606469"/>
              <a:gd name="connsiteX16" fmla="*/ 498860 w 581137"/>
              <a:gd name="connsiteY16" fmla="*/ 340671 h 606469"/>
              <a:gd name="connsiteX17" fmla="*/ 519512 w 581137"/>
              <a:gd name="connsiteY17" fmla="*/ 332111 h 606469"/>
              <a:gd name="connsiteX18" fmla="*/ 51961 w 581137"/>
              <a:gd name="connsiteY18" fmla="*/ 289771 h 606469"/>
              <a:gd name="connsiteX19" fmla="*/ 97543 w 581137"/>
              <a:gd name="connsiteY19" fmla="*/ 289771 h 606469"/>
              <a:gd name="connsiteX20" fmla="*/ 116486 w 581137"/>
              <a:gd name="connsiteY20" fmla="*/ 304796 h 606469"/>
              <a:gd name="connsiteX21" fmla="*/ 143368 w 581137"/>
              <a:gd name="connsiteY21" fmla="*/ 419113 h 606469"/>
              <a:gd name="connsiteX22" fmla="*/ 159828 w 581137"/>
              <a:gd name="connsiteY22" fmla="*/ 445030 h 606469"/>
              <a:gd name="connsiteX23" fmla="*/ 160120 w 581137"/>
              <a:gd name="connsiteY23" fmla="*/ 406228 h 606469"/>
              <a:gd name="connsiteX24" fmla="*/ 180233 w 581137"/>
              <a:gd name="connsiteY24" fmla="*/ 331394 h 606469"/>
              <a:gd name="connsiteX25" fmla="*/ 166792 w 581137"/>
              <a:gd name="connsiteY25" fmla="*/ 301781 h 606469"/>
              <a:gd name="connsiteX26" fmla="*/ 174535 w 581137"/>
              <a:gd name="connsiteY26" fmla="*/ 289771 h 606469"/>
              <a:gd name="connsiteX27" fmla="*/ 188998 w 581137"/>
              <a:gd name="connsiteY27" fmla="*/ 289771 h 606469"/>
              <a:gd name="connsiteX28" fmla="*/ 203413 w 581137"/>
              <a:gd name="connsiteY28" fmla="*/ 289771 h 606469"/>
              <a:gd name="connsiteX29" fmla="*/ 211156 w 581137"/>
              <a:gd name="connsiteY29" fmla="*/ 301781 h 606469"/>
              <a:gd name="connsiteX30" fmla="*/ 197715 w 581137"/>
              <a:gd name="connsiteY30" fmla="*/ 331394 h 606469"/>
              <a:gd name="connsiteX31" fmla="*/ 217876 w 581137"/>
              <a:gd name="connsiteY31" fmla="*/ 406228 h 606469"/>
              <a:gd name="connsiteX32" fmla="*/ 218120 w 581137"/>
              <a:gd name="connsiteY32" fmla="*/ 445030 h 606469"/>
              <a:gd name="connsiteX33" fmla="*/ 234580 w 581137"/>
              <a:gd name="connsiteY33" fmla="*/ 419113 h 606469"/>
              <a:gd name="connsiteX34" fmla="*/ 261462 w 581137"/>
              <a:gd name="connsiteY34" fmla="*/ 304796 h 606469"/>
              <a:gd name="connsiteX35" fmla="*/ 280405 w 581137"/>
              <a:gd name="connsiteY35" fmla="*/ 289771 h 606469"/>
              <a:gd name="connsiteX36" fmla="*/ 325987 w 581137"/>
              <a:gd name="connsiteY36" fmla="*/ 289771 h 606469"/>
              <a:gd name="connsiteX37" fmla="*/ 377948 w 581137"/>
              <a:gd name="connsiteY37" fmla="*/ 341654 h 606469"/>
              <a:gd name="connsiteX38" fmla="*/ 377948 w 581137"/>
              <a:gd name="connsiteY38" fmla="*/ 433847 h 606469"/>
              <a:gd name="connsiteX39" fmla="*/ 367965 w 581137"/>
              <a:gd name="connsiteY39" fmla="*/ 443815 h 606469"/>
              <a:gd name="connsiteX40" fmla="*/ 345320 w 581137"/>
              <a:gd name="connsiteY40" fmla="*/ 421204 h 606469"/>
              <a:gd name="connsiteX41" fmla="*/ 310890 w 581137"/>
              <a:gd name="connsiteY41" fmla="*/ 406957 h 606469"/>
              <a:gd name="connsiteX42" fmla="*/ 276461 w 581137"/>
              <a:gd name="connsiteY42" fmla="*/ 421204 h 606469"/>
              <a:gd name="connsiteX43" fmla="*/ 244076 w 581137"/>
              <a:gd name="connsiteY43" fmla="*/ 453540 h 606469"/>
              <a:gd name="connsiteX44" fmla="*/ 244076 w 581137"/>
              <a:gd name="connsiteY44" fmla="*/ 522344 h 606469"/>
              <a:gd name="connsiteX45" fmla="*/ 280454 w 581137"/>
              <a:gd name="connsiteY45" fmla="*/ 558667 h 606469"/>
              <a:gd name="connsiteX46" fmla="*/ 283522 w 581137"/>
              <a:gd name="connsiteY46" fmla="*/ 561730 h 606469"/>
              <a:gd name="connsiteX47" fmla="*/ 188998 w 581137"/>
              <a:gd name="connsiteY47" fmla="*/ 561730 h 606469"/>
              <a:gd name="connsiteX48" fmla="*/ 19479 w 581137"/>
              <a:gd name="connsiteY48" fmla="*/ 561730 h 606469"/>
              <a:gd name="connsiteX49" fmla="*/ 0 w 581137"/>
              <a:gd name="connsiteY49" fmla="*/ 542280 h 606469"/>
              <a:gd name="connsiteX50" fmla="*/ 0 w 581137"/>
              <a:gd name="connsiteY50" fmla="*/ 341654 h 606469"/>
              <a:gd name="connsiteX51" fmla="*/ 51961 w 581137"/>
              <a:gd name="connsiteY51" fmla="*/ 289771 h 606469"/>
              <a:gd name="connsiteX52" fmla="*/ 273435 w 581137"/>
              <a:gd name="connsiteY52" fmla="*/ 375 h 606469"/>
              <a:gd name="connsiteX53" fmla="*/ 303290 w 581137"/>
              <a:gd name="connsiteY53" fmla="*/ 25467 h 606469"/>
              <a:gd name="connsiteX54" fmla="*/ 303290 w 581137"/>
              <a:gd name="connsiteY54" fmla="*/ 135216 h 606469"/>
              <a:gd name="connsiteX55" fmla="*/ 303290 w 581137"/>
              <a:gd name="connsiteY55" fmla="*/ 147422 h 606469"/>
              <a:gd name="connsiteX56" fmla="*/ 189032 w 581137"/>
              <a:gd name="connsiteY56" fmla="*/ 262180 h 606469"/>
              <a:gd name="connsiteX57" fmla="*/ 73459 w 581137"/>
              <a:gd name="connsiteY57" fmla="*/ 147422 h 606469"/>
              <a:gd name="connsiteX58" fmla="*/ 73459 w 581137"/>
              <a:gd name="connsiteY58" fmla="*/ 81922 h 606469"/>
              <a:gd name="connsiteX59" fmla="*/ 115100 w 581137"/>
              <a:gd name="connsiteY59" fmla="*/ 31059 h 606469"/>
              <a:gd name="connsiteX60" fmla="*/ 273435 w 581137"/>
              <a:gd name="connsiteY60" fmla="*/ 375 h 6064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</a:cxnLst>
            <a:rect l="l" t="t" r="r" b="b"/>
            <a:pathLst>
              <a:path w="581137" h="606469">
                <a:moveTo>
                  <a:pt x="519512" y="332111"/>
                </a:moveTo>
                <a:cubicBezTo>
                  <a:pt x="526964" y="332111"/>
                  <a:pt x="534464" y="334981"/>
                  <a:pt x="540163" y="340671"/>
                </a:cubicBezTo>
                <a:lnTo>
                  <a:pt x="572553" y="373014"/>
                </a:lnTo>
                <a:cubicBezTo>
                  <a:pt x="583999" y="384395"/>
                  <a:pt x="583999" y="402877"/>
                  <a:pt x="572553" y="414307"/>
                </a:cubicBezTo>
                <a:lnTo>
                  <a:pt x="388637" y="597958"/>
                </a:lnTo>
                <a:cubicBezTo>
                  <a:pt x="382938" y="603648"/>
                  <a:pt x="375486" y="606469"/>
                  <a:pt x="367986" y="606469"/>
                </a:cubicBezTo>
                <a:cubicBezTo>
                  <a:pt x="360485" y="606469"/>
                  <a:pt x="353033" y="603648"/>
                  <a:pt x="347334" y="597958"/>
                </a:cubicBezTo>
                <a:lnTo>
                  <a:pt x="311096" y="561772"/>
                </a:lnTo>
                <a:lnTo>
                  <a:pt x="294244" y="544944"/>
                </a:lnTo>
                <a:lnTo>
                  <a:pt x="257860" y="508613"/>
                </a:lnTo>
                <a:cubicBezTo>
                  <a:pt x="246414" y="497183"/>
                  <a:pt x="246414" y="478701"/>
                  <a:pt x="257860" y="467320"/>
                </a:cubicBezTo>
                <a:lnTo>
                  <a:pt x="290250" y="434977"/>
                </a:lnTo>
                <a:cubicBezTo>
                  <a:pt x="295949" y="429287"/>
                  <a:pt x="303449" y="426417"/>
                  <a:pt x="310901" y="426417"/>
                </a:cubicBezTo>
                <a:cubicBezTo>
                  <a:pt x="318402" y="426417"/>
                  <a:pt x="325854" y="429287"/>
                  <a:pt x="331553" y="434977"/>
                </a:cubicBezTo>
                <a:lnTo>
                  <a:pt x="367986" y="471308"/>
                </a:lnTo>
                <a:lnTo>
                  <a:pt x="377970" y="461387"/>
                </a:lnTo>
                <a:lnTo>
                  <a:pt x="498860" y="340671"/>
                </a:lnTo>
                <a:cubicBezTo>
                  <a:pt x="504559" y="334981"/>
                  <a:pt x="512011" y="332111"/>
                  <a:pt x="519512" y="332111"/>
                </a:cubicBezTo>
                <a:close/>
                <a:moveTo>
                  <a:pt x="51961" y="289771"/>
                </a:moveTo>
                <a:lnTo>
                  <a:pt x="97543" y="289771"/>
                </a:lnTo>
                <a:cubicBezTo>
                  <a:pt x="106601" y="289771"/>
                  <a:pt x="114441" y="295995"/>
                  <a:pt x="116486" y="304796"/>
                </a:cubicBezTo>
                <a:lnTo>
                  <a:pt x="143368" y="419113"/>
                </a:lnTo>
                <a:cubicBezTo>
                  <a:pt x="145852" y="429665"/>
                  <a:pt x="151793" y="438660"/>
                  <a:pt x="159828" y="445030"/>
                </a:cubicBezTo>
                <a:cubicBezTo>
                  <a:pt x="157442" y="432193"/>
                  <a:pt x="157539" y="419016"/>
                  <a:pt x="160120" y="406228"/>
                </a:cubicBezTo>
                <a:lnTo>
                  <a:pt x="180233" y="331394"/>
                </a:lnTo>
                <a:lnTo>
                  <a:pt x="166792" y="301781"/>
                </a:lnTo>
                <a:cubicBezTo>
                  <a:pt x="164260" y="296141"/>
                  <a:pt x="168350" y="289771"/>
                  <a:pt x="174535" y="289771"/>
                </a:cubicBezTo>
                <a:lnTo>
                  <a:pt x="188998" y="289771"/>
                </a:lnTo>
                <a:lnTo>
                  <a:pt x="203413" y="289771"/>
                </a:lnTo>
                <a:cubicBezTo>
                  <a:pt x="209598" y="289771"/>
                  <a:pt x="213688" y="296141"/>
                  <a:pt x="211156" y="301781"/>
                </a:cubicBezTo>
                <a:lnTo>
                  <a:pt x="197715" y="331394"/>
                </a:lnTo>
                <a:lnTo>
                  <a:pt x="217876" y="406228"/>
                </a:lnTo>
                <a:cubicBezTo>
                  <a:pt x="220409" y="419016"/>
                  <a:pt x="220506" y="432193"/>
                  <a:pt x="218120" y="445030"/>
                </a:cubicBezTo>
                <a:cubicBezTo>
                  <a:pt x="226155" y="438660"/>
                  <a:pt x="232096" y="429665"/>
                  <a:pt x="234580" y="419113"/>
                </a:cubicBezTo>
                <a:lnTo>
                  <a:pt x="261462" y="304796"/>
                </a:lnTo>
                <a:cubicBezTo>
                  <a:pt x="263507" y="295995"/>
                  <a:pt x="271347" y="289771"/>
                  <a:pt x="280405" y="289771"/>
                </a:cubicBezTo>
                <a:lnTo>
                  <a:pt x="325987" y="289771"/>
                </a:lnTo>
                <a:cubicBezTo>
                  <a:pt x="354670" y="289771"/>
                  <a:pt x="377948" y="313014"/>
                  <a:pt x="377948" y="341654"/>
                </a:cubicBezTo>
                <a:lnTo>
                  <a:pt x="377948" y="433847"/>
                </a:lnTo>
                <a:lnTo>
                  <a:pt x="367965" y="443815"/>
                </a:lnTo>
                <a:lnTo>
                  <a:pt x="345320" y="421204"/>
                </a:lnTo>
                <a:cubicBezTo>
                  <a:pt x="336116" y="412014"/>
                  <a:pt x="323893" y="406957"/>
                  <a:pt x="310890" y="406957"/>
                </a:cubicBezTo>
                <a:cubicBezTo>
                  <a:pt x="297888" y="406957"/>
                  <a:pt x="285665" y="412014"/>
                  <a:pt x="276461" y="421204"/>
                </a:cubicBezTo>
                <a:lnTo>
                  <a:pt x="244076" y="453540"/>
                </a:lnTo>
                <a:cubicBezTo>
                  <a:pt x="225084" y="472503"/>
                  <a:pt x="225084" y="503380"/>
                  <a:pt x="244076" y="522344"/>
                </a:cubicBezTo>
                <a:lnTo>
                  <a:pt x="280454" y="558667"/>
                </a:lnTo>
                <a:lnTo>
                  <a:pt x="283522" y="561730"/>
                </a:lnTo>
                <a:lnTo>
                  <a:pt x="188998" y="561730"/>
                </a:lnTo>
                <a:lnTo>
                  <a:pt x="19479" y="561730"/>
                </a:lnTo>
                <a:cubicBezTo>
                  <a:pt x="8766" y="561730"/>
                  <a:pt x="0" y="553026"/>
                  <a:pt x="0" y="542280"/>
                </a:cubicBezTo>
                <a:lnTo>
                  <a:pt x="0" y="341654"/>
                </a:lnTo>
                <a:cubicBezTo>
                  <a:pt x="0" y="313014"/>
                  <a:pt x="23278" y="289771"/>
                  <a:pt x="51961" y="289771"/>
                </a:cubicBezTo>
                <a:close/>
                <a:moveTo>
                  <a:pt x="273435" y="375"/>
                </a:moveTo>
                <a:cubicBezTo>
                  <a:pt x="289020" y="-2299"/>
                  <a:pt x="303290" y="9663"/>
                  <a:pt x="303290" y="25467"/>
                </a:cubicBezTo>
                <a:lnTo>
                  <a:pt x="303290" y="135216"/>
                </a:lnTo>
                <a:lnTo>
                  <a:pt x="303290" y="147422"/>
                </a:lnTo>
                <a:cubicBezTo>
                  <a:pt x="303290" y="210831"/>
                  <a:pt x="252492" y="262180"/>
                  <a:pt x="189032" y="262180"/>
                </a:cubicBezTo>
                <a:cubicBezTo>
                  <a:pt x="125523" y="262180"/>
                  <a:pt x="73459" y="210831"/>
                  <a:pt x="73459" y="147422"/>
                </a:cubicBezTo>
                <a:lnTo>
                  <a:pt x="73459" y="81922"/>
                </a:lnTo>
                <a:cubicBezTo>
                  <a:pt x="73459" y="57220"/>
                  <a:pt x="90895" y="35970"/>
                  <a:pt x="115100" y="31059"/>
                </a:cubicBezTo>
                <a:cubicBezTo>
                  <a:pt x="136238" y="26828"/>
                  <a:pt x="254538" y="3585"/>
                  <a:pt x="273435" y="375"/>
                </a:cubicBezTo>
                <a:close/>
              </a:path>
            </a:pathLst>
          </a:cu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37" name="椭圆 36">
            <a:extLst>
              <a:ext uri="{FF2B5EF4-FFF2-40B4-BE49-F238E27FC236}">
                <a16:creationId xmlns:a16="http://schemas.microsoft.com/office/drawing/2014/main" id="{5B1A0C33-9998-4755-B955-3318EF10D22B}"/>
              </a:ext>
            </a:extLst>
          </p:cNvPr>
          <p:cNvSpPr/>
          <p:nvPr/>
        </p:nvSpPr>
        <p:spPr>
          <a:xfrm>
            <a:off x="4455482" y="2476277"/>
            <a:ext cx="768622" cy="768622"/>
          </a:xfrm>
          <a:prstGeom prst="ellipse">
            <a:avLst/>
          </a:prstGeom>
          <a:noFill/>
          <a:ln w="12700"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38" name="椭圆 37">
            <a:extLst>
              <a:ext uri="{FF2B5EF4-FFF2-40B4-BE49-F238E27FC236}">
                <a16:creationId xmlns:a16="http://schemas.microsoft.com/office/drawing/2014/main" id="{BD49BCE3-027D-4F8F-9E7B-9FAC15B9CE7B}"/>
              </a:ext>
            </a:extLst>
          </p:cNvPr>
          <p:cNvSpPr/>
          <p:nvPr/>
        </p:nvSpPr>
        <p:spPr>
          <a:xfrm>
            <a:off x="4526544" y="2547339"/>
            <a:ext cx="626499" cy="626499"/>
          </a:xfrm>
          <a:prstGeom prst="ellipse">
            <a:avLst/>
          </a:prstGeom>
          <a:solidFill>
            <a:schemeClr val="bg1">
              <a:lumMod val="7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39" name="任意多边形: 形状 38">
            <a:extLst>
              <a:ext uri="{FF2B5EF4-FFF2-40B4-BE49-F238E27FC236}">
                <a16:creationId xmlns:a16="http://schemas.microsoft.com/office/drawing/2014/main" id="{72C62DEE-23A2-4808-96B7-57D85F3C7656}"/>
              </a:ext>
            </a:extLst>
          </p:cNvPr>
          <p:cNvSpPr/>
          <p:nvPr/>
        </p:nvSpPr>
        <p:spPr>
          <a:xfrm>
            <a:off x="4647127" y="2723303"/>
            <a:ext cx="385331" cy="274570"/>
          </a:xfrm>
          <a:custGeom>
            <a:avLst/>
            <a:gdLst>
              <a:gd name="connsiteX0" fmla="*/ 32029 w 606007"/>
              <a:gd name="connsiteY0" fmla="*/ 122123 h 431814"/>
              <a:gd name="connsiteX1" fmla="*/ 44636 w 606007"/>
              <a:gd name="connsiteY1" fmla="*/ 124643 h 431814"/>
              <a:gd name="connsiteX2" fmla="*/ 247598 w 606007"/>
              <a:gd name="connsiteY2" fmla="*/ 246133 h 431814"/>
              <a:gd name="connsiteX3" fmla="*/ 299951 w 606007"/>
              <a:gd name="connsiteY3" fmla="*/ 225347 h 431814"/>
              <a:gd name="connsiteX4" fmla="*/ 202842 w 606007"/>
              <a:gd name="connsiteY4" fmla="*/ 217865 h 431814"/>
              <a:gd name="connsiteX5" fmla="*/ 193787 w 606007"/>
              <a:gd name="connsiteY5" fmla="*/ 183465 h 431814"/>
              <a:gd name="connsiteX6" fmla="*/ 400391 w 606007"/>
              <a:gd name="connsiteY6" fmla="*/ 169435 h 431814"/>
              <a:gd name="connsiteX7" fmla="*/ 577019 w 606007"/>
              <a:gd name="connsiteY7" fmla="*/ 313892 h 431814"/>
              <a:gd name="connsiteX8" fmla="*/ 582224 w 606007"/>
              <a:gd name="connsiteY8" fmla="*/ 323765 h 431814"/>
              <a:gd name="connsiteX9" fmla="*/ 585034 w 606007"/>
              <a:gd name="connsiteY9" fmla="*/ 424158 h 431814"/>
              <a:gd name="connsiteX10" fmla="*/ 522688 w 606007"/>
              <a:gd name="connsiteY10" fmla="*/ 399424 h 431814"/>
              <a:gd name="connsiteX11" fmla="*/ 457428 w 606007"/>
              <a:gd name="connsiteY11" fmla="*/ 330001 h 431814"/>
              <a:gd name="connsiteX12" fmla="*/ 455659 w 606007"/>
              <a:gd name="connsiteY12" fmla="*/ 330417 h 431814"/>
              <a:gd name="connsiteX13" fmla="*/ 166413 w 606007"/>
              <a:gd name="connsiteY13" fmla="*/ 320232 h 431814"/>
              <a:gd name="connsiteX14" fmla="*/ 3420 w 606007"/>
              <a:gd name="connsiteY14" fmla="*/ 158835 h 431814"/>
              <a:gd name="connsiteX15" fmla="*/ 18720 w 606007"/>
              <a:gd name="connsiteY15" fmla="*/ 129112 h 431814"/>
              <a:gd name="connsiteX16" fmla="*/ 20281 w 606007"/>
              <a:gd name="connsiteY16" fmla="*/ 127865 h 431814"/>
              <a:gd name="connsiteX17" fmla="*/ 32029 w 606007"/>
              <a:gd name="connsiteY17" fmla="*/ 122123 h 431814"/>
              <a:gd name="connsiteX18" fmla="*/ 243700 w 606007"/>
              <a:gd name="connsiteY18" fmla="*/ 95214 h 431814"/>
              <a:gd name="connsiteX19" fmla="*/ 330644 w 606007"/>
              <a:gd name="connsiteY19" fmla="*/ 97150 h 431814"/>
              <a:gd name="connsiteX20" fmla="*/ 418382 w 606007"/>
              <a:gd name="connsiteY20" fmla="*/ 118145 h 431814"/>
              <a:gd name="connsiteX21" fmla="*/ 418382 w 606007"/>
              <a:gd name="connsiteY21" fmla="*/ 133113 h 431814"/>
              <a:gd name="connsiteX22" fmla="*/ 418278 w 606007"/>
              <a:gd name="connsiteY22" fmla="*/ 133217 h 431814"/>
              <a:gd name="connsiteX23" fmla="*/ 412657 w 606007"/>
              <a:gd name="connsiteY23" fmla="*/ 146521 h 431814"/>
              <a:gd name="connsiteX24" fmla="*/ 164327 w 606007"/>
              <a:gd name="connsiteY24" fmla="*/ 184147 h 431814"/>
              <a:gd name="connsiteX25" fmla="*/ 148195 w 606007"/>
              <a:gd name="connsiteY25" fmla="*/ 188513 h 431814"/>
              <a:gd name="connsiteX26" fmla="*/ 143407 w 606007"/>
              <a:gd name="connsiteY26" fmla="*/ 161800 h 431814"/>
              <a:gd name="connsiteX27" fmla="*/ 143720 w 606007"/>
              <a:gd name="connsiteY27" fmla="*/ 112221 h 431814"/>
              <a:gd name="connsiteX28" fmla="*/ 156834 w 606007"/>
              <a:gd name="connsiteY28" fmla="*/ 99124 h 431814"/>
              <a:gd name="connsiteX29" fmla="*/ 243700 w 606007"/>
              <a:gd name="connsiteY29" fmla="*/ 95214 h 431814"/>
              <a:gd name="connsiteX30" fmla="*/ 181420 w 606007"/>
              <a:gd name="connsiteY30" fmla="*/ 1042 h 431814"/>
              <a:gd name="connsiteX31" fmla="*/ 354418 w 606007"/>
              <a:gd name="connsiteY31" fmla="*/ 8002 h 431814"/>
              <a:gd name="connsiteX32" fmla="*/ 396366 w 606007"/>
              <a:gd name="connsiteY32" fmla="*/ 15898 h 431814"/>
              <a:gd name="connsiteX33" fmla="*/ 386998 w 606007"/>
              <a:gd name="connsiteY33" fmla="*/ 82801 h 431814"/>
              <a:gd name="connsiteX34" fmla="*/ 329332 w 606007"/>
              <a:gd name="connsiteY34" fmla="*/ 78646 h 431814"/>
              <a:gd name="connsiteX35" fmla="*/ 277599 w 606007"/>
              <a:gd name="connsiteY35" fmla="*/ 75529 h 431814"/>
              <a:gd name="connsiteX36" fmla="*/ 253763 w 606007"/>
              <a:gd name="connsiteY36" fmla="*/ 74906 h 431814"/>
              <a:gd name="connsiteX37" fmla="*/ 248871 w 606007"/>
              <a:gd name="connsiteY37" fmla="*/ 75529 h 431814"/>
              <a:gd name="connsiteX38" fmla="*/ 148424 w 606007"/>
              <a:gd name="connsiteY38" fmla="*/ 75529 h 431814"/>
              <a:gd name="connsiteX39" fmla="*/ 139680 w 606007"/>
              <a:gd name="connsiteY39" fmla="*/ 63167 h 431814"/>
              <a:gd name="connsiteX40" fmla="*/ 137286 w 606007"/>
              <a:gd name="connsiteY40" fmla="*/ 57972 h 431814"/>
              <a:gd name="connsiteX41" fmla="*/ 136766 w 606007"/>
              <a:gd name="connsiteY41" fmla="*/ 54440 h 431814"/>
              <a:gd name="connsiteX42" fmla="*/ 132915 w 606007"/>
              <a:gd name="connsiteY42" fmla="*/ 45817 h 431814"/>
              <a:gd name="connsiteX43" fmla="*/ 135101 w 606007"/>
              <a:gd name="connsiteY43" fmla="*/ 24417 h 431814"/>
              <a:gd name="connsiteX44" fmla="*/ 181420 w 606007"/>
              <a:gd name="connsiteY44" fmla="*/ 1042 h 431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606007" h="431814">
                <a:moveTo>
                  <a:pt x="32029" y="122123"/>
                </a:moveTo>
                <a:cubicBezTo>
                  <a:pt x="36440" y="121291"/>
                  <a:pt x="40993" y="121837"/>
                  <a:pt x="44636" y="124643"/>
                </a:cubicBezTo>
                <a:cubicBezTo>
                  <a:pt x="116349" y="179724"/>
                  <a:pt x="144452" y="250082"/>
                  <a:pt x="247598" y="246133"/>
                </a:cubicBezTo>
                <a:cubicBezTo>
                  <a:pt x="273098" y="245093"/>
                  <a:pt x="427453" y="252576"/>
                  <a:pt x="299951" y="225347"/>
                </a:cubicBezTo>
                <a:cubicBezTo>
                  <a:pt x="270184" y="218904"/>
                  <a:pt x="234067" y="223165"/>
                  <a:pt x="202842" y="217865"/>
                </a:cubicBezTo>
                <a:cubicBezTo>
                  <a:pt x="186189" y="215059"/>
                  <a:pt x="184940" y="194066"/>
                  <a:pt x="193787" y="183465"/>
                </a:cubicBezTo>
                <a:cubicBezTo>
                  <a:pt x="227510" y="142934"/>
                  <a:pt x="355427" y="160394"/>
                  <a:pt x="400391" y="169435"/>
                </a:cubicBezTo>
                <a:cubicBezTo>
                  <a:pt x="476788" y="184920"/>
                  <a:pt x="523625" y="259955"/>
                  <a:pt x="577019" y="313892"/>
                </a:cubicBezTo>
                <a:cubicBezTo>
                  <a:pt x="580038" y="317010"/>
                  <a:pt x="581495" y="320440"/>
                  <a:pt x="582224" y="323765"/>
                </a:cubicBezTo>
                <a:cubicBezTo>
                  <a:pt x="608244" y="351618"/>
                  <a:pt x="618028" y="397345"/>
                  <a:pt x="585034" y="424158"/>
                </a:cubicBezTo>
                <a:cubicBezTo>
                  <a:pt x="558909" y="445255"/>
                  <a:pt x="538301" y="418026"/>
                  <a:pt x="522688" y="399424"/>
                </a:cubicBezTo>
                <a:cubicBezTo>
                  <a:pt x="502184" y="375105"/>
                  <a:pt x="479078" y="353280"/>
                  <a:pt x="457428" y="330001"/>
                </a:cubicBezTo>
                <a:cubicBezTo>
                  <a:pt x="456804" y="330105"/>
                  <a:pt x="456388" y="330417"/>
                  <a:pt x="455659" y="330417"/>
                </a:cubicBezTo>
                <a:cubicBezTo>
                  <a:pt x="370623" y="333638"/>
                  <a:pt x="245412" y="359516"/>
                  <a:pt x="166413" y="320232"/>
                </a:cubicBezTo>
                <a:cubicBezTo>
                  <a:pt x="100321" y="287287"/>
                  <a:pt x="47030" y="216514"/>
                  <a:pt x="3420" y="158835"/>
                </a:cubicBezTo>
                <a:cubicBezTo>
                  <a:pt x="-6052" y="146260"/>
                  <a:pt x="5813" y="131502"/>
                  <a:pt x="18720" y="129112"/>
                </a:cubicBezTo>
                <a:cubicBezTo>
                  <a:pt x="19240" y="128696"/>
                  <a:pt x="19761" y="128280"/>
                  <a:pt x="20281" y="127865"/>
                </a:cubicBezTo>
                <a:cubicBezTo>
                  <a:pt x="23352" y="125163"/>
                  <a:pt x="27619" y="122954"/>
                  <a:pt x="32029" y="122123"/>
                </a:cubicBezTo>
                <a:close/>
                <a:moveTo>
                  <a:pt x="243700" y="95214"/>
                </a:moveTo>
                <a:cubicBezTo>
                  <a:pt x="272725" y="95097"/>
                  <a:pt x="301763" y="95954"/>
                  <a:pt x="330644" y="97150"/>
                </a:cubicBezTo>
                <a:cubicBezTo>
                  <a:pt x="355414" y="98189"/>
                  <a:pt x="404539" y="91017"/>
                  <a:pt x="418382" y="118145"/>
                </a:cubicBezTo>
                <a:cubicBezTo>
                  <a:pt x="420567" y="122615"/>
                  <a:pt x="421504" y="128747"/>
                  <a:pt x="418382" y="133113"/>
                </a:cubicBezTo>
                <a:lnTo>
                  <a:pt x="418278" y="133217"/>
                </a:lnTo>
                <a:cubicBezTo>
                  <a:pt x="420567" y="138310"/>
                  <a:pt x="419110" y="145274"/>
                  <a:pt x="412657" y="146521"/>
                </a:cubicBezTo>
                <a:cubicBezTo>
                  <a:pt x="372379" y="154628"/>
                  <a:pt x="169427" y="128643"/>
                  <a:pt x="164327" y="184147"/>
                </a:cubicBezTo>
                <a:cubicBezTo>
                  <a:pt x="163599" y="192047"/>
                  <a:pt x="152566" y="196724"/>
                  <a:pt x="148195" y="188513"/>
                </a:cubicBezTo>
                <a:cubicBezTo>
                  <a:pt x="142679" y="178223"/>
                  <a:pt x="141430" y="169388"/>
                  <a:pt x="143407" y="161800"/>
                </a:cubicBezTo>
                <a:cubicBezTo>
                  <a:pt x="141846" y="144962"/>
                  <a:pt x="142054" y="129683"/>
                  <a:pt x="143720" y="112221"/>
                </a:cubicBezTo>
                <a:cubicBezTo>
                  <a:pt x="144344" y="104529"/>
                  <a:pt x="149236" y="99852"/>
                  <a:pt x="156834" y="99124"/>
                </a:cubicBezTo>
                <a:cubicBezTo>
                  <a:pt x="185664" y="96422"/>
                  <a:pt x="214675" y="95331"/>
                  <a:pt x="243700" y="95214"/>
                </a:cubicBezTo>
                <a:close/>
                <a:moveTo>
                  <a:pt x="181420" y="1042"/>
                </a:moveTo>
                <a:cubicBezTo>
                  <a:pt x="237629" y="9457"/>
                  <a:pt x="296648" y="2081"/>
                  <a:pt x="354418" y="8002"/>
                </a:cubicBezTo>
                <a:cubicBezTo>
                  <a:pt x="370135" y="6860"/>
                  <a:pt x="386269" y="7171"/>
                  <a:pt x="396366" y="15898"/>
                </a:cubicBezTo>
                <a:cubicBezTo>
                  <a:pt x="414165" y="31273"/>
                  <a:pt x="412291" y="76049"/>
                  <a:pt x="386998" y="82801"/>
                </a:cubicBezTo>
                <a:cubicBezTo>
                  <a:pt x="371696" y="86853"/>
                  <a:pt x="345362" y="79581"/>
                  <a:pt x="329332" y="78646"/>
                </a:cubicBezTo>
                <a:cubicBezTo>
                  <a:pt x="312053" y="77607"/>
                  <a:pt x="294878" y="76568"/>
                  <a:pt x="277599" y="75529"/>
                </a:cubicBezTo>
                <a:cubicBezTo>
                  <a:pt x="269897" y="75114"/>
                  <a:pt x="261882" y="75010"/>
                  <a:pt x="253763" y="74906"/>
                </a:cubicBezTo>
                <a:cubicBezTo>
                  <a:pt x="252201" y="75114"/>
                  <a:pt x="250536" y="75218"/>
                  <a:pt x="248871" y="75529"/>
                </a:cubicBezTo>
                <a:cubicBezTo>
                  <a:pt x="214625" y="81139"/>
                  <a:pt x="182357" y="83633"/>
                  <a:pt x="148424" y="75529"/>
                </a:cubicBezTo>
                <a:cubicBezTo>
                  <a:pt x="142387" y="74075"/>
                  <a:pt x="139680" y="68673"/>
                  <a:pt x="139680" y="63167"/>
                </a:cubicBezTo>
                <a:cubicBezTo>
                  <a:pt x="138640" y="61608"/>
                  <a:pt x="137599" y="60154"/>
                  <a:pt x="137286" y="57972"/>
                </a:cubicBezTo>
                <a:cubicBezTo>
                  <a:pt x="136974" y="56830"/>
                  <a:pt x="136974" y="55583"/>
                  <a:pt x="136766" y="54440"/>
                </a:cubicBezTo>
                <a:cubicBezTo>
                  <a:pt x="134684" y="52258"/>
                  <a:pt x="133123" y="49557"/>
                  <a:pt x="132915" y="45817"/>
                </a:cubicBezTo>
                <a:cubicBezTo>
                  <a:pt x="132186" y="34494"/>
                  <a:pt x="132290" y="33247"/>
                  <a:pt x="135101" y="24417"/>
                </a:cubicBezTo>
                <a:cubicBezTo>
                  <a:pt x="140201" y="4262"/>
                  <a:pt x="155086" y="-2906"/>
                  <a:pt x="181420" y="1042"/>
                </a:cubicBezTo>
                <a:close/>
              </a:path>
            </a:pathLst>
          </a:cu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34" name="椭圆 33">
            <a:extLst>
              <a:ext uri="{FF2B5EF4-FFF2-40B4-BE49-F238E27FC236}">
                <a16:creationId xmlns:a16="http://schemas.microsoft.com/office/drawing/2014/main" id="{60375E96-0BAF-403A-BEB5-D5E7EC9C367D}"/>
              </a:ext>
            </a:extLst>
          </p:cNvPr>
          <p:cNvSpPr/>
          <p:nvPr/>
        </p:nvSpPr>
        <p:spPr>
          <a:xfrm>
            <a:off x="6967897" y="2476277"/>
            <a:ext cx="768622" cy="768622"/>
          </a:xfrm>
          <a:prstGeom prst="ellipse">
            <a:avLst/>
          </a:prstGeom>
          <a:noFill/>
          <a:ln w="12700">
            <a:solidFill>
              <a:schemeClr val="bg1">
                <a:lumMod val="6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35" name="椭圆 34">
            <a:extLst>
              <a:ext uri="{FF2B5EF4-FFF2-40B4-BE49-F238E27FC236}">
                <a16:creationId xmlns:a16="http://schemas.microsoft.com/office/drawing/2014/main" id="{2ACF0BFE-FDFC-4596-AD74-F352D22775B4}"/>
              </a:ext>
            </a:extLst>
          </p:cNvPr>
          <p:cNvSpPr/>
          <p:nvPr/>
        </p:nvSpPr>
        <p:spPr>
          <a:xfrm>
            <a:off x="7038959" y="2547339"/>
            <a:ext cx="626499" cy="626499"/>
          </a:xfrm>
          <a:prstGeom prst="ellipse">
            <a:avLst/>
          </a:prstGeom>
          <a:solidFill>
            <a:schemeClr val="accent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36" name="任意多边形: 形状 35">
            <a:extLst>
              <a:ext uri="{FF2B5EF4-FFF2-40B4-BE49-F238E27FC236}">
                <a16:creationId xmlns:a16="http://schemas.microsoft.com/office/drawing/2014/main" id="{FD644A78-2131-4A8F-9FAA-EC9F3DB37745}"/>
              </a:ext>
            </a:extLst>
          </p:cNvPr>
          <p:cNvSpPr/>
          <p:nvPr/>
        </p:nvSpPr>
        <p:spPr>
          <a:xfrm>
            <a:off x="7159542" y="2668214"/>
            <a:ext cx="385331" cy="384749"/>
          </a:xfrm>
          <a:custGeom>
            <a:avLst/>
            <a:gdLst>
              <a:gd name="connsiteX0" fmla="*/ 298447 w 606933"/>
              <a:gd name="connsiteY0" fmla="*/ 207674 h 606016"/>
              <a:gd name="connsiteX1" fmla="*/ 303628 w 606933"/>
              <a:gd name="connsiteY1" fmla="*/ 207674 h 606016"/>
              <a:gd name="connsiteX2" fmla="*/ 315496 w 606933"/>
              <a:gd name="connsiteY2" fmla="*/ 219620 h 606016"/>
              <a:gd name="connsiteX3" fmla="*/ 323973 w 606933"/>
              <a:gd name="connsiteY3" fmla="*/ 229403 h 606016"/>
              <a:gd name="connsiteX4" fmla="*/ 342435 w 606933"/>
              <a:gd name="connsiteY4" fmla="*/ 234859 h 606016"/>
              <a:gd name="connsiteX5" fmla="*/ 345920 w 606933"/>
              <a:gd name="connsiteY5" fmla="*/ 242007 h 606016"/>
              <a:gd name="connsiteX6" fmla="*/ 341399 w 606933"/>
              <a:gd name="connsiteY6" fmla="*/ 257434 h 606016"/>
              <a:gd name="connsiteX7" fmla="*/ 333769 w 606933"/>
              <a:gd name="connsiteY7" fmla="*/ 260726 h 606016"/>
              <a:gd name="connsiteX8" fmla="*/ 304476 w 606933"/>
              <a:gd name="connsiteY8" fmla="*/ 254988 h 606016"/>
              <a:gd name="connsiteX9" fmla="*/ 296658 w 606933"/>
              <a:gd name="connsiteY9" fmla="*/ 256587 h 606016"/>
              <a:gd name="connsiteX10" fmla="*/ 293926 w 606933"/>
              <a:gd name="connsiteY10" fmla="*/ 276247 h 606016"/>
              <a:gd name="connsiteX11" fmla="*/ 306642 w 606933"/>
              <a:gd name="connsiteY11" fmla="*/ 283396 h 606016"/>
              <a:gd name="connsiteX12" fmla="*/ 329813 w 606933"/>
              <a:gd name="connsiteY12" fmla="*/ 293931 h 606016"/>
              <a:gd name="connsiteX13" fmla="*/ 343565 w 606933"/>
              <a:gd name="connsiteY13" fmla="*/ 356954 h 606016"/>
              <a:gd name="connsiteX14" fmla="*/ 320394 w 606933"/>
              <a:gd name="connsiteY14" fmla="*/ 371722 h 606016"/>
              <a:gd name="connsiteX15" fmla="*/ 314742 w 606933"/>
              <a:gd name="connsiteY15" fmla="*/ 379153 h 606016"/>
              <a:gd name="connsiteX16" fmla="*/ 314742 w 606933"/>
              <a:gd name="connsiteY16" fmla="*/ 391381 h 606016"/>
              <a:gd name="connsiteX17" fmla="*/ 309279 w 606933"/>
              <a:gd name="connsiteY17" fmla="*/ 397025 h 606016"/>
              <a:gd name="connsiteX18" fmla="*/ 296093 w 606933"/>
              <a:gd name="connsiteY18" fmla="*/ 397025 h 606016"/>
              <a:gd name="connsiteX19" fmla="*/ 290253 w 606933"/>
              <a:gd name="connsiteY19" fmla="*/ 391005 h 606016"/>
              <a:gd name="connsiteX20" fmla="*/ 290158 w 606933"/>
              <a:gd name="connsiteY20" fmla="*/ 382163 h 606016"/>
              <a:gd name="connsiteX21" fmla="*/ 283471 w 606933"/>
              <a:gd name="connsiteY21" fmla="*/ 374261 h 606016"/>
              <a:gd name="connsiteX22" fmla="*/ 260017 w 606933"/>
              <a:gd name="connsiteY22" fmla="*/ 367489 h 606016"/>
              <a:gd name="connsiteX23" fmla="*/ 255214 w 606933"/>
              <a:gd name="connsiteY23" fmla="*/ 357048 h 606016"/>
              <a:gd name="connsiteX24" fmla="*/ 259170 w 606933"/>
              <a:gd name="connsiteY24" fmla="*/ 343502 h 606016"/>
              <a:gd name="connsiteX25" fmla="*/ 267082 w 606933"/>
              <a:gd name="connsiteY25" fmla="*/ 340116 h 606016"/>
              <a:gd name="connsiteX26" fmla="*/ 293173 w 606933"/>
              <a:gd name="connsiteY26" fmla="*/ 347923 h 606016"/>
              <a:gd name="connsiteX27" fmla="*/ 310221 w 606933"/>
              <a:gd name="connsiteY27" fmla="*/ 345666 h 606016"/>
              <a:gd name="connsiteX28" fmla="*/ 313424 w 606933"/>
              <a:gd name="connsiteY28" fmla="*/ 322338 h 606016"/>
              <a:gd name="connsiteX29" fmla="*/ 303628 w 606933"/>
              <a:gd name="connsiteY29" fmla="*/ 316506 h 606016"/>
              <a:gd name="connsiteX30" fmla="*/ 276972 w 606933"/>
              <a:gd name="connsiteY30" fmla="*/ 304654 h 606016"/>
              <a:gd name="connsiteX31" fmla="*/ 255590 w 606933"/>
              <a:gd name="connsiteY31" fmla="*/ 268627 h 606016"/>
              <a:gd name="connsiteX32" fmla="*/ 284601 w 606933"/>
              <a:gd name="connsiteY32" fmla="*/ 231848 h 606016"/>
              <a:gd name="connsiteX33" fmla="*/ 291760 w 606933"/>
              <a:gd name="connsiteY33" fmla="*/ 221972 h 606016"/>
              <a:gd name="connsiteX34" fmla="*/ 291760 w 606933"/>
              <a:gd name="connsiteY34" fmla="*/ 214447 h 606016"/>
              <a:gd name="connsiteX35" fmla="*/ 298447 w 606933"/>
              <a:gd name="connsiteY35" fmla="*/ 207674 h 606016"/>
              <a:gd name="connsiteX36" fmla="*/ 303420 w 606933"/>
              <a:gd name="connsiteY36" fmla="*/ 180121 h 606016"/>
              <a:gd name="connsiteX37" fmla="*/ 180864 w 606933"/>
              <a:gd name="connsiteY37" fmla="*/ 302491 h 606016"/>
              <a:gd name="connsiteX38" fmla="*/ 303420 w 606933"/>
              <a:gd name="connsiteY38" fmla="*/ 424860 h 606016"/>
              <a:gd name="connsiteX39" fmla="*/ 426069 w 606933"/>
              <a:gd name="connsiteY39" fmla="*/ 302491 h 606016"/>
              <a:gd name="connsiteX40" fmla="*/ 303420 w 606933"/>
              <a:gd name="connsiteY40" fmla="*/ 180121 h 606016"/>
              <a:gd name="connsiteX41" fmla="*/ 303420 w 606933"/>
              <a:gd name="connsiteY41" fmla="*/ 0 h 606016"/>
              <a:gd name="connsiteX42" fmla="*/ 356360 w 606933"/>
              <a:gd name="connsiteY42" fmla="*/ 52767 h 606016"/>
              <a:gd name="connsiteX43" fmla="*/ 321695 w 606933"/>
              <a:gd name="connsiteY43" fmla="*/ 102335 h 606016"/>
              <a:gd name="connsiteX44" fmla="*/ 321695 w 606933"/>
              <a:gd name="connsiteY44" fmla="*/ 149364 h 606016"/>
              <a:gd name="connsiteX45" fmla="*/ 399316 w 606933"/>
              <a:gd name="connsiteY45" fmla="*/ 181626 h 606016"/>
              <a:gd name="connsiteX46" fmla="*/ 405815 w 606933"/>
              <a:gd name="connsiteY46" fmla="*/ 175042 h 606016"/>
              <a:gd name="connsiteX47" fmla="*/ 432851 w 606933"/>
              <a:gd name="connsiteY47" fmla="*/ 148141 h 606016"/>
              <a:gd name="connsiteX48" fmla="*/ 443401 w 606933"/>
              <a:gd name="connsiteY48" fmla="*/ 88791 h 606016"/>
              <a:gd name="connsiteX49" fmla="*/ 518008 w 606933"/>
              <a:gd name="connsiteY49" fmla="*/ 88791 h 606016"/>
              <a:gd name="connsiteX50" fmla="*/ 518008 w 606933"/>
              <a:gd name="connsiteY50" fmla="*/ 163285 h 606016"/>
              <a:gd name="connsiteX51" fmla="*/ 458568 w 606933"/>
              <a:gd name="connsiteY51" fmla="*/ 173819 h 606016"/>
              <a:gd name="connsiteX52" fmla="*/ 425032 w 606933"/>
              <a:gd name="connsiteY52" fmla="*/ 207304 h 606016"/>
              <a:gd name="connsiteX53" fmla="*/ 457343 w 606933"/>
              <a:gd name="connsiteY53" fmla="*/ 287818 h 606016"/>
              <a:gd name="connsiteX54" fmla="*/ 503407 w 606933"/>
              <a:gd name="connsiteY54" fmla="*/ 287818 h 606016"/>
              <a:gd name="connsiteX55" fmla="*/ 553993 w 606933"/>
              <a:gd name="connsiteY55" fmla="*/ 250194 h 606016"/>
              <a:gd name="connsiteX56" fmla="*/ 606933 w 606933"/>
              <a:gd name="connsiteY56" fmla="*/ 302961 h 606016"/>
              <a:gd name="connsiteX57" fmla="*/ 553993 w 606933"/>
              <a:gd name="connsiteY57" fmla="*/ 355822 h 606016"/>
              <a:gd name="connsiteX58" fmla="*/ 505668 w 606933"/>
              <a:gd name="connsiteY58" fmla="*/ 324312 h 606016"/>
              <a:gd name="connsiteX59" fmla="*/ 456589 w 606933"/>
              <a:gd name="connsiteY59" fmla="*/ 324312 h 606016"/>
              <a:gd name="connsiteX60" fmla="*/ 424656 w 606933"/>
              <a:gd name="connsiteY60" fmla="*/ 398336 h 606016"/>
              <a:gd name="connsiteX61" fmla="*/ 458473 w 606933"/>
              <a:gd name="connsiteY61" fmla="*/ 432009 h 606016"/>
              <a:gd name="connsiteX62" fmla="*/ 480705 w 606933"/>
              <a:gd name="connsiteY62" fmla="*/ 427118 h 606016"/>
              <a:gd name="connsiteX63" fmla="*/ 533645 w 606933"/>
              <a:gd name="connsiteY63" fmla="*/ 480072 h 606016"/>
              <a:gd name="connsiteX64" fmla="*/ 480799 w 606933"/>
              <a:gd name="connsiteY64" fmla="*/ 532839 h 606016"/>
              <a:gd name="connsiteX65" fmla="*/ 427953 w 606933"/>
              <a:gd name="connsiteY65" fmla="*/ 480072 h 606016"/>
              <a:gd name="connsiteX66" fmla="*/ 432851 w 606933"/>
              <a:gd name="connsiteY66" fmla="*/ 457875 h 606016"/>
              <a:gd name="connsiteX67" fmla="*/ 398939 w 606933"/>
              <a:gd name="connsiteY67" fmla="*/ 424014 h 606016"/>
              <a:gd name="connsiteX68" fmla="*/ 321789 w 606933"/>
              <a:gd name="connsiteY68" fmla="*/ 455899 h 606016"/>
              <a:gd name="connsiteX69" fmla="*/ 321789 w 606933"/>
              <a:gd name="connsiteY69" fmla="*/ 466904 h 606016"/>
              <a:gd name="connsiteX70" fmla="*/ 321789 w 606933"/>
              <a:gd name="connsiteY70" fmla="*/ 503681 h 606016"/>
              <a:gd name="connsiteX71" fmla="*/ 356454 w 606933"/>
              <a:gd name="connsiteY71" fmla="*/ 553155 h 606016"/>
              <a:gd name="connsiteX72" fmla="*/ 303608 w 606933"/>
              <a:gd name="connsiteY72" fmla="*/ 606016 h 606016"/>
              <a:gd name="connsiteX73" fmla="*/ 250667 w 606933"/>
              <a:gd name="connsiteY73" fmla="*/ 553155 h 606016"/>
              <a:gd name="connsiteX74" fmla="*/ 285333 w 606933"/>
              <a:gd name="connsiteY74" fmla="*/ 503681 h 606016"/>
              <a:gd name="connsiteX75" fmla="*/ 285333 w 606933"/>
              <a:gd name="connsiteY75" fmla="*/ 466810 h 606016"/>
              <a:gd name="connsiteX76" fmla="*/ 285333 w 606933"/>
              <a:gd name="connsiteY76" fmla="*/ 455711 h 606016"/>
              <a:gd name="connsiteX77" fmla="*/ 208277 w 606933"/>
              <a:gd name="connsiteY77" fmla="*/ 423920 h 606016"/>
              <a:gd name="connsiteX78" fmla="*/ 174365 w 606933"/>
              <a:gd name="connsiteY78" fmla="*/ 457781 h 606016"/>
              <a:gd name="connsiteX79" fmla="*/ 179263 w 606933"/>
              <a:gd name="connsiteY79" fmla="*/ 479978 h 606016"/>
              <a:gd name="connsiteX80" fmla="*/ 126322 w 606933"/>
              <a:gd name="connsiteY80" fmla="*/ 532745 h 606016"/>
              <a:gd name="connsiteX81" fmla="*/ 73476 w 606933"/>
              <a:gd name="connsiteY81" fmla="*/ 479978 h 606016"/>
              <a:gd name="connsiteX82" fmla="*/ 126322 w 606933"/>
              <a:gd name="connsiteY82" fmla="*/ 427118 h 606016"/>
              <a:gd name="connsiteX83" fmla="*/ 148554 w 606933"/>
              <a:gd name="connsiteY83" fmla="*/ 432009 h 606016"/>
              <a:gd name="connsiteX84" fmla="*/ 182372 w 606933"/>
              <a:gd name="connsiteY84" fmla="*/ 398336 h 606016"/>
              <a:gd name="connsiteX85" fmla="*/ 150438 w 606933"/>
              <a:gd name="connsiteY85" fmla="*/ 324312 h 606016"/>
              <a:gd name="connsiteX86" fmla="*/ 102490 w 606933"/>
              <a:gd name="connsiteY86" fmla="*/ 324312 h 606016"/>
              <a:gd name="connsiteX87" fmla="*/ 52846 w 606933"/>
              <a:gd name="connsiteY87" fmla="*/ 358926 h 606016"/>
              <a:gd name="connsiteX88" fmla="*/ 0 w 606933"/>
              <a:gd name="connsiteY88" fmla="*/ 306159 h 606016"/>
              <a:gd name="connsiteX89" fmla="*/ 52846 w 606933"/>
              <a:gd name="connsiteY89" fmla="*/ 253298 h 606016"/>
              <a:gd name="connsiteX90" fmla="*/ 102490 w 606933"/>
              <a:gd name="connsiteY90" fmla="*/ 287818 h 606016"/>
              <a:gd name="connsiteX91" fmla="*/ 149590 w 606933"/>
              <a:gd name="connsiteY91" fmla="*/ 287818 h 606016"/>
              <a:gd name="connsiteX92" fmla="*/ 181901 w 606933"/>
              <a:gd name="connsiteY92" fmla="*/ 207304 h 606016"/>
              <a:gd name="connsiteX93" fmla="*/ 148460 w 606933"/>
              <a:gd name="connsiteY93" fmla="*/ 173913 h 606016"/>
              <a:gd name="connsiteX94" fmla="*/ 126228 w 606933"/>
              <a:gd name="connsiteY94" fmla="*/ 178804 h 606016"/>
              <a:gd name="connsiteX95" fmla="*/ 73382 w 606933"/>
              <a:gd name="connsiteY95" fmla="*/ 126038 h 606016"/>
              <a:gd name="connsiteX96" fmla="*/ 126228 w 606933"/>
              <a:gd name="connsiteY96" fmla="*/ 73271 h 606016"/>
              <a:gd name="connsiteX97" fmla="*/ 179075 w 606933"/>
              <a:gd name="connsiteY97" fmla="*/ 126038 h 606016"/>
              <a:gd name="connsiteX98" fmla="*/ 174176 w 606933"/>
              <a:gd name="connsiteY98" fmla="*/ 148235 h 606016"/>
              <a:gd name="connsiteX99" fmla="*/ 207617 w 606933"/>
              <a:gd name="connsiteY99" fmla="*/ 181626 h 606016"/>
              <a:gd name="connsiteX100" fmla="*/ 285239 w 606933"/>
              <a:gd name="connsiteY100" fmla="*/ 149364 h 606016"/>
              <a:gd name="connsiteX101" fmla="*/ 285239 w 606933"/>
              <a:gd name="connsiteY101" fmla="*/ 102335 h 606016"/>
              <a:gd name="connsiteX102" fmla="*/ 250573 w 606933"/>
              <a:gd name="connsiteY102" fmla="*/ 52767 h 606016"/>
              <a:gd name="connsiteX103" fmla="*/ 303420 w 606933"/>
              <a:gd name="connsiteY103" fmla="*/ 0 h 606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</a:cxnLst>
            <a:rect l="l" t="t" r="r" b="b"/>
            <a:pathLst>
              <a:path w="606933" h="606016">
                <a:moveTo>
                  <a:pt x="298447" y="207674"/>
                </a:moveTo>
                <a:lnTo>
                  <a:pt x="303628" y="207674"/>
                </a:lnTo>
                <a:cubicBezTo>
                  <a:pt x="315496" y="207674"/>
                  <a:pt x="315496" y="207674"/>
                  <a:pt x="315496" y="219620"/>
                </a:cubicBezTo>
                <a:cubicBezTo>
                  <a:pt x="315496" y="227992"/>
                  <a:pt x="315496" y="228086"/>
                  <a:pt x="323973" y="229403"/>
                </a:cubicBezTo>
                <a:cubicBezTo>
                  <a:pt x="330378" y="230343"/>
                  <a:pt x="336501" y="232225"/>
                  <a:pt x="342435" y="234859"/>
                </a:cubicBezTo>
                <a:cubicBezTo>
                  <a:pt x="345637" y="236269"/>
                  <a:pt x="346956" y="238621"/>
                  <a:pt x="345920" y="242007"/>
                </a:cubicBezTo>
                <a:cubicBezTo>
                  <a:pt x="344413" y="247181"/>
                  <a:pt x="343000" y="252354"/>
                  <a:pt x="341399" y="257434"/>
                </a:cubicBezTo>
                <a:cubicBezTo>
                  <a:pt x="339891" y="262231"/>
                  <a:pt x="338384" y="262984"/>
                  <a:pt x="333769" y="260726"/>
                </a:cubicBezTo>
                <a:cubicBezTo>
                  <a:pt x="324444" y="256211"/>
                  <a:pt x="314742" y="254424"/>
                  <a:pt x="304476" y="254988"/>
                </a:cubicBezTo>
                <a:cubicBezTo>
                  <a:pt x="301838" y="255082"/>
                  <a:pt x="299201" y="255459"/>
                  <a:pt x="296658" y="256587"/>
                </a:cubicBezTo>
                <a:cubicBezTo>
                  <a:pt x="287804" y="260444"/>
                  <a:pt x="286391" y="270227"/>
                  <a:pt x="293926" y="276247"/>
                </a:cubicBezTo>
                <a:cubicBezTo>
                  <a:pt x="297694" y="279257"/>
                  <a:pt x="302121" y="281514"/>
                  <a:pt x="306642" y="283396"/>
                </a:cubicBezTo>
                <a:cubicBezTo>
                  <a:pt x="314554" y="286688"/>
                  <a:pt x="322466" y="289792"/>
                  <a:pt x="329813" y="293931"/>
                </a:cubicBezTo>
                <a:cubicBezTo>
                  <a:pt x="353549" y="307006"/>
                  <a:pt x="359954" y="336824"/>
                  <a:pt x="343565" y="356954"/>
                </a:cubicBezTo>
                <a:cubicBezTo>
                  <a:pt x="337537" y="364291"/>
                  <a:pt x="329625" y="369182"/>
                  <a:pt x="320394" y="371722"/>
                </a:cubicBezTo>
                <a:cubicBezTo>
                  <a:pt x="316438" y="372850"/>
                  <a:pt x="314648" y="375014"/>
                  <a:pt x="314742" y="379153"/>
                </a:cubicBezTo>
                <a:cubicBezTo>
                  <a:pt x="315025" y="383292"/>
                  <a:pt x="314742" y="387242"/>
                  <a:pt x="314742" y="391381"/>
                </a:cubicBezTo>
                <a:cubicBezTo>
                  <a:pt x="314648" y="395050"/>
                  <a:pt x="312859" y="396931"/>
                  <a:pt x="309279" y="397025"/>
                </a:cubicBezTo>
                <a:cubicBezTo>
                  <a:pt x="304852" y="397213"/>
                  <a:pt x="300425" y="397213"/>
                  <a:pt x="296093" y="397025"/>
                </a:cubicBezTo>
                <a:cubicBezTo>
                  <a:pt x="292136" y="396931"/>
                  <a:pt x="290253" y="394767"/>
                  <a:pt x="290253" y="391005"/>
                </a:cubicBezTo>
                <a:cubicBezTo>
                  <a:pt x="290158" y="388183"/>
                  <a:pt x="290158" y="385173"/>
                  <a:pt x="290158" y="382163"/>
                </a:cubicBezTo>
                <a:cubicBezTo>
                  <a:pt x="290064" y="375484"/>
                  <a:pt x="289876" y="375202"/>
                  <a:pt x="283471" y="374261"/>
                </a:cubicBezTo>
                <a:cubicBezTo>
                  <a:pt x="275465" y="372850"/>
                  <a:pt x="267458" y="371063"/>
                  <a:pt x="260017" y="367489"/>
                </a:cubicBezTo>
                <a:cubicBezTo>
                  <a:pt x="254083" y="364573"/>
                  <a:pt x="253612" y="363162"/>
                  <a:pt x="255214" y="357048"/>
                </a:cubicBezTo>
                <a:cubicBezTo>
                  <a:pt x="256532" y="352533"/>
                  <a:pt x="257757" y="348018"/>
                  <a:pt x="259170" y="343502"/>
                </a:cubicBezTo>
                <a:cubicBezTo>
                  <a:pt x="260771" y="338235"/>
                  <a:pt x="262278" y="337576"/>
                  <a:pt x="267082" y="340116"/>
                </a:cubicBezTo>
                <a:cubicBezTo>
                  <a:pt x="275370" y="344349"/>
                  <a:pt x="284036" y="346795"/>
                  <a:pt x="293173" y="347923"/>
                </a:cubicBezTo>
                <a:cubicBezTo>
                  <a:pt x="299107" y="348676"/>
                  <a:pt x="304852" y="348018"/>
                  <a:pt x="310221" y="345666"/>
                </a:cubicBezTo>
                <a:cubicBezTo>
                  <a:pt x="320394" y="341151"/>
                  <a:pt x="322089" y="329299"/>
                  <a:pt x="313424" y="322338"/>
                </a:cubicBezTo>
                <a:cubicBezTo>
                  <a:pt x="310410" y="319798"/>
                  <a:pt x="307113" y="318011"/>
                  <a:pt x="303628" y="316506"/>
                </a:cubicBezTo>
                <a:cubicBezTo>
                  <a:pt x="294680" y="312649"/>
                  <a:pt x="285355" y="309639"/>
                  <a:pt x="276972" y="304654"/>
                </a:cubicBezTo>
                <a:cubicBezTo>
                  <a:pt x="263314" y="296470"/>
                  <a:pt x="254648" y="285277"/>
                  <a:pt x="255590" y="268627"/>
                </a:cubicBezTo>
                <a:cubicBezTo>
                  <a:pt x="256721" y="249815"/>
                  <a:pt x="267458" y="238151"/>
                  <a:pt x="284601" y="231848"/>
                </a:cubicBezTo>
                <a:cubicBezTo>
                  <a:pt x="291666" y="229215"/>
                  <a:pt x="291760" y="229403"/>
                  <a:pt x="291760" y="221972"/>
                </a:cubicBezTo>
                <a:cubicBezTo>
                  <a:pt x="291760" y="219432"/>
                  <a:pt x="291666" y="216986"/>
                  <a:pt x="291760" y="214447"/>
                </a:cubicBezTo>
                <a:cubicBezTo>
                  <a:pt x="291948" y="208803"/>
                  <a:pt x="292890" y="207768"/>
                  <a:pt x="298447" y="207674"/>
                </a:cubicBezTo>
                <a:close/>
                <a:moveTo>
                  <a:pt x="303420" y="180121"/>
                </a:moveTo>
                <a:cubicBezTo>
                  <a:pt x="235877" y="180121"/>
                  <a:pt x="180864" y="235051"/>
                  <a:pt x="180864" y="302491"/>
                </a:cubicBezTo>
                <a:cubicBezTo>
                  <a:pt x="180864" y="369930"/>
                  <a:pt x="235877" y="424860"/>
                  <a:pt x="303420" y="424860"/>
                </a:cubicBezTo>
                <a:cubicBezTo>
                  <a:pt x="371056" y="424860"/>
                  <a:pt x="426069" y="370118"/>
                  <a:pt x="426069" y="302491"/>
                </a:cubicBezTo>
                <a:cubicBezTo>
                  <a:pt x="426069" y="235051"/>
                  <a:pt x="371056" y="180121"/>
                  <a:pt x="303420" y="180121"/>
                </a:cubicBezTo>
                <a:close/>
                <a:moveTo>
                  <a:pt x="303420" y="0"/>
                </a:moveTo>
                <a:cubicBezTo>
                  <a:pt x="332716" y="0"/>
                  <a:pt x="356360" y="23703"/>
                  <a:pt x="356360" y="52767"/>
                </a:cubicBezTo>
                <a:cubicBezTo>
                  <a:pt x="356360" y="75529"/>
                  <a:pt x="341853" y="94905"/>
                  <a:pt x="321695" y="102335"/>
                </a:cubicBezTo>
                <a:lnTo>
                  <a:pt x="321695" y="149364"/>
                </a:lnTo>
                <a:cubicBezTo>
                  <a:pt x="350802" y="152750"/>
                  <a:pt x="377461" y="164319"/>
                  <a:pt x="399316" y="181626"/>
                </a:cubicBezTo>
                <a:lnTo>
                  <a:pt x="405815" y="175042"/>
                </a:lnTo>
                <a:lnTo>
                  <a:pt x="432851" y="148141"/>
                </a:lnTo>
                <a:cubicBezTo>
                  <a:pt x="423808" y="128671"/>
                  <a:pt x="427293" y="104875"/>
                  <a:pt x="443401" y="88791"/>
                </a:cubicBezTo>
                <a:cubicBezTo>
                  <a:pt x="463937" y="68192"/>
                  <a:pt x="497378" y="68192"/>
                  <a:pt x="518008" y="88791"/>
                </a:cubicBezTo>
                <a:cubicBezTo>
                  <a:pt x="538544" y="109390"/>
                  <a:pt x="538544" y="142686"/>
                  <a:pt x="518008" y="163285"/>
                </a:cubicBezTo>
                <a:cubicBezTo>
                  <a:pt x="501900" y="179369"/>
                  <a:pt x="478067" y="182849"/>
                  <a:pt x="458568" y="173819"/>
                </a:cubicBezTo>
                <a:lnTo>
                  <a:pt x="425032" y="207304"/>
                </a:lnTo>
                <a:cubicBezTo>
                  <a:pt x="442836" y="229972"/>
                  <a:pt x="454423" y="257625"/>
                  <a:pt x="457343" y="287818"/>
                </a:cubicBezTo>
                <a:lnTo>
                  <a:pt x="503407" y="287818"/>
                </a:lnTo>
                <a:cubicBezTo>
                  <a:pt x="509907" y="265996"/>
                  <a:pt x="530160" y="250194"/>
                  <a:pt x="553993" y="250194"/>
                </a:cubicBezTo>
                <a:cubicBezTo>
                  <a:pt x="583195" y="250194"/>
                  <a:pt x="606933" y="273803"/>
                  <a:pt x="606933" y="302961"/>
                </a:cubicBezTo>
                <a:cubicBezTo>
                  <a:pt x="606933" y="332213"/>
                  <a:pt x="583195" y="355822"/>
                  <a:pt x="553993" y="355822"/>
                </a:cubicBezTo>
                <a:cubicBezTo>
                  <a:pt x="532421" y="355822"/>
                  <a:pt x="513863" y="342842"/>
                  <a:pt x="505668" y="324312"/>
                </a:cubicBezTo>
                <a:lnTo>
                  <a:pt x="456589" y="324312"/>
                </a:lnTo>
                <a:cubicBezTo>
                  <a:pt x="452539" y="352059"/>
                  <a:pt x="441235" y="377361"/>
                  <a:pt x="424656" y="398336"/>
                </a:cubicBezTo>
                <a:lnTo>
                  <a:pt x="458473" y="432009"/>
                </a:lnTo>
                <a:cubicBezTo>
                  <a:pt x="465256" y="428905"/>
                  <a:pt x="472792" y="427118"/>
                  <a:pt x="480705" y="427118"/>
                </a:cubicBezTo>
                <a:cubicBezTo>
                  <a:pt x="509813" y="427118"/>
                  <a:pt x="533645" y="450820"/>
                  <a:pt x="533645" y="480072"/>
                </a:cubicBezTo>
                <a:cubicBezTo>
                  <a:pt x="533645" y="509324"/>
                  <a:pt x="509907" y="532839"/>
                  <a:pt x="480799" y="532839"/>
                </a:cubicBezTo>
                <a:cubicBezTo>
                  <a:pt x="451503" y="532839"/>
                  <a:pt x="427953" y="509136"/>
                  <a:pt x="427953" y="480072"/>
                </a:cubicBezTo>
                <a:cubicBezTo>
                  <a:pt x="427953" y="472077"/>
                  <a:pt x="429648" y="464647"/>
                  <a:pt x="432851" y="457875"/>
                </a:cubicBezTo>
                <a:lnTo>
                  <a:pt x="398939" y="424014"/>
                </a:lnTo>
                <a:cubicBezTo>
                  <a:pt x="377179" y="441038"/>
                  <a:pt x="350708" y="452513"/>
                  <a:pt x="321789" y="455899"/>
                </a:cubicBezTo>
                <a:lnTo>
                  <a:pt x="321789" y="466904"/>
                </a:lnTo>
                <a:lnTo>
                  <a:pt x="321789" y="503681"/>
                </a:lnTo>
                <a:cubicBezTo>
                  <a:pt x="342042" y="511017"/>
                  <a:pt x="356454" y="530487"/>
                  <a:pt x="356454" y="553155"/>
                </a:cubicBezTo>
                <a:cubicBezTo>
                  <a:pt x="356454" y="582407"/>
                  <a:pt x="332716" y="606016"/>
                  <a:pt x="303608" y="606016"/>
                </a:cubicBezTo>
                <a:cubicBezTo>
                  <a:pt x="274312" y="606016"/>
                  <a:pt x="250667" y="582313"/>
                  <a:pt x="250667" y="553155"/>
                </a:cubicBezTo>
                <a:cubicBezTo>
                  <a:pt x="250667" y="530487"/>
                  <a:pt x="265174" y="511017"/>
                  <a:pt x="285333" y="503681"/>
                </a:cubicBezTo>
                <a:lnTo>
                  <a:pt x="285333" y="466810"/>
                </a:lnTo>
                <a:lnTo>
                  <a:pt x="285333" y="455711"/>
                </a:lnTo>
                <a:cubicBezTo>
                  <a:pt x="256508" y="452325"/>
                  <a:pt x="229943" y="440944"/>
                  <a:pt x="208277" y="423920"/>
                </a:cubicBezTo>
                <a:lnTo>
                  <a:pt x="174365" y="457781"/>
                </a:lnTo>
                <a:cubicBezTo>
                  <a:pt x="177473" y="464553"/>
                  <a:pt x="179263" y="472077"/>
                  <a:pt x="179263" y="479978"/>
                </a:cubicBezTo>
                <a:cubicBezTo>
                  <a:pt x="179263" y="509136"/>
                  <a:pt x="155525" y="532745"/>
                  <a:pt x="126322" y="532745"/>
                </a:cubicBezTo>
                <a:cubicBezTo>
                  <a:pt x="97120" y="532745"/>
                  <a:pt x="73476" y="509136"/>
                  <a:pt x="73476" y="479978"/>
                </a:cubicBezTo>
                <a:cubicBezTo>
                  <a:pt x="73476" y="450726"/>
                  <a:pt x="97215" y="427118"/>
                  <a:pt x="126322" y="427118"/>
                </a:cubicBezTo>
                <a:cubicBezTo>
                  <a:pt x="134424" y="427118"/>
                  <a:pt x="141771" y="428905"/>
                  <a:pt x="148554" y="432009"/>
                </a:cubicBezTo>
                <a:lnTo>
                  <a:pt x="182372" y="398336"/>
                </a:lnTo>
                <a:cubicBezTo>
                  <a:pt x="165698" y="377361"/>
                  <a:pt x="154394" y="352059"/>
                  <a:pt x="150438" y="324312"/>
                </a:cubicBezTo>
                <a:lnTo>
                  <a:pt x="102490" y="324312"/>
                </a:lnTo>
                <a:cubicBezTo>
                  <a:pt x="95048" y="344535"/>
                  <a:pt x="75643" y="358926"/>
                  <a:pt x="52846" y="358926"/>
                </a:cubicBezTo>
                <a:cubicBezTo>
                  <a:pt x="23644" y="358926"/>
                  <a:pt x="0" y="335223"/>
                  <a:pt x="0" y="306159"/>
                </a:cubicBezTo>
                <a:cubicBezTo>
                  <a:pt x="0" y="276907"/>
                  <a:pt x="23738" y="253298"/>
                  <a:pt x="52846" y="253298"/>
                </a:cubicBezTo>
                <a:cubicBezTo>
                  <a:pt x="75643" y="253298"/>
                  <a:pt x="95048" y="267595"/>
                  <a:pt x="102490" y="287818"/>
                </a:cubicBezTo>
                <a:lnTo>
                  <a:pt x="149590" y="287818"/>
                </a:lnTo>
                <a:cubicBezTo>
                  <a:pt x="152510" y="257625"/>
                  <a:pt x="164003" y="229878"/>
                  <a:pt x="181901" y="207304"/>
                </a:cubicBezTo>
                <a:lnTo>
                  <a:pt x="148460" y="173913"/>
                </a:lnTo>
                <a:cubicBezTo>
                  <a:pt x="141677" y="177111"/>
                  <a:pt x="134141" y="178804"/>
                  <a:pt x="126228" y="178804"/>
                </a:cubicBezTo>
                <a:cubicBezTo>
                  <a:pt x="96932" y="178804"/>
                  <a:pt x="73382" y="155102"/>
                  <a:pt x="73382" y="126038"/>
                </a:cubicBezTo>
                <a:cubicBezTo>
                  <a:pt x="73382" y="96786"/>
                  <a:pt x="97120" y="73271"/>
                  <a:pt x="126228" y="73271"/>
                </a:cubicBezTo>
                <a:cubicBezTo>
                  <a:pt x="155525" y="73271"/>
                  <a:pt x="179075" y="96974"/>
                  <a:pt x="179075" y="126038"/>
                </a:cubicBezTo>
                <a:cubicBezTo>
                  <a:pt x="179075" y="134033"/>
                  <a:pt x="177379" y="141463"/>
                  <a:pt x="174176" y="148235"/>
                </a:cubicBezTo>
                <a:lnTo>
                  <a:pt x="207617" y="181626"/>
                </a:lnTo>
                <a:cubicBezTo>
                  <a:pt x="229472" y="164319"/>
                  <a:pt x="256131" y="152750"/>
                  <a:pt x="285239" y="149364"/>
                </a:cubicBezTo>
                <a:lnTo>
                  <a:pt x="285239" y="102335"/>
                </a:lnTo>
                <a:cubicBezTo>
                  <a:pt x="264986" y="94905"/>
                  <a:pt x="250573" y="75529"/>
                  <a:pt x="250573" y="52767"/>
                </a:cubicBezTo>
                <a:cubicBezTo>
                  <a:pt x="250573" y="23609"/>
                  <a:pt x="274312" y="0"/>
                  <a:pt x="303420" y="0"/>
                </a:cubicBezTo>
                <a:close/>
              </a:path>
            </a:pathLst>
          </a:cu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31" name="椭圆 30">
            <a:extLst>
              <a:ext uri="{FF2B5EF4-FFF2-40B4-BE49-F238E27FC236}">
                <a16:creationId xmlns:a16="http://schemas.microsoft.com/office/drawing/2014/main" id="{E56F7D3C-0396-4ED5-A666-7A7D179DD57E}"/>
              </a:ext>
            </a:extLst>
          </p:cNvPr>
          <p:cNvSpPr/>
          <p:nvPr/>
        </p:nvSpPr>
        <p:spPr>
          <a:xfrm>
            <a:off x="9480311" y="2476277"/>
            <a:ext cx="768622" cy="768622"/>
          </a:xfrm>
          <a:prstGeom prst="ellipse">
            <a:avLst/>
          </a:prstGeom>
          <a:noFill/>
          <a:ln w="12700">
            <a:solidFill>
              <a:schemeClr val="accen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32" name="椭圆 31">
            <a:extLst>
              <a:ext uri="{FF2B5EF4-FFF2-40B4-BE49-F238E27FC236}">
                <a16:creationId xmlns:a16="http://schemas.microsoft.com/office/drawing/2014/main" id="{E4B75FAB-6C9A-4519-AA73-0AF3521B442D}"/>
              </a:ext>
            </a:extLst>
          </p:cNvPr>
          <p:cNvSpPr/>
          <p:nvPr/>
        </p:nvSpPr>
        <p:spPr>
          <a:xfrm>
            <a:off x="9551373" y="2547339"/>
            <a:ext cx="626499" cy="626499"/>
          </a:xfrm>
          <a:prstGeom prst="ellipse">
            <a:avLst/>
          </a:pr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33" name="任意多边形: 形状 32">
            <a:extLst>
              <a:ext uri="{FF2B5EF4-FFF2-40B4-BE49-F238E27FC236}">
                <a16:creationId xmlns:a16="http://schemas.microsoft.com/office/drawing/2014/main" id="{FFB0CF79-B740-41B8-A86F-ED0E83668D1F}"/>
              </a:ext>
            </a:extLst>
          </p:cNvPr>
          <p:cNvSpPr/>
          <p:nvPr/>
        </p:nvSpPr>
        <p:spPr>
          <a:xfrm>
            <a:off x="9671956" y="2682857"/>
            <a:ext cx="385331" cy="355462"/>
          </a:xfrm>
          <a:custGeom>
            <a:avLst/>
            <a:gdLst>
              <a:gd name="connsiteX0" fmla="*/ 381018 w 608549"/>
              <a:gd name="connsiteY0" fmla="*/ 473169 h 561377"/>
              <a:gd name="connsiteX1" fmla="*/ 425157 w 608549"/>
              <a:gd name="connsiteY1" fmla="*/ 517273 h 561377"/>
              <a:gd name="connsiteX2" fmla="*/ 381018 w 608549"/>
              <a:gd name="connsiteY2" fmla="*/ 561377 h 561377"/>
              <a:gd name="connsiteX3" fmla="*/ 336879 w 608549"/>
              <a:gd name="connsiteY3" fmla="*/ 517273 h 561377"/>
              <a:gd name="connsiteX4" fmla="*/ 381018 w 608549"/>
              <a:gd name="connsiteY4" fmla="*/ 473169 h 561377"/>
              <a:gd name="connsiteX5" fmla="*/ 146741 w 608549"/>
              <a:gd name="connsiteY5" fmla="*/ 473169 h 561377"/>
              <a:gd name="connsiteX6" fmla="*/ 190880 w 608549"/>
              <a:gd name="connsiteY6" fmla="*/ 517273 h 561377"/>
              <a:gd name="connsiteX7" fmla="*/ 146741 w 608549"/>
              <a:gd name="connsiteY7" fmla="*/ 561377 h 561377"/>
              <a:gd name="connsiteX8" fmla="*/ 102602 w 608549"/>
              <a:gd name="connsiteY8" fmla="*/ 517273 h 561377"/>
              <a:gd name="connsiteX9" fmla="*/ 146741 w 608549"/>
              <a:gd name="connsiteY9" fmla="*/ 473169 h 561377"/>
              <a:gd name="connsiteX10" fmla="*/ 340091 w 608549"/>
              <a:gd name="connsiteY10" fmla="*/ 405920 h 561377"/>
              <a:gd name="connsiteX11" fmla="*/ 445268 w 608549"/>
              <a:gd name="connsiteY11" fmla="*/ 405920 h 561377"/>
              <a:gd name="connsiteX12" fmla="*/ 431622 w 608549"/>
              <a:gd name="connsiteY12" fmla="*/ 458350 h 561377"/>
              <a:gd name="connsiteX13" fmla="*/ 335821 w 608549"/>
              <a:gd name="connsiteY13" fmla="*/ 458350 h 561377"/>
              <a:gd name="connsiteX14" fmla="*/ 204428 w 608549"/>
              <a:gd name="connsiteY14" fmla="*/ 405920 h 561377"/>
              <a:gd name="connsiteX15" fmla="*/ 323260 w 608549"/>
              <a:gd name="connsiteY15" fmla="*/ 405920 h 561377"/>
              <a:gd name="connsiteX16" fmla="*/ 318989 w 608549"/>
              <a:gd name="connsiteY16" fmla="*/ 458350 h 561377"/>
              <a:gd name="connsiteX17" fmla="*/ 208699 w 608549"/>
              <a:gd name="connsiteY17" fmla="*/ 458350 h 561377"/>
              <a:gd name="connsiteX18" fmla="*/ 82420 w 608549"/>
              <a:gd name="connsiteY18" fmla="*/ 405920 h 561377"/>
              <a:gd name="connsiteX19" fmla="*/ 187643 w 608549"/>
              <a:gd name="connsiteY19" fmla="*/ 405920 h 561377"/>
              <a:gd name="connsiteX20" fmla="*/ 192008 w 608549"/>
              <a:gd name="connsiteY20" fmla="*/ 458350 h 561377"/>
              <a:gd name="connsiteX21" fmla="*/ 96072 w 608549"/>
              <a:gd name="connsiteY21" fmla="*/ 458350 h 561377"/>
              <a:gd name="connsiteX22" fmla="*/ 348616 w 608549"/>
              <a:gd name="connsiteY22" fmla="*/ 301060 h 561377"/>
              <a:gd name="connsiteX23" fmla="*/ 472294 w 608549"/>
              <a:gd name="connsiteY23" fmla="*/ 301060 h 561377"/>
              <a:gd name="connsiteX24" fmla="*/ 449638 w 608549"/>
              <a:gd name="connsiteY24" fmla="*/ 389549 h 561377"/>
              <a:gd name="connsiteX25" fmla="*/ 341466 w 608549"/>
              <a:gd name="connsiteY25" fmla="*/ 389549 h 561377"/>
              <a:gd name="connsiteX26" fmla="*/ 195890 w 608549"/>
              <a:gd name="connsiteY26" fmla="*/ 301060 h 561377"/>
              <a:gd name="connsiteX27" fmla="*/ 331799 w 608549"/>
              <a:gd name="connsiteY27" fmla="*/ 301060 h 561377"/>
              <a:gd name="connsiteX28" fmla="*/ 324651 w 608549"/>
              <a:gd name="connsiteY28" fmla="*/ 389549 h 561377"/>
              <a:gd name="connsiteX29" fmla="*/ 203038 w 608549"/>
              <a:gd name="connsiteY29" fmla="*/ 389549 h 561377"/>
              <a:gd name="connsiteX30" fmla="*/ 55394 w 608549"/>
              <a:gd name="connsiteY30" fmla="*/ 301060 h 561377"/>
              <a:gd name="connsiteX31" fmla="*/ 179165 w 608549"/>
              <a:gd name="connsiteY31" fmla="*/ 301060 h 561377"/>
              <a:gd name="connsiteX32" fmla="*/ 186222 w 608549"/>
              <a:gd name="connsiteY32" fmla="*/ 389549 h 561377"/>
              <a:gd name="connsiteX33" fmla="*/ 78050 w 608549"/>
              <a:gd name="connsiteY33" fmla="*/ 389549 h 561377"/>
              <a:gd name="connsiteX34" fmla="*/ 189892 w 608549"/>
              <a:gd name="connsiteY34" fmla="*/ 229013 h 561377"/>
              <a:gd name="connsiteX35" fmla="*/ 337868 w 608549"/>
              <a:gd name="connsiteY35" fmla="*/ 229013 h 561377"/>
              <a:gd name="connsiteX36" fmla="*/ 333226 w 608549"/>
              <a:gd name="connsiteY36" fmla="*/ 284619 h 561377"/>
              <a:gd name="connsiteX37" fmla="*/ 194534 w 608549"/>
              <a:gd name="connsiteY37" fmla="*/ 284619 h 561377"/>
              <a:gd name="connsiteX38" fmla="*/ 36200 w 608549"/>
              <a:gd name="connsiteY38" fmla="*/ 229013 h 561377"/>
              <a:gd name="connsiteX39" fmla="*/ 173089 w 608549"/>
              <a:gd name="connsiteY39" fmla="*/ 229013 h 561377"/>
              <a:gd name="connsiteX40" fmla="*/ 177825 w 608549"/>
              <a:gd name="connsiteY40" fmla="*/ 284619 h 561377"/>
              <a:gd name="connsiteX41" fmla="*/ 51059 w 608549"/>
              <a:gd name="connsiteY41" fmla="*/ 284619 h 561377"/>
              <a:gd name="connsiteX42" fmla="*/ 531055 w 608549"/>
              <a:gd name="connsiteY42" fmla="*/ 143841 h 561377"/>
              <a:gd name="connsiteX43" fmla="*/ 583971 w 608549"/>
              <a:gd name="connsiteY43" fmla="*/ 143841 h 561377"/>
              <a:gd name="connsiteX44" fmla="*/ 583971 w 608549"/>
              <a:gd name="connsiteY44" fmla="*/ 196204 h 561377"/>
              <a:gd name="connsiteX45" fmla="*/ 540432 w 608549"/>
              <a:gd name="connsiteY45" fmla="*/ 196204 h 561377"/>
              <a:gd name="connsiteX46" fmla="*/ 486309 w 608549"/>
              <a:gd name="connsiteY46" fmla="*/ 249309 h 561377"/>
              <a:gd name="connsiteX47" fmla="*/ 476654 w 608549"/>
              <a:gd name="connsiteY47" fmla="*/ 284619 h 561377"/>
              <a:gd name="connsiteX48" fmla="*/ 349934 w 608549"/>
              <a:gd name="connsiteY48" fmla="*/ 284619 h 561377"/>
              <a:gd name="connsiteX49" fmla="*/ 354669 w 608549"/>
              <a:gd name="connsiteY49" fmla="*/ 229012 h 561377"/>
              <a:gd name="connsiteX50" fmla="*/ 437849 w 608549"/>
              <a:gd name="connsiteY50" fmla="*/ 229012 h 561377"/>
              <a:gd name="connsiteX51" fmla="*/ 443233 w 608549"/>
              <a:gd name="connsiteY51" fmla="*/ 221042 h 561377"/>
              <a:gd name="connsiteX52" fmla="*/ 511189 w 608549"/>
              <a:gd name="connsiteY52" fmla="*/ 153016 h 561377"/>
              <a:gd name="connsiteX53" fmla="*/ 517316 w 608549"/>
              <a:gd name="connsiteY53" fmla="*/ 148104 h 561377"/>
              <a:gd name="connsiteX54" fmla="*/ 531055 w 608549"/>
              <a:gd name="connsiteY54" fmla="*/ 143841 h 561377"/>
              <a:gd name="connsiteX55" fmla="*/ 113649 w 608549"/>
              <a:gd name="connsiteY55" fmla="*/ 3 h 561377"/>
              <a:gd name="connsiteX56" fmla="*/ 238362 w 608549"/>
              <a:gd name="connsiteY56" fmla="*/ 56970 h 561377"/>
              <a:gd name="connsiteX57" fmla="*/ 261391 w 608549"/>
              <a:gd name="connsiteY57" fmla="*/ 34726 h 561377"/>
              <a:gd name="connsiteX58" fmla="*/ 292776 w 608549"/>
              <a:gd name="connsiteY58" fmla="*/ 199234 h 561377"/>
              <a:gd name="connsiteX59" fmla="*/ 128792 w 608549"/>
              <a:gd name="connsiteY59" fmla="*/ 163460 h 561377"/>
              <a:gd name="connsiteX60" fmla="*/ 151820 w 608549"/>
              <a:gd name="connsiteY60" fmla="*/ 141124 h 561377"/>
              <a:gd name="connsiteX61" fmla="*/ 0 w 608549"/>
              <a:gd name="connsiteY61" fmla="*/ 36673 h 561377"/>
              <a:gd name="connsiteX62" fmla="*/ 113649 w 608549"/>
              <a:gd name="connsiteY62" fmla="*/ 3 h 561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608549" h="561377">
                <a:moveTo>
                  <a:pt x="381018" y="473169"/>
                </a:moveTo>
                <a:cubicBezTo>
                  <a:pt x="405395" y="473169"/>
                  <a:pt x="425157" y="492915"/>
                  <a:pt x="425157" y="517273"/>
                </a:cubicBezTo>
                <a:cubicBezTo>
                  <a:pt x="425157" y="541631"/>
                  <a:pt x="405395" y="561377"/>
                  <a:pt x="381018" y="561377"/>
                </a:cubicBezTo>
                <a:cubicBezTo>
                  <a:pt x="356641" y="561377"/>
                  <a:pt x="336879" y="541631"/>
                  <a:pt x="336879" y="517273"/>
                </a:cubicBezTo>
                <a:cubicBezTo>
                  <a:pt x="336879" y="492915"/>
                  <a:pt x="356641" y="473169"/>
                  <a:pt x="381018" y="473169"/>
                </a:cubicBezTo>
                <a:close/>
                <a:moveTo>
                  <a:pt x="146741" y="473169"/>
                </a:moveTo>
                <a:cubicBezTo>
                  <a:pt x="171118" y="473169"/>
                  <a:pt x="190880" y="492915"/>
                  <a:pt x="190880" y="517273"/>
                </a:cubicBezTo>
                <a:cubicBezTo>
                  <a:pt x="190880" y="541631"/>
                  <a:pt x="171118" y="561377"/>
                  <a:pt x="146741" y="561377"/>
                </a:cubicBezTo>
                <a:cubicBezTo>
                  <a:pt x="122364" y="561377"/>
                  <a:pt x="102602" y="541631"/>
                  <a:pt x="102602" y="517273"/>
                </a:cubicBezTo>
                <a:cubicBezTo>
                  <a:pt x="102602" y="492915"/>
                  <a:pt x="122364" y="473169"/>
                  <a:pt x="146741" y="473169"/>
                </a:cubicBezTo>
                <a:close/>
                <a:moveTo>
                  <a:pt x="340091" y="405920"/>
                </a:moveTo>
                <a:lnTo>
                  <a:pt x="445268" y="405920"/>
                </a:lnTo>
                <a:lnTo>
                  <a:pt x="431622" y="458350"/>
                </a:lnTo>
                <a:lnTo>
                  <a:pt x="335821" y="458350"/>
                </a:lnTo>
                <a:close/>
                <a:moveTo>
                  <a:pt x="204428" y="405920"/>
                </a:moveTo>
                <a:lnTo>
                  <a:pt x="323260" y="405920"/>
                </a:lnTo>
                <a:lnTo>
                  <a:pt x="318989" y="458350"/>
                </a:lnTo>
                <a:lnTo>
                  <a:pt x="208699" y="458350"/>
                </a:lnTo>
                <a:close/>
                <a:moveTo>
                  <a:pt x="82420" y="405920"/>
                </a:moveTo>
                <a:lnTo>
                  <a:pt x="187643" y="405920"/>
                </a:lnTo>
                <a:lnTo>
                  <a:pt x="192008" y="458350"/>
                </a:lnTo>
                <a:lnTo>
                  <a:pt x="96072" y="458350"/>
                </a:lnTo>
                <a:close/>
                <a:moveTo>
                  <a:pt x="348616" y="301060"/>
                </a:moveTo>
                <a:lnTo>
                  <a:pt x="472294" y="301060"/>
                </a:lnTo>
                <a:lnTo>
                  <a:pt x="449638" y="389549"/>
                </a:lnTo>
                <a:lnTo>
                  <a:pt x="341466" y="389549"/>
                </a:lnTo>
                <a:close/>
                <a:moveTo>
                  <a:pt x="195890" y="301060"/>
                </a:moveTo>
                <a:lnTo>
                  <a:pt x="331799" y="301060"/>
                </a:lnTo>
                <a:lnTo>
                  <a:pt x="324651" y="389549"/>
                </a:lnTo>
                <a:lnTo>
                  <a:pt x="203038" y="389549"/>
                </a:lnTo>
                <a:close/>
                <a:moveTo>
                  <a:pt x="55394" y="301060"/>
                </a:moveTo>
                <a:lnTo>
                  <a:pt x="179165" y="301060"/>
                </a:lnTo>
                <a:lnTo>
                  <a:pt x="186222" y="389549"/>
                </a:lnTo>
                <a:lnTo>
                  <a:pt x="78050" y="389549"/>
                </a:lnTo>
                <a:close/>
                <a:moveTo>
                  <a:pt x="189892" y="229013"/>
                </a:moveTo>
                <a:lnTo>
                  <a:pt x="337868" y="229013"/>
                </a:lnTo>
                <a:lnTo>
                  <a:pt x="333226" y="284619"/>
                </a:lnTo>
                <a:lnTo>
                  <a:pt x="194534" y="284619"/>
                </a:lnTo>
                <a:close/>
                <a:moveTo>
                  <a:pt x="36200" y="229013"/>
                </a:moveTo>
                <a:lnTo>
                  <a:pt x="173089" y="229013"/>
                </a:lnTo>
                <a:lnTo>
                  <a:pt x="177825" y="284619"/>
                </a:lnTo>
                <a:lnTo>
                  <a:pt x="51059" y="284619"/>
                </a:lnTo>
                <a:close/>
                <a:moveTo>
                  <a:pt x="531055" y="143841"/>
                </a:moveTo>
                <a:lnTo>
                  <a:pt x="583971" y="143841"/>
                </a:lnTo>
                <a:cubicBezTo>
                  <a:pt x="616742" y="143841"/>
                  <a:pt x="616742" y="196204"/>
                  <a:pt x="583971" y="196204"/>
                </a:cubicBezTo>
                <a:lnTo>
                  <a:pt x="540432" y="196204"/>
                </a:lnTo>
                <a:cubicBezTo>
                  <a:pt x="522422" y="212608"/>
                  <a:pt x="504319" y="231237"/>
                  <a:pt x="486309" y="249309"/>
                </a:cubicBezTo>
                <a:lnTo>
                  <a:pt x="476654" y="284619"/>
                </a:lnTo>
                <a:lnTo>
                  <a:pt x="349934" y="284619"/>
                </a:lnTo>
                <a:lnTo>
                  <a:pt x="354669" y="229012"/>
                </a:lnTo>
                <a:lnTo>
                  <a:pt x="437849" y="229012"/>
                </a:lnTo>
                <a:cubicBezTo>
                  <a:pt x="439056" y="225676"/>
                  <a:pt x="440727" y="223544"/>
                  <a:pt x="443233" y="221042"/>
                </a:cubicBezTo>
                <a:cubicBezTo>
                  <a:pt x="465885" y="198429"/>
                  <a:pt x="488537" y="175630"/>
                  <a:pt x="511189" y="153016"/>
                </a:cubicBezTo>
                <a:cubicBezTo>
                  <a:pt x="513138" y="151070"/>
                  <a:pt x="515180" y="149309"/>
                  <a:pt x="517316" y="148104"/>
                </a:cubicBezTo>
                <a:cubicBezTo>
                  <a:pt x="520936" y="145695"/>
                  <a:pt x="525485" y="143841"/>
                  <a:pt x="531055" y="143841"/>
                </a:cubicBezTo>
                <a:close/>
                <a:moveTo>
                  <a:pt x="113649" y="3"/>
                </a:moveTo>
                <a:cubicBezTo>
                  <a:pt x="152263" y="202"/>
                  <a:pt x="196298" y="13839"/>
                  <a:pt x="238362" y="56970"/>
                </a:cubicBezTo>
                <a:lnTo>
                  <a:pt x="261391" y="34726"/>
                </a:lnTo>
                <a:lnTo>
                  <a:pt x="292776" y="199234"/>
                </a:lnTo>
                <a:lnTo>
                  <a:pt x="128792" y="163460"/>
                </a:lnTo>
                <a:lnTo>
                  <a:pt x="151820" y="141124"/>
                </a:lnTo>
                <a:cubicBezTo>
                  <a:pt x="60635" y="47702"/>
                  <a:pt x="0" y="36673"/>
                  <a:pt x="0" y="36673"/>
                </a:cubicBezTo>
                <a:cubicBezTo>
                  <a:pt x="0" y="36673"/>
                  <a:pt x="49294" y="-327"/>
                  <a:pt x="113649" y="3"/>
                </a:cubicBezTo>
                <a:close/>
              </a:path>
            </a:pathLst>
          </a:cu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A9001D6D-4485-4F59-80CC-567F78DAC31C}"/>
              </a:ext>
            </a:extLst>
          </p:cNvPr>
          <p:cNvSpPr/>
          <p:nvPr/>
        </p:nvSpPr>
        <p:spPr>
          <a:xfrm>
            <a:off x="1146603" y="3284550"/>
            <a:ext cx="2361551" cy="392415"/>
          </a:xfrm>
          <a:prstGeom prst="rect">
            <a:avLst/>
          </a:prstGeom>
        </p:spPr>
        <p:txBody>
          <a:bodyPr wrap="square" lIns="91440" tIns="45720" rIns="91440" bIns="45720" anchor="ctr" anchorCtr="1">
            <a:normAutofit lnSpcReduction="10000"/>
          </a:bodyPr>
          <a:lstStyle/>
          <a:p>
            <a:pPr lvl="0" algn="ctr"/>
            <a:r>
              <a:rPr lang="en-US" altLang="zh-CN" sz="2000" b="1">
                <a:cs typeface="+mn-ea"/>
                <a:sym typeface="+mn-lt"/>
              </a:rPr>
              <a:t>Te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sz="2000" b="1">
                <a:cs typeface="+mn-ea"/>
                <a:sym typeface="+mn-lt"/>
              </a:rPr>
              <a:t>xt </a:t>
            </a:r>
            <a:r>
              <a:rPr lang="en-US" altLang="zh-CN" sz="2000" b="1" dirty="0">
                <a:cs typeface="+mn-ea"/>
                <a:sym typeface="+mn-lt"/>
              </a:rPr>
              <a:t>here</a:t>
            </a:r>
            <a:endParaRPr lang="zh-CN" altLang="en-US" sz="2000" b="1" dirty="0">
              <a:cs typeface="+mn-ea"/>
              <a:sym typeface="+mn-lt"/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FDB3C48B-865E-40E4-BFAE-4C1583D8B894}"/>
              </a:ext>
            </a:extLst>
          </p:cNvPr>
          <p:cNvSpPr/>
          <p:nvPr/>
        </p:nvSpPr>
        <p:spPr>
          <a:xfrm>
            <a:off x="1146603" y="3676964"/>
            <a:ext cx="2361551" cy="588037"/>
          </a:xfrm>
          <a:prstGeom prst="rect">
            <a:avLst/>
          </a:prstGeom>
        </p:spPr>
        <p:txBody>
          <a:bodyPr wrap="square" lIns="91440" tIns="45720" rIns="91440" bIns="45720" anchor="t" anchorCtr="1">
            <a:normAutofit/>
          </a:bodyPr>
          <a:lstStyle/>
          <a:p>
            <a:pPr lvl="0" algn="ctr">
              <a:lnSpc>
                <a:spcPct val="150000"/>
              </a:lnSpc>
            </a:pPr>
            <a:r>
              <a:rPr lang="en-US" altLang="zh-CN" sz="1100" dirty="0">
                <a:cs typeface="+mn-ea"/>
                <a:sym typeface="+mn-lt"/>
              </a:rPr>
              <a:t>Copy </a:t>
            </a:r>
            <a:r>
              <a:rPr lang="en-US" altLang="zh-CN" sz="1100">
                <a:cs typeface="+mn-ea"/>
                <a:sym typeface="+mn-lt"/>
              </a:rPr>
              <a:t>paste 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fonts</a:t>
            </a:r>
            <a:r>
              <a:rPr lang="en-US" altLang="zh-CN" sz="1100" dirty="0">
                <a:cs typeface="+mn-ea"/>
                <a:sym typeface="+mn-lt"/>
              </a:rPr>
              <a:t>. Choose the only option to retain text……</a:t>
            </a:r>
            <a:r>
              <a:rPr lang="zh-CN" altLang="en-US" sz="1100" dirty="0">
                <a:cs typeface="+mn-ea"/>
                <a:sym typeface="+mn-lt"/>
              </a:rPr>
              <a:t> </a:t>
            </a: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7AADBFB6-1026-4222-8B8F-DEBF6114163D}"/>
              </a:ext>
            </a:extLst>
          </p:cNvPr>
          <p:cNvSpPr/>
          <p:nvPr/>
        </p:nvSpPr>
        <p:spPr>
          <a:xfrm>
            <a:off x="3659018" y="3284550"/>
            <a:ext cx="2361551" cy="392415"/>
          </a:xfrm>
          <a:prstGeom prst="rect">
            <a:avLst/>
          </a:prstGeom>
        </p:spPr>
        <p:txBody>
          <a:bodyPr wrap="square" lIns="91440" tIns="45720" rIns="91440" bIns="45720" anchor="ctr" anchorCtr="1">
            <a:normAutofit lnSpcReduction="10000"/>
          </a:bodyPr>
          <a:lstStyle/>
          <a:p>
            <a:pPr lvl="0" algn="ctr"/>
            <a:r>
              <a:rPr lang="en-US" altLang="zh-CN" sz="2000" b="1">
                <a:cs typeface="+mn-ea"/>
                <a:sym typeface="+mn-lt"/>
              </a:rPr>
              <a:t>Te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sz="2000" b="1">
                <a:cs typeface="+mn-ea"/>
                <a:sym typeface="+mn-lt"/>
              </a:rPr>
              <a:t>xt </a:t>
            </a:r>
            <a:r>
              <a:rPr lang="en-US" altLang="zh-CN" sz="2000" b="1" dirty="0">
                <a:cs typeface="+mn-ea"/>
                <a:sym typeface="+mn-lt"/>
              </a:rPr>
              <a:t>here</a:t>
            </a:r>
            <a:endParaRPr lang="zh-CN" altLang="en-US" sz="2000" b="1" dirty="0">
              <a:cs typeface="+mn-ea"/>
              <a:sym typeface="+mn-lt"/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72291D6D-8441-4E7E-A9CB-A6E686CFE4B3}"/>
              </a:ext>
            </a:extLst>
          </p:cNvPr>
          <p:cNvSpPr/>
          <p:nvPr/>
        </p:nvSpPr>
        <p:spPr>
          <a:xfrm>
            <a:off x="3659018" y="3676964"/>
            <a:ext cx="2361551" cy="588037"/>
          </a:xfrm>
          <a:prstGeom prst="rect">
            <a:avLst/>
          </a:prstGeom>
        </p:spPr>
        <p:txBody>
          <a:bodyPr wrap="square" lIns="91440" tIns="45720" rIns="91440" bIns="45720" anchor="t" anchorCtr="1">
            <a:normAutofit/>
          </a:bodyPr>
          <a:lstStyle/>
          <a:p>
            <a:pPr lvl="0" algn="ctr">
              <a:lnSpc>
                <a:spcPct val="150000"/>
              </a:lnSpc>
            </a:pPr>
            <a:r>
              <a:rPr lang="en-US" altLang="zh-CN" sz="1100" dirty="0">
                <a:cs typeface="+mn-ea"/>
                <a:sym typeface="+mn-lt"/>
              </a:rPr>
              <a:t>Copy </a:t>
            </a:r>
            <a:r>
              <a:rPr lang="en-US" altLang="zh-CN" sz="1100">
                <a:cs typeface="+mn-ea"/>
                <a:sym typeface="+mn-lt"/>
              </a:rPr>
              <a:t>paste 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fonts</a:t>
            </a:r>
            <a:r>
              <a:rPr lang="en-US" altLang="zh-CN" sz="1100" dirty="0">
                <a:cs typeface="+mn-ea"/>
                <a:sym typeface="+mn-lt"/>
              </a:rPr>
              <a:t>. Choose the only option to retain text……</a:t>
            </a:r>
            <a:r>
              <a:rPr lang="zh-CN" altLang="en-US" sz="1100" dirty="0">
                <a:cs typeface="+mn-ea"/>
                <a:sym typeface="+mn-lt"/>
              </a:rPr>
              <a:t> </a:t>
            </a: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7A3BC531-72E1-4ACF-903A-E0396D05F836}"/>
              </a:ext>
            </a:extLst>
          </p:cNvPr>
          <p:cNvSpPr/>
          <p:nvPr/>
        </p:nvSpPr>
        <p:spPr>
          <a:xfrm>
            <a:off x="6171433" y="3284550"/>
            <a:ext cx="2361551" cy="392415"/>
          </a:xfrm>
          <a:prstGeom prst="rect">
            <a:avLst/>
          </a:prstGeom>
        </p:spPr>
        <p:txBody>
          <a:bodyPr wrap="square" lIns="91440" tIns="45720" rIns="91440" bIns="45720" anchor="ctr" anchorCtr="1">
            <a:normAutofit lnSpcReduction="10000"/>
          </a:bodyPr>
          <a:lstStyle/>
          <a:p>
            <a:pPr lvl="0" algn="ctr"/>
            <a:r>
              <a:rPr lang="en-US" altLang="zh-CN" sz="2000" b="1">
                <a:cs typeface="+mn-ea"/>
                <a:sym typeface="+mn-lt"/>
              </a:rPr>
              <a:t>Te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sz="2000" b="1">
                <a:cs typeface="+mn-ea"/>
                <a:sym typeface="+mn-lt"/>
              </a:rPr>
              <a:t>xt </a:t>
            </a:r>
            <a:r>
              <a:rPr lang="en-US" altLang="zh-CN" sz="2000" b="1" dirty="0">
                <a:cs typeface="+mn-ea"/>
                <a:sym typeface="+mn-lt"/>
              </a:rPr>
              <a:t>here</a:t>
            </a:r>
            <a:endParaRPr lang="zh-CN" altLang="en-US" sz="2000" b="1" dirty="0">
              <a:cs typeface="+mn-ea"/>
              <a:sym typeface="+mn-lt"/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59F3AFC-2E37-4207-9BB9-43DFB93C54E9}"/>
              </a:ext>
            </a:extLst>
          </p:cNvPr>
          <p:cNvSpPr/>
          <p:nvPr/>
        </p:nvSpPr>
        <p:spPr>
          <a:xfrm>
            <a:off x="6171433" y="3676964"/>
            <a:ext cx="2361551" cy="588037"/>
          </a:xfrm>
          <a:prstGeom prst="rect">
            <a:avLst/>
          </a:prstGeom>
        </p:spPr>
        <p:txBody>
          <a:bodyPr wrap="square" lIns="91440" tIns="45720" rIns="91440" bIns="45720" anchor="t" anchorCtr="1">
            <a:normAutofit/>
          </a:bodyPr>
          <a:lstStyle/>
          <a:p>
            <a:pPr lvl="0" algn="ctr">
              <a:lnSpc>
                <a:spcPct val="150000"/>
              </a:lnSpc>
            </a:pPr>
            <a:r>
              <a:rPr lang="en-US" altLang="zh-CN" sz="1100" dirty="0">
                <a:cs typeface="+mn-ea"/>
                <a:sym typeface="+mn-lt"/>
              </a:rPr>
              <a:t>Copy </a:t>
            </a:r>
            <a:r>
              <a:rPr lang="en-US" altLang="zh-CN" sz="1100">
                <a:cs typeface="+mn-ea"/>
                <a:sym typeface="+mn-lt"/>
              </a:rPr>
              <a:t>paste 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fonts</a:t>
            </a:r>
            <a:r>
              <a:rPr lang="en-US" altLang="zh-CN" sz="1100" dirty="0">
                <a:cs typeface="+mn-ea"/>
                <a:sym typeface="+mn-lt"/>
              </a:rPr>
              <a:t>. Choose the only option to retain text……</a:t>
            </a:r>
            <a:r>
              <a:rPr lang="zh-CN" altLang="en-US" sz="1100" dirty="0">
                <a:cs typeface="+mn-ea"/>
                <a:sym typeface="+mn-lt"/>
              </a:rPr>
              <a:t> </a:t>
            </a: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1F2048AE-C84A-483A-8CBA-7FEE005877D2}"/>
              </a:ext>
            </a:extLst>
          </p:cNvPr>
          <p:cNvSpPr/>
          <p:nvPr/>
        </p:nvSpPr>
        <p:spPr>
          <a:xfrm>
            <a:off x="8683847" y="3284550"/>
            <a:ext cx="2361551" cy="392415"/>
          </a:xfrm>
          <a:prstGeom prst="rect">
            <a:avLst/>
          </a:prstGeom>
        </p:spPr>
        <p:txBody>
          <a:bodyPr wrap="square" lIns="91440" tIns="45720" rIns="91440" bIns="45720" anchor="ctr" anchorCtr="1">
            <a:normAutofit lnSpcReduction="10000"/>
          </a:bodyPr>
          <a:lstStyle/>
          <a:p>
            <a:pPr lvl="0" algn="ctr"/>
            <a:r>
              <a:rPr lang="en-US" altLang="zh-CN" sz="2000" b="1">
                <a:cs typeface="+mn-ea"/>
                <a:sym typeface="+mn-lt"/>
              </a:rPr>
              <a:t>Te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sz="2000" b="1">
                <a:cs typeface="+mn-ea"/>
                <a:sym typeface="+mn-lt"/>
              </a:rPr>
              <a:t>xt </a:t>
            </a:r>
            <a:r>
              <a:rPr lang="en-US" altLang="zh-CN" sz="2000" b="1" dirty="0">
                <a:cs typeface="+mn-ea"/>
                <a:sym typeface="+mn-lt"/>
              </a:rPr>
              <a:t>here</a:t>
            </a:r>
            <a:endParaRPr lang="zh-CN" altLang="en-US" sz="2000" b="1" dirty="0">
              <a:cs typeface="+mn-ea"/>
              <a:sym typeface="+mn-lt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5E0F1FA0-AD33-4ADC-8077-45CD291E8DFB}"/>
              </a:ext>
            </a:extLst>
          </p:cNvPr>
          <p:cNvSpPr/>
          <p:nvPr/>
        </p:nvSpPr>
        <p:spPr>
          <a:xfrm>
            <a:off x="8683847" y="3676964"/>
            <a:ext cx="2361551" cy="588037"/>
          </a:xfrm>
          <a:prstGeom prst="rect">
            <a:avLst/>
          </a:prstGeom>
        </p:spPr>
        <p:txBody>
          <a:bodyPr wrap="square" lIns="91440" tIns="45720" rIns="91440" bIns="45720" anchor="t" anchorCtr="1">
            <a:normAutofit/>
          </a:bodyPr>
          <a:lstStyle/>
          <a:p>
            <a:pPr lvl="0" algn="ctr">
              <a:lnSpc>
                <a:spcPct val="150000"/>
              </a:lnSpc>
            </a:pPr>
            <a:r>
              <a:rPr lang="en-US" altLang="zh-CN" sz="1100" dirty="0">
                <a:cs typeface="+mn-ea"/>
                <a:sym typeface="+mn-lt"/>
              </a:rPr>
              <a:t>Copy </a:t>
            </a:r>
            <a:r>
              <a:rPr lang="en-US" altLang="zh-CN" sz="1100">
                <a:cs typeface="+mn-ea"/>
                <a:sym typeface="+mn-lt"/>
              </a:rPr>
              <a:t>paste 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fonts</a:t>
            </a:r>
            <a:r>
              <a:rPr lang="en-US" altLang="zh-CN" sz="1100" dirty="0">
                <a:cs typeface="+mn-ea"/>
                <a:sym typeface="+mn-lt"/>
              </a:rPr>
              <a:t>. Choose the only option to retain text……</a:t>
            </a:r>
            <a:r>
              <a:rPr lang="zh-CN" altLang="en-US" sz="1100" dirty="0">
                <a:cs typeface="+mn-ea"/>
                <a:sym typeface="+mn-lt"/>
              </a:rPr>
              <a:t> </a:t>
            </a:r>
          </a:p>
        </p:txBody>
      </p:sp>
      <p:cxnSp>
        <p:nvCxnSpPr>
          <p:cNvPr id="20" name="直接箭头连接符 19">
            <a:extLst>
              <a:ext uri="{FF2B5EF4-FFF2-40B4-BE49-F238E27FC236}">
                <a16:creationId xmlns:a16="http://schemas.microsoft.com/office/drawing/2014/main" id="{DF8AF777-F140-428C-A10B-974587AF15E2}"/>
              </a:ext>
            </a:extLst>
          </p:cNvPr>
          <p:cNvCxnSpPr>
            <a:cxnSpLocks/>
            <a:stCxn id="8" idx="0"/>
          </p:cNvCxnSpPr>
          <p:nvPr/>
        </p:nvCxnSpPr>
        <p:spPr>
          <a:xfrm flipV="1">
            <a:off x="4839793" y="4429760"/>
            <a:ext cx="0" cy="570984"/>
          </a:xfrm>
          <a:prstGeom prst="straightConnector1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箭头连接符 20">
            <a:extLst>
              <a:ext uri="{FF2B5EF4-FFF2-40B4-BE49-F238E27FC236}">
                <a16:creationId xmlns:a16="http://schemas.microsoft.com/office/drawing/2014/main" id="{505717B2-CC1A-482F-91D7-2C2027716DE5}"/>
              </a:ext>
            </a:extLst>
          </p:cNvPr>
          <p:cNvCxnSpPr>
            <a:cxnSpLocks/>
            <a:stCxn id="9" idx="0"/>
          </p:cNvCxnSpPr>
          <p:nvPr/>
        </p:nvCxnSpPr>
        <p:spPr>
          <a:xfrm flipV="1">
            <a:off x="7352208" y="4429760"/>
            <a:ext cx="0" cy="570984"/>
          </a:xfrm>
          <a:prstGeom prst="straightConnector1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箭头连接符 21">
            <a:extLst>
              <a:ext uri="{FF2B5EF4-FFF2-40B4-BE49-F238E27FC236}">
                <a16:creationId xmlns:a16="http://schemas.microsoft.com/office/drawing/2014/main" id="{910D0256-40DB-4F2B-BB28-2745E873B018}"/>
              </a:ext>
            </a:extLst>
          </p:cNvPr>
          <p:cNvCxnSpPr>
            <a:cxnSpLocks/>
            <a:stCxn id="10" idx="0"/>
          </p:cNvCxnSpPr>
          <p:nvPr/>
        </p:nvCxnSpPr>
        <p:spPr>
          <a:xfrm flipV="1">
            <a:off x="9864622" y="4429760"/>
            <a:ext cx="0" cy="570984"/>
          </a:xfrm>
          <a:prstGeom prst="straightConnector1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454459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健康监测与就医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3</a:t>
            </a:fld>
            <a:endParaRPr lang="zh-CN" altLang="en-US">
              <a:cs typeface="+mn-ea"/>
              <a:sym typeface="+mn-lt"/>
            </a:endParaRPr>
          </a:p>
        </p:txBody>
      </p:sp>
      <p:cxnSp>
        <p:nvCxnSpPr>
          <p:cNvPr id="6" name="连接符: 肘形 5"/>
          <p:cNvCxnSpPr>
            <a:stCxn id="10" idx="6"/>
            <a:endCxn id="16" idx="2"/>
          </p:cNvCxnSpPr>
          <p:nvPr/>
        </p:nvCxnSpPr>
        <p:spPr>
          <a:xfrm flipV="1">
            <a:off x="3872931" y="2286302"/>
            <a:ext cx="1204825" cy="1352249"/>
          </a:xfrm>
          <a:prstGeom prst="bentConnector3">
            <a:avLst/>
          </a:prstGeom>
          <a:ln w="3175" cap="rnd">
            <a:solidFill>
              <a:schemeClr val="bg1">
                <a:lumMod val="8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连接符: 肘形 6"/>
          <p:cNvCxnSpPr>
            <a:stCxn id="10" idx="6"/>
            <a:endCxn id="20" idx="2"/>
          </p:cNvCxnSpPr>
          <p:nvPr/>
        </p:nvCxnSpPr>
        <p:spPr>
          <a:xfrm>
            <a:off x="3872931" y="3638551"/>
            <a:ext cx="1204825" cy="1352249"/>
          </a:xfrm>
          <a:prstGeom prst="bentConnector3">
            <a:avLst/>
          </a:prstGeom>
          <a:ln w="3175" cap="rnd">
            <a:solidFill>
              <a:schemeClr val="bg1">
                <a:lumMod val="8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接连接符 7"/>
          <p:cNvCxnSpPr>
            <a:stCxn id="9" idx="6"/>
            <a:endCxn id="15" idx="2"/>
          </p:cNvCxnSpPr>
          <p:nvPr/>
        </p:nvCxnSpPr>
        <p:spPr>
          <a:xfrm>
            <a:off x="1754419" y="3638551"/>
            <a:ext cx="4391428" cy="0"/>
          </a:xfrm>
          <a:prstGeom prst="line">
            <a:avLst/>
          </a:prstGeom>
          <a:ln w="285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椭圆 8">
            <a:extLst>
              <a:ext uri="{FF2B5EF4-FFF2-40B4-BE49-F238E27FC236}">
                <a16:creationId xmlns:a16="http://schemas.microsoft.com/office/drawing/2014/main" id="{D4E9D73F-6702-47B7-A6D5-98A455DBE7BC}"/>
              </a:ext>
            </a:extLst>
          </p:cNvPr>
          <p:cNvSpPr/>
          <p:nvPr/>
        </p:nvSpPr>
        <p:spPr>
          <a:xfrm>
            <a:off x="738575" y="3130629"/>
            <a:ext cx="1015844" cy="1015844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r>
              <a:rPr lang="en-US" b="1">
                <a:solidFill>
                  <a:schemeClr val="tx1"/>
                </a:solidFill>
                <a:cs typeface="+mn-ea"/>
                <a:sym typeface="+mn-lt"/>
              </a:rPr>
              <a:t>Te</a:t>
            </a:r>
            <a:r>
              <a:rPr lang="en-US" sz="100" b="1">
                <a:solidFill>
                  <a:schemeClr val="tx1"/>
                </a:solidFill>
                <a:cs typeface="+mn-ea"/>
                <a:sym typeface="+mn-lt"/>
              </a:rPr>
              <a:t> </a:t>
            </a:r>
            <a:r>
              <a:rPr lang="en-US" b="1">
                <a:solidFill>
                  <a:schemeClr val="tx1"/>
                </a:solidFill>
                <a:cs typeface="+mn-ea"/>
                <a:sym typeface="+mn-lt"/>
              </a:rPr>
              <a:t>xt</a:t>
            </a:r>
            <a:endParaRPr lang="en-US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0" name="椭圆 9">
            <a:extLst>
              <a:ext uri="{FF2B5EF4-FFF2-40B4-BE49-F238E27FC236}">
                <a16:creationId xmlns:a16="http://schemas.microsoft.com/office/drawing/2014/main" id="{D4E9D73F-6702-47B7-A6D5-98A455DBE7BC}"/>
              </a:ext>
            </a:extLst>
          </p:cNvPr>
          <p:cNvSpPr/>
          <p:nvPr/>
        </p:nvSpPr>
        <p:spPr>
          <a:xfrm>
            <a:off x="2857087" y="3130629"/>
            <a:ext cx="1015844" cy="1015844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r>
              <a:rPr lang="en-US" b="1">
                <a:solidFill>
                  <a:schemeClr val="tx1"/>
                </a:solidFill>
                <a:cs typeface="+mn-ea"/>
                <a:sym typeface="+mn-lt"/>
              </a:rPr>
              <a:t>Te</a:t>
            </a:r>
            <a:r>
              <a:rPr lang="en-US" sz="100" b="1">
                <a:solidFill>
                  <a:schemeClr val="tx1"/>
                </a:solidFill>
                <a:cs typeface="+mn-ea"/>
                <a:sym typeface="+mn-lt"/>
              </a:rPr>
              <a:t> </a:t>
            </a:r>
            <a:r>
              <a:rPr lang="en-US" b="1">
                <a:solidFill>
                  <a:schemeClr val="tx1"/>
                </a:solidFill>
                <a:cs typeface="+mn-ea"/>
                <a:sym typeface="+mn-lt"/>
              </a:rPr>
              <a:t>xt</a:t>
            </a:r>
            <a:endParaRPr lang="en-US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cxnSp>
        <p:nvCxnSpPr>
          <p:cNvPr id="11" name="直接连接符 10"/>
          <p:cNvCxnSpPr>
            <a:stCxn id="16" idx="6"/>
            <a:endCxn id="18" idx="2"/>
          </p:cNvCxnSpPr>
          <p:nvPr/>
        </p:nvCxnSpPr>
        <p:spPr>
          <a:xfrm>
            <a:off x="5913690" y="2286302"/>
            <a:ext cx="1480158" cy="0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/>
          <p:cNvCxnSpPr>
            <a:stCxn id="20" idx="6"/>
            <a:endCxn id="22" idx="2"/>
          </p:cNvCxnSpPr>
          <p:nvPr/>
        </p:nvCxnSpPr>
        <p:spPr>
          <a:xfrm>
            <a:off x="5913690" y="4990800"/>
            <a:ext cx="1480158" cy="0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文本框 25">
            <a:extLst>
              <a:ext uri="{FF2B5EF4-FFF2-40B4-BE49-F238E27FC236}">
                <a16:creationId xmlns:a16="http://schemas.microsoft.com/office/drawing/2014/main" id="{043AB2E2-323A-4E84-B9C1-F2ED1E853B7E}"/>
              </a:ext>
            </a:extLst>
          </p:cNvPr>
          <p:cNvSpPr txBox="1"/>
          <p:nvPr/>
        </p:nvSpPr>
        <p:spPr>
          <a:xfrm>
            <a:off x="8322235" y="2055962"/>
            <a:ext cx="3131190" cy="872705"/>
          </a:xfrm>
          <a:prstGeom prst="rect">
            <a:avLst/>
          </a:prstGeom>
          <a:noFill/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</a:t>
            </a:r>
            <a:r>
              <a:rPr lang="en-US" altLang="zh-CN" sz="1100">
                <a:cs typeface="+mn-ea"/>
                <a:sym typeface="+mn-lt"/>
              </a:rPr>
              <a:t>retain 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text</a:t>
            </a:r>
            <a:r>
              <a:rPr lang="en-US" altLang="zh-CN" sz="1100" dirty="0">
                <a:cs typeface="+mn-ea"/>
                <a:sym typeface="+mn-lt"/>
              </a:rPr>
              <a:t>.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DC6E2E27-5DA5-40CB-93C5-96DE140CE15C}"/>
              </a:ext>
            </a:extLst>
          </p:cNvPr>
          <p:cNvSpPr/>
          <p:nvPr/>
        </p:nvSpPr>
        <p:spPr>
          <a:xfrm>
            <a:off x="8322235" y="1643936"/>
            <a:ext cx="3131190" cy="412028"/>
          </a:xfrm>
          <a:prstGeom prst="rect">
            <a:avLst/>
          </a:prstGeom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en-US" altLang="zh-CN" b="1">
                <a:cs typeface="+mn-ea"/>
                <a:sym typeface="+mn-lt"/>
              </a:rPr>
              <a:t>Text he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b="1">
                <a:cs typeface="+mn-ea"/>
                <a:sym typeface="+mn-lt"/>
              </a:rPr>
              <a:t>re</a:t>
            </a:r>
            <a:endParaRPr lang="zh-CN" altLang="en-US" b="1" dirty="0">
              <a:cs typeface="+mn-ea"/>
              <a:sym typeface="+mn-lt"/>
            </a:endParaRP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043AB2E2-323A-4E84-B9C1-F2ED1E853B7E}"/>
              </a:ext>
            </a:extLst>
          </p:cNvPr>
          <p:cNvSpPr txBox="1"/>
          <p:nvPr/>
        </p:nvSpPr>
        <p:spPr>
          <a:xfrm>
            <a:off x="8322235" y="4760460"/>
            <a:ext cx="3131190" cy="872705"/>
          </a:xfrm>
          <a:prstGeom prst="rect">
            <a:avLst/>
          </a:prstGeom>
          <a:noFill/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</a:t>
            </a:r>
            <a:r>
              <a:rPr lang="en-US" altLang="zh-CN" sz="1100">
                <a:cs typeface="+mn-ea"/>
                <a:sym typeface="+mn-lt"/>
              </a:rPr>
              <a:t>retain 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text</a:t>
            </a:r>
            <a:r>
              <a:rPr lang="en-US" altLang="zh-CN" sz="1100" dirty="0">
                <a:cs typeface="+mn-ea"/>
                <a:sym typeface="+mn-lt"/>
              </a:rPr>
              <a:t>.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DC6E2E27-5DA5-40CB-93C5-96DE140CE15C}"/>
              </a:ext>
            </a:extLst>
          </p:cNvPr>
          <p:cNvSpPr/>
          <p:nvPr/>
        </p:nvSpPr>
        <p:spPr>
          <a:xfrm>
            <a:off x="8322235" y="4348434"/>
            <a:ext cx="3131190" cy="412028"/>
          </a:xfrm>
          <a:prstGeom prst="rect">
            <a:avLst/>
          </a:prstGeom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en-US" altLang="zh-CN" b="1">
                <a:cs typeface="+mn-ea"/>
                <a:sym typeface="+mn-lt"/>
              </a:rPr>
              <a:t>Text he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b="1">
                <a:cs typeface="+mn-ea"/>
                <a:sym typeface="+mn-lt"/>
              </a:rPr>
              <a:t>re</a:t>
            </a:r>
            <a:endParaRPr lang="zh-CN" altLang="en-US" b="1" dirty="0">
              <a:cs typeface="+mn-ea"/>
              <a:sym typeface="+mn-lt"/>
            </a:endParaRPr>
          </a:p>
        </p:txBody>
      </p:sp>
      <p:sp>
        <p:nvSpPr>
          <p:cNvPr id="15" name="椭圆 14">
            <a:extLst>
              <a:ext uri="{FF2B5EF4-FFF2-40B4-BE49-F238E27FC236}">
                <a16:creationId xmlns:a16="http://schemas.microsoft.com/office/drawing/2014/main" id="{D4E9D73F-6702-47B7-A6D5-98A455DBE7BC}"/>
              </a:ext>
            </a:extLst>
          </p:cNvPr>
          <p:cNvSpPr/>
          <p:nvPr/>
        </p:nvSpPr>
        <p:spPr>
          <a:xfrm>
            <a:off x="6145847" y="3130629"/>
            <a:ext cx="1015844" cy="1015844"/>
          </a:xfrm>
          <a:prstGeom prst="ellipse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  <a:cs typeface="+mn-ea"/>
                <a:sym typeface="+mn-lt"/>
              </a:rPr>
              <a:t>Te</a:t>
            </a:r>
            <a:r>
              <a:rPr lang="en-US" sz="100" b="1">
                <a:solidFill>
                  <a:schemeClr val="bg1"/>
                </a:solidFill>
                <a:cs typeface="+mn-ea"/>
                <a:sym typeface="+mn-lt"/>
              </a:rPr>
              <a:t> </a:t>
            </a:r>
            <a:r>
              <a:rPr lang="en-US" b="1">
                <a:solidFill>
                  <a:schemeClr val="bg1"/>
                </a:solidFill>
                <a:cs typeface="+mn-ea"/>
                <a:sym typeface="+mn-lt"/>
              </a:rPr>
              <a:t>xt</a:t>
            </a:r>
            <a:endParaRPr lang="en-US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6" name="椭圆 15">
            <a:extLst>
              <a:ext uri="{FF2B5EF4-FFF2-40B4-BE49-F238E27FC236}">
                <a16:creationId xmlns:a16="http://schemas.microsoft.com/office/drawing/2014/main" id="{D4E9D73F-6702-47B7-A6D5-98A455DBE7BC}"/>
              </a:ext>
            </a:extLst>
          </p:cNvPr>
          <p:cNvSpPr/>
          <p:nvPr/>
        </p:nvSpPr>
        <p:spPr>
          <a:xfrm>
            <a:off x="5077756" y="1868335"/>
            <a:ext cx="835934" cy="835934"/>
          </a:xfrm>
          <a:prstGeom prst="ellipse">
            <a:avLst/>
          </a:prstGeom>
          <a:solidFill>
            <a:schemeClr val="accent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en-US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7" name="任意多边形: 形状 16"/>
          <p:cNvSpPr/>
          <p:nvPr/>
        </p:nvSpPr>
        <p:spPr>
          <a:xfrm>
            <a:off x="5271028" y="2061946"/>
            <a:ext cx="449390" cy="448711"/>
          </a:xfrm>
          <a:custGeom>
            <a:avLst/>
            <a:gdLst>
              <a:gd name="connsiteX0" fmla="*/ 106370 w 607639"/>
              <a:gd name="connsiteY0" fmla="*/ 436610 h 606722"/>
              <a:gd name="connsiteX1" fmla="*/ 61329 w 607639"/>
              <a:gd name="connsiteY1" fmla="*/ 480515 h 606722"/>
              <a:gd name="connsiteX2" fmla="*/ 126397 w 607639"/>
              <a:gd name="connsiteY2" fmla="*/ 545485 h 606722"/>
              <a:gd name="connsiteX3" fmla="*/ 170369 w 607639"/>
              <a:gd name="connsiteY3" fmla="*/ 500513 h 606722"/>
              <a:gd name="connsiteX4" fmla="*/ 455714 w 607639"/>
              <a:gd name="connsiteY4" fmla="*/ 404481 h 606722"/>
              <a:gd name="connsiteX5" fmla="*/ 531614 w 607639"/>
              <a:gd name="connsiteY5" fmla="*/ 404481 h 606722"/>
              <a:gd name="connsiteX6" fmla="*/ 531703 w 607639"/>
              <a:gd name="connsiteY6" fmla="*/ 404481 h 606722"/>
              <a:gd name="connsiteX7" fmla="*/ 531792 w 607639"/>
              <a:gd name="connsiteY7" fmla="*/ 404481 h 606722"/>
              <a:gd name="connsiteX8" fmla="*/ 548075 w 607639"/>
              <a:gd name="connsiteY8" fmla="*/ 410525 h 606722"/>
              <a:gd name="connsiteX9" fmla="*/ 551456 w 607639"/>
              <a:gd name="connsiteY9" fmla="*/ 413991 h 606722"/>
              <a:gd name="connsiteX10" fmla="*/ 556973 w 607639"/>
              <a:gd name="connsiteY10" fmla="*/ 429012 h 606722"/>
              <a:gd name="connsiteX11" fmla="*/ 556973 w 607639"/>
              <a:gd name="connsiteY11" fmla="*/ 429811 h 606722"/>
              <a:gd name="connsiteX12" fmla="*/ 556973 w 607639"/>
              <a:gd name="connsiteY12" fmla="*/ 505625 h 606722"/>
              <a:gd name="connsiteX13" fmla="*/ 531614 w 607639"/>
              <a:gd name="connsiteY13" fmla="*/ 530867 h 606722"/>
              <a:gd name="connsiteX14" fmla="*/ 506343 w 607639"/>
              <a:gd name="connsiteY14" fmla="*/ 505625 h 606722"/>
              <a:gd name="connsiteX15" fmla="*/ 476001 w 607639"/>
              <a:gd name="connsiteY15" fmla="*/ 546065 h 606722"/>
              <a:gd name="connsiteX16" fmla="*/ 455714 w 607639"/>
              <a:gd name="connsiteY16" fmla="*/ 556197 h 606722"/>
              <a:gd name="connsiteX17" fmla="*/ 440498 w 607639"/>
              <a:gd name="connsiteY17" fmla="*/ 551131 h 606722"/>
              <a:gd name="connsiteX18" fmla="*/ 435515 w 607639"/>
              <a:gd name="connsiteY18" fmla="*/ 515757 h 606722"/>
              <a:gd name="connsiteX19" fmla="*/ 481073 w 607639"/>
              <a:gd name="connsiteY19" fmla="*/ 455053 h 606722"/>
              <a:gd name="connsiteX20" fmla="*/ 455714 w 607639"/>
              <a:gd name="connsiteY20" fmla="*/ 455053 h 606722"/>
              <a:gd name="connsiteX21" fmla="*/ 430443 w 607639"/>
              <a:gd name="connsiteY21" fmla="*/ 429811 h 606722"/>
              <a:gd name="connsiteX22" fmla="*/ 455714 w 607639"/>
              <a:gd name="connsiteY22" fmla="*/ 404481 h 606722"/>
              <a:gd name="connsiteX23" fmla="*/ 157786 w 607639"/>
              <a:gd name="connsiteY23" fmla="*/ 282117 h 606722"/>
              <a:gd name="connsiteX24" fmla="*/ 175710 w 607639"/>
              <a:gd name="connsiteY24" fmla="*/ 289516 h 606722"/>
              <a:gd name="connsiteX25" fmla="*/ 317685 w 607639"/>
              <a:gd name="connsiteY25" fmla="*/ 431277 h 606722"/>
              <a:gd name="connsiteX26" fmla="*/ 317685 w 607639"/>
              <a:gd name="connsiteY26" fmla="*/ 467006 h 606722"/>
              <a:gd name="connsiteX27" fmla="*/ 245229 w 607639"/>
              <a:gd name="connsiteY27" fmla="*/ 539441 h 606722"/>
              <a:gd name="connsiteX28" fmla="*/ 227248 w 607639"/>
              <a:gd name="connsiteY28" fmla="*/ 546818 h 606722"/>
              <a:gd name="connsiteX29" fmla="*/ 209357 w 607639"/>
              <a:gd name="connsiteY29" fmla="*/ 539441 h 606722"/>
              <a:gd name="connsiteX30" fmla="*/ 206241 w 607639"/>
              <a:gd name="connsiteY30" fmla="*/ 536242 h 606722"/>
              <a:gd name="connsiteX31" fmla="*/ 144734 w 607639"/>
              <a:gd name="connsiteY31" fmla="*/ 599079 h 606722"/>
              <a:gd name="connsiteX32" fmla="*/ 126753 w 607639"/>
              <a:gd name="connsiteY32" fmla="*/ 606722 h 606722"/>
              <a:gd name="connsiteX33" fmla="*/ 126575 w 607639"/>
              <a:gd name="connsiteY33" fmla="*/ 606722 h 606722"/>
              <a:gd name="connsiteX34" fmla="*/ 108684 w 607639"/>
              <a:gd name="connsiteY34" fmla="*/ 599256 h 606722"/>
              <a:gd name="connsiteX35" fmla="*/ 7388 w 607639"/>
              <a:gd name="connsiteY35" fmla="*/ 498113 h 606722"/>
              <a:gd name="connsiteX36" fmla="*/ 0 w 607639"/>
              <a:gd name="connsiteY36" fmla="*/ 480160 h 606722"/>
              <a:gd name="connsiteX37" fmla="*/ 7655 w 607639"/>
              <a:gd name="connsiteY37" fmla="*/ 462206 h 606722"/>
              <a:gd name="connsiteX38" fmla="*/ 70587 w 607639"/>
              <a:gd name="connsiteY38" fmla="*/ 400792 h 606722"/>
              <a:gd name="connsiteX39" fmla="*/ 67382 w 607639"/>
              <a:gd name="connsiteY39" fmla="*/ 397681 h 606722"/>
              <a:gd name="connsiteX40" fmla="*/ 59994 w 607639"/>
              <a:gd name="connsiteY40" fmla="*/ 379728 h 606722"/>
              <a:gd name="connsiteX41" fmla="*/ 67382 w 607639"/>
              <a:gd name="connsiteY41" fmla="*/ 361863 h 606722"/>
              <a:gd name="connsiteX42" fmla="*/ 139927 w 607639"/>
              <a:gd name="connsiteY42" fmla="*/ 289516 h 606722"/>
              <a:gd name="connsiteX43" fmla="*/ 157786 w 607639"/>
              <a:gd name="connsiteY43" fmla="*/ 282117 h 606722"/>
              <a:gd name="connsiteX44" fmla="*/ 363724 w 607639"/>
              <a:gd name="connsiteY44" fmla="*/ 101159 h 606722"/>
              <a:gd name="connsiteX45" fmla="*/ 353254 w 607639"/>
              <a:gd name="connsiteY45" fmla="*/ 105492 h 606722"/>
              <a:gd name="connsiteX46" fmla="*/ 320945 w 607639"/>
              <a:gd name="connsiteY46" fmla="*/ 137752 h 606722"/>
              <a:gd name="connsiteX47" fmla="*/ 323793 w 607639"/>
              <a:gd name="connsiteY47" fmla="*/ 139974 h 606722"/>
              <a:gd name="connsiteX48" fmla="*/ 335898 w 607639"/>
              <a:gd name="connsiteY48" fmla="*/ 148417 h 606722"/>
              <a:gd name="connsiteX49" fmla="*/ 341149 w 607639"/>
              <a:gd name="connsiteY49" fmla="*/ 151794 h 606722"/>
              <a:gd name="connsiteX50" fmla="*/ 359930 w 607639"/>
              <a:gd name="connsiteY50" fmla="*/ 162459 h 606722"/>
              <a:gd name="connsiteX51" fmla="*/ 408439 w 607639"/>
              <a:gd name="connsiteY51" fmla="*/ 198897 h 606722"/>
              <a:gd name="connsiteX52" fmla="*/ 444933 w 607639"/>
              <a:gd name="connsiteY52" fmla="*/ 247243 h 606722"/>
              <a:gd name="connsiteX53" fmla="*/ 455614 w 607639"/>
              <a:gd name="connsiteY53" fmla="*/ 266084 h 606722"/>
              <a:gd name="connsiteX54" fmla="*/ 458907 w 607639"/>
              <a:gd name="connsiteY54" fmla="*/ 271239 h 606722"/>
              <a:gd name="connsiteX55" fmla="*/ 467452 w 607639"/>
              <a:gd name="connsiteY55" fmla="*/ 283326 h 606722"/>
              <a:gd name="connsiteX56" fmla="*/ 469677 w 607639"/>
              <a:gd name="connsiteY56" fmla="*/ 286258 h 606722"/>
              <a:gd name="connsiteX57" fmla="*/ 501987 w 607639"/>
              <a:gd name="connsiteY57" fmla="*/ 253998 h 606722"/>
              <a:gd name="connsiteX58" fmla="*/ 501987 w 607639"/>
              <a:gd name="connsiteY58" fmla="*/ 233024 h 606722"/>
              <a:gd name="connsiteX59" fmla="*/ 374260 w 607639"/>
              <a:gd name="connsiteY59" fmla="*/ 105492 h 606722"/>
              <a:gd name="connsiteX60" fmla="*/ 363724 w 607639"/>
              <a:gd name="connsiteY60" fmla="*/ 101159 h 606722"/>
              <a:gd name="connsiteX61" fmla="*/ 177209 w 607639"/>
              <a:gd name="connsiteY61" fmla="*/ 50521 h 606722"/>
              <a:gd name="connsiteX62" fmla="*/ 195096 w 607639"/>
              <a:gd name="connsiteY62" fmla="*/ 57919 h 606722"/>
              <a:gd name="connsiteX63" fmla="*/ 195096 w 607639"/>
              <a:gd name="connsiteY63" fmla="*/ 93644 h 606722"/>
              <a:gd name="connsiteX64" fmla="*/ 137075 w 607639"/>
              <a:gd name="connsiteY64" fmla="*/ 151675 h 606722"/>
              <a:gd name="connsiteX65" fmla="*/ 151936 w 607639"/>
              <a:gd name="connsiteY65" fmla="*/ 151675 h 606722"/>
              <a:gd name="connsiteX66" fmla="*/ 177209 w 607639"/>
              <a:gd name="connsiteY66" fmla="*/ 176914 h 606722"/>
              <a:gd name="connsiteX67" fmla="*/ 151936 w 607639"/>
              <a:gd name="connsiteY67" fmla="*/ 202241 h 606722"/>
              <a:gd name="connsiteX68" fmla="*/ 75939 w 607639"/>
              <a:gd name="connsiteY68" fmla="*/ 202241 h 606722"/>
              <a:gd name="connsiteX69" fmla="*/ 59387 w 607639"/>
              <a:gd name="connsiteY69" fmla="*/ 196020 h 606722"/>
              <a:gd name="connsiteX70" fmla="*/ 55916 w 607639"/>
              <a:gd name="connsiteY70" fmla="*/ 192288 h 606722"/>
              <a:gd name="connsiteX71" fmla="*/ 50755 w 607639"/>
              <a:gd name="connsiteY71" fmla="*/ 178691 h 606722"/>
              <a:gd name="connsiteX72" fmla="*/ 50666 w 607639"/>
              <a:gd name="connsiteY72" fmla="*/ 176736 h 606722"/>
              <a:gd name="connsiteX73" fmla="*/ 50666 w 607639"/>
              <a:gd name="connsiteY73" fmla="*/ 101109 h 606722"/>
              <a:gd name="connsiteX74" fmla="*/ 75939 w 607639"/>
              <a:gd name="connsiteY74" fmla="*/ 75782 h 606722"/>
              <a:gd name="connsiteX75" fmla="*/ 101301 w 607639"/>
              <a:gd name="connsiteY75" fmla="*/ 101109 h 606722"/>
              <a:gd name="connsiteX76" fmla="*/ 101301 w 607639"/>
              <a:gd name="connsiteY76" fmla="*/ 115861 h 606722"/>
              <a:gd name="connsiteX77" fmla="*/ 159322 w 607639"/>
              <a:gd name="connsiteY77" fmla="*/ 57919 h 606722"/>
              <a:gd name="connsiteX78" fmla="*/ 177209 w 607639"/>
              <a:gd name="connsiteY78" fmla="*/ 50521 h 606722"/>
              <a:gd name="connsiteX79" fmla="*/ 480892 w 607639"/>
              <a:gd name="connsiteY79" fmla="*/ 0 h 606722"/>
              <a:gd name="connsiteX80" fmla="*/ 498960 w 607639"/>
              <a:gd name="connsiteY80" fmla="*/ 7376 h 606722"/>
              <a:gd name="connsiteX81" fmla="*/ 600162 w 607639"/>
              <a:gd name="connsiteY81" fmla="*/ 108513 h 606722"/>
              <a:gd name="connsiteX82" fmla="*/ 607639 w 607639"/>
              <a:gd name="connsiteY82" fmla="*/ 126554 h 606722"/>
              <a:gd name="connsiteX83" fmla="*/ 599984 w 607639"/>
              <a:gd name="connsiteY83" fmla="*/ 144507 h 606722"/>
              <a:gd name="connsiteX84" fmla="*/ 541417 w 607639"/>
              <a:gd name="connsiteY84" fmla="*/ 201741 h 606722"/>
              <a:gd name="connsiteX85" fmla="*/ 537768 w 607639"/>
              <a:gd name="connsiteY85" fmla="*/ 289724 h 606722"/>
              <a:gd name="connsiteX86" fmla="*/ 486499 w 607639"/>
              <a:gd name="connsiteY86" fmla="*/ 340915 h 606722"/>
              <a:gd name="connsiteX87" fmla="*/ 484719 w 607639"/>
              <a:gd name="connsiteY87" fmla="*/ 342159 h 606722"/>
              <a:gd name="connsiteX88" fmla="*/ 480002 w 607639"/>
              <a:gd name="connsiteY88" fmla="*/ 345270 h 606722"/>
              <a:gd name="connsiteX89" fmla="*/ 476530 w 607639"/>
              <a:gd name="connsiteY89" fmla="*/ 346869 h 606722"/>
              <a:gd name="connsiteX90" fmla="*/ 471190 w 607639"/>
              <a:gd name="connsiteY90" fmla="*/ 347847 h 606722"/>
              <a:gd name="connsiteX91" fmla="*/ 468609 w 607639"/>
              <a:gd name="connsiteY91" fmla="*/ 348380 h 606722"/>
              <a:gd name="connsiteX92" fmla="*/ 467452 w 607639"/>
              <a:gd name="connsiteY92" fmla="*/ 348114 h 606722"/>
              <a:gd name="connsiteX93" fmla="*/ 462111 w 607639"/>
              <a:gd name="connsiteY93" fmla="*/ 347047 h 606722"/>
              <a:gd name="connsiteX94" fmla="*/ 458373 w 607639"/>
              <a:gd name="connsiteY94" fmla="*/ 345981 h 606722"/>
              <a:gd name="connsiteX95" fmla="*/ 457305 w 607639"/>
              <a:gd name="connsiteY95" fmla="*/ 345714 h 606722"/>
              <a:gd name="connsiteX96" fmla="*/ 428911 w 607639"/>
              <a:gd name="connsiteY96" fmla="*/ 331494 h 606722"/>
              <a:gd name="connsiteX97" fmla="*/ 407282 w 607639"/>
              <a:gd name="connsiteY97" fmla="*/ 335049 h 606722"/>
              <a:gd name="connsiteX98" fmla="*/ 376308 w 607639"/>
              <a:gd name="connsiteY98" fmla="*/ 365888 h 606722"/>
              <a:gd name="connsiteX99" fmla="*/ 344265 w 607639"/>
              <a:gd name="connsiteY99" fmla="*/ 379219 h 606722"/>
              <a:gd name="connsiteX100" fmla="*/ 312133 w 607639"/>
              <a:gd name="connsiteY100" fmla="*/ 365888 h 606722"/>
              <a:gd name="connsiteX101" fmla="*/ 241194 w 607639"/>
              <a:gd name="connsiteY101" fmla="*/ 295057 h 606722"/>
              <a:gd name="connsiteX102" fmla="*/ 241194 w 607639"/>
              <a:gd name="connsiteY102" fmla="*/ 230891 h 606722"/>
              <a:gd name="connsiteX103" fmla="*/ 272079 w 607639"/>
              <a:gd name="connsiteY103" fmla="*/ 200052 h 606722"/>
              <a:gd name="connsiteX104" fmla="*/ 275551 w 607639"/>
              <a:gd name="connsiteY104" fmla="*/ 178456 h 606722"/>
              <a:gd name="connsiteX105" fmla="*/ 261398 w 607639"/>
              <a:gd name="connsiteY105" fmla="*/ 150106 h 606722"/>
              <a:gd name="connsiteX106" fmla="*/ 261131 w 607639"/>
              <a:gd name="connsiteY106" fmla="*/ 149039 h 606722"/>
              <a:gd name="connsiteX107" fmla="*/ 260063 w 607639"/>
              <a:gd name="connsiteY107" fmla="*/ 145307 h 606722"/>
              <a:gd name="connsiteX108" fmla="*/ 258995 w 607639"/>
              <a:gd name="connsiteY108" fmla="*/ 139974 h 606722"/>
              <a:gd name="connsiteX109" fmla="*/ 259262 w 607639"/>
              <a:gd name="connsiteY109" fmla="*/ 136242 h 606722"/>
              <a:gd name="connsiteX110" fmla="*/ 260241 w 607639"/>
              <a:gd name="connsiteY110" fmla="*/ 130909 h 606722"/>
              <a:gd name="connsiteX111" fmla="*/ 261754 w 607639"/>
              <a:gd name="connsiteY111" fmla="*/ 127443 h 606722"/>
              <a:gd name="connsiteX112" fmla="*/ 264959 w 607639"/>
              <a:gd name="connsiteY112" fmla="*/ 122733 h 606722"/>
              <a:gd name="connsiteX113" fmla="*/ 266116 w 607639"/>
              <a:gd name="connsiteY113" fmla="*/ 120955 h 606722"/>
              <a:gd name="connsiteX114" fmla="*/ 317384 w 607639"/>
              <a:gd name="connsiteY114" fmla="*/ 69676 h 606722"/>
              <a:gd name="connsiteX115" fmla="*/ 405591 w 607639"/>
              <a:gd name="connsiteY115" fmla="*/ 66121 h 606722"/>
              <a:gd name="connsiteX116" fmla="*/ 462912 w 607639"/>
              <a:gd name="connsiteY116" fmla="*/ 7554 h 606722"/>
              <a:gd name="connsiteX117" fmla="*/ 480892 w 607639"/>
              <a:gd name="connsiteY117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607639" h="606722">
                <a:moveTo>
                  <a:pt x="106370" y="436610"/>
                </a:moveTo>
                <a:lnTo>
                  <a:pt x="61329" y="480515"/>
                </a:lnTo>
                <a:lnTo>
                  <a:pt x="126397" y="545485"/>
                </a:lnTo>
                <a:lnTo>
                  <a:pt x="170369" y="500513"/>
                </a:lnTo>
                <a:close/>
                <a:moveTo>
                  <a:pt x="455714" y="404481"/>
                </a:moveTo>
                <a:lnTo>
                  <a:pt x="531614" y="404481"/>
                </a:lnTo>
                <a:lnTo>
                  <a:pt x="531703" y="404481"/>
                </a:lnTo>
                <a:lnTo>
                  <a:pt x="531792" y="404481"/>
                </a:lnTo>
                <a:cubicBezTo>
                  <a:pt x="538020" y="404481"/>
                  <a:pt x="543715" y="406792"/>
                  <a:pt x="548075" y="410525"/>
                </a:cubicBezTo>
                <a:cubicBezTo>
                  <a:pt x="549321" y="411591"/>
                  <a:pt x="550388" y="412747"/>
                  <a:pt x="551456" y="413991"/>
                </a:cubicBezTo>
                <a:cubicBezTo>
                  <a:pt x="554748" y="418079"/>
                  <a:pt x="556795" y="423323"/>
                  <a:pt x="556973" y="429012"/>
                </a:cubicBezTo>
                <a:cubicBezTo>
                  <a:pt x="556973" y="429278"/>
                  <a:pt x="556973" y="429545"/>
                  <a:pt x="556973" y="429811"/>
                </a:cubicBezTo>
                <a:lnTo>
                  <a:pt x="556973" y="505625"/>
                </a:lnTo>
                <a:cubicBezTo>
                  <a:pt x="556973" y="519579"/>
                  <a:pt x="545673" y="530867"/>
                  <a:pt x="531614" y="530867"/>
                </a:cubicBezTo>
                <a:cubicBezTo>
                  <a:pt x="517644" y="530867"/>
                  <a:pt x="506343" y="519579"/>
                  <a:pt x="506343" y="505625"/>
                </a:cubicBezTo>
                <a:lnTo>
                  <a:pt x="476001" y="546065"/>
                </a:lnTo>
                <a:cubicBezTo>
                  <a:pt x="471018" y="552731"/>
                  <a:pt x="463366" y="556197"/>
                  <a:pt x="455714" y="556197"/>
                </a:cubicBezTo>
                <a:cubicBezTo>
                  <a:pt x="450375" y="556197"/>
                  <a:pt x="445125" y="554508"/>
                  <a:pt x="440498" y="551131"/>
                </a:cubicBezTo>
                <a:cubicBezTo>
                  <a:pt x="429375" y="542776"/>
                  <a:pt x="427062" y="526867"/>
                  <a:pt x="435515" y="515757"/>
                </a:cubicBezTo>
                <a:lnTo>
                  <a:pt x="481073" y="455053"/>
                </a:lnTo>
                <a:lnTo>
                  <a:pt x="455714" y="455053"/>
                </a:lnTo>
                <a:cubicBezTo>
                  <a:pt x="441744" y="455053"/>
                  <a:pt x="430443" y="443765"/>
                  <a:pt x="430443" y="429811"/>
                </a:cubicBezTo>
                <a:cubicBezTo>
                  <a:pt x="430443" y="415857"/>
                  <a:pt x="441744" y="404481"/>
                  <a:pt x="455714" y="404481"/>
                </a:cubicBezTo>
                <a:close/>
                <a:moveTo>
                  <a:pt x="157786" y="282117"/>
                </a:moveTo>
                <a:cubicBezTo>
                  <a:pt x="164272" y="282117"/>
                  <a:pt x="170770" y="284584"/>
                  <a:pt x="175710" y="289516"/>
                </a:cubicBezTo>
                <a:lnTo>
                  <a:pt x="317685" y="431277"/>
                </a:lnTo>
                <a:cubicBezTo>
                  <a:pt x="327565" y="441142"/>
                  <a:pt x="327565" y="457140"/>
                  <a:pt x="317685" y="467006"/>
                </a:cubicBezTo>
                <a:lnTo>
                  <a:pt x="245229" y="539441"/>
                </a:lnTo>
                <a:cubicBezTo>
                  <a:pt x="240422" y="544152"/>
                  <a:pt x="234013" y="546818"/>
                  <a:pt x="227248" y="546818"/>
                </a:cubicBezTo>
                <a:cubicBezTo>
                  <a:pt x="220572" y="546818"/>
                  <a:pt x="214163" y="544152"/>
                  <a:pt x="209357" y="539441"/>
                </a:cubicBezTo>
                <a:lnTo>
                  <a:pt x="206241" y="536242"/>
                </a:lnTo>
                <a:lnTo>
                  <a:pt x="144734" y="599079"/>
                </a:lnTo>
                <a:cubicBezTo>
                  <a:pt x="140016" y="603967"/>
                  <a:pt x="133518" y="606633"/>
                  <a:pt x="126753" y="606722"/>
                </a:cubicBezTo>
                <a:lnTo>
                  <a:pt x="126575" y="606722"/>
                </a:lnTo>
                <a:cubicBezTo>
                  <a:pt x="119899" y="606722"/>
                  <a:pt x="113491" y="604056"/>
                  <a:pt x="108684" y="599256"/>
                </a:cubicBezTo>
                <a:lnTo>
                  <a:pt x="7388" y="498113"/>
                </a:lnTo>
                <a:cubicBezTo>
                  <a:pt x="2670" y="493403"/>
                  <a:pt x="0" y="486914"/>
                  <a:pt x="0" y="480160"/>
                </a:cubicBezTo>
                <a:cubicBezTo>
                  <a:pt x="89" y="473405"/>
                  <a:pt x="2759" y="466917"/>
                  <a:pt x="7655" y="462206"/>
                </a:cubicBezTo>
                <a:lnTo>
                  <a:pt x="70587" y="400792"/>
                </a:lnTo>
                <a:lnTo>
                  <a:pt x="67382" y="397681"/>
                </a:lnTo>
                <a:cubicBezTo>
                  <a:pt x="62665" y="392882"/>
                  <a:pt x="59994" y="386482"/>
                  <a:pt x="59994" y="379728"/>
                </a:cubicBezTo>
                <a:cubicBezTo>
                  <a:pt x="59994" y="373062"/>
                  <a:pt x="62665" y="366663"/>
                  <a:pt x="67382" y="361863"/>
                </a:cubicBezTo>
                <a:lnTo>
                  <a:pt x="139927" y="289516"/>
                </a:lnTo>
                <a:cubicBezTo>
                  <a:pt x="144823" y="284584"/>
                  <a:pt x="151299" y="282117"/>
                  <a:pt x="157786" y="282117"/>
                </a:cubicBezTo>
                <a:close/>
                <a:moveTo>
                  <a:pt x="363724" y="101159"/>
                </a:moveTo>
                <a:cubicBezTo>
                  <a:pt x="359930" y="101159"/>
                  <a:pt x="356147" y="102604"/>
                  <a:pt x="353254" y="105492"/>
                </a:cubicBezTo>
                <a:lnTo>
                  <a:pt x="320945" y="137752"/>
                </a:lnTo>
                <a:cubicBezTo>
                  <a:pt x="321835" y="138463"/>
                  <a:pt x="322814" y="139174"/>
                  <a:pt x="323793" y="139974"/>
                </a:cubicBezTo>
                <a:cubicBezTo>
                  <a:pt x="327709" y="142818"/>
                  <a:pt x="331715" y="145662"/>
                  <a:pt x="335898" y="148417"/>
                </a:cubicBezTo>
                <a:cubicBezTo>
                  <a:pt x="337678" y="149572"/>
                  <a:pt x="339369" y="150728"/>
                  <a:pt x="341149" y="151794"/>
                </a:cubicBezTo>
                <a:cubicBezTo>
                  <a:pt x="347113" y="155527"/>
                  <a:pt x="353254" y="159082"/>
                  <a:pt x="359930" y="162459"/>
                </a:cubicBezTo>
                <a:cubicBezTo>
                  <a:pt x="376040" y="170724"/>
                  <a:pt x="392863" y="183344"/>
                  <a:pt x="408439" y="198897"/>
                </a:cubicBezTo>
                <a:cubicBezTo>
                  <a:pt x="424016" y="214449"/>
                  <a:pt x="436655" y="231246"/>
                  <a:pt x="444933" y="247243"/>
                </a:cubicBezTo>
                <a:cubicBezTo>
                  <a:pt x="448315" y="253998"/>
                  <a:pt x="451875" y="260130"/>
                  <a:pt x="455614" y="266084"/>
                </a:cubicBezTo>
                <a:cubicBezTo>
                  <a:pt x="456682" y="267862"/>
                  <a:pt x="457839" y="269550"/>
                  <a:pt x="458907" y="271239"/>
                </a:cubicBezTo>
                <a:cubicBezTo>
                  <a:pt x="461666" y="275416"/>
                  <a:pt x="464514" y="279504"/>
                  <a:pt x="467452" y="283326"/>
                </a:cubicBezTo>
                <a:cubicBezTo>
                  <a:pt x="468164" y="284303"/>
                  <a:pt x="468876" y="285281"/>
                  <a:pt x="469677" y="286258"/>
                </a:cubicBezTo>
                <a:lnTo>
                  <a:pt x="501987" y="253998"/>
                </a:lnTo>
                <a:cubicBezTo>
                  <a:pt x="507772" y="248221"/>
                  <a:pt x="507772" y="238800"/>
                  <a:pt x="501987" y="233024"/>
                </a:cubicBezTo>
                <a:lnTo>
                  <a:pt x="374260" y="105492"/>
                </a:lnTo>
                <a:cubicBezTo>
                  <a:pt x="371323" y="102604"/>
                  <a:pt x="367518" y="101159"/>
                  <a:pt x="363724" y="101159"/>
                </a:cubicBezTo>
                <a:close/>
                <a:moveTo>
                  <a:pt x="177209" y="50521"/>
                </a:moveTo>
                <a:cubicBezTo>
                  <a:pt x="183683" y="50521"/>
                  <a:pt x="190157" y="52987"/>
                  <a:pt x="195096" y="57919"/>
                </a:cubicBezTo>
                <a:cubicBezTo>
                  <a:pt x="205063" y="67784"/>
                  <a:pt x="205063" y="83869"/>
                  <a:pt x="195096" y="93644"/>
                </a:cubicBezTo>
                <a:lnTo>
                  <a:pt x="137075" y="151675"/>
                </a:lnTo>
                <a:lnTo>
                  <a:pt x="151936" y="151675"/>
                </a:lnTo>
                <a:cubicBezTo>
                  <a:pt x="165908" y="151675"/>
                  <a:pt x="177209" y="162961"/>
                  <a:pt x="177209" y="176914"/>
                </a:cubicBezTo>
                <a:cubicBezTo>
                  <a:pt x="177209" y="190866"/>
                  <a:pt x="165908" y="202241"/>
                  <a:pt x="151936" y="202241"/>
                </a:cubicBezTo>
                <a:lnTo>
                  <a:pt x="75939" y="202241"/>
                </a:lnTo>
                <a:cubicBezTo>
                  <a:pt x="69621" y="202241"/>
                  <a:pt x="63836" y="199842"/>
                  <a:pt x="59387" y="196020"/>
                </a:cubicBezTo>
                <a:cubicBezTo>
                  <a:pt x="58141" y="194954"/>
                  <a:pt x="56984" y="193710"/>
                  <a:pt x="55916" y="192288"/>
                </a:cubicBezTo>
                <a:cubicBezTo>
                  <a:pt x="52980" y="188466"/>
                  <a:pt x="51111" y="183845"/>
                  <a:pt x="50755" y="178691"/>
                </a:cubicBezTo>
                <a:cubicBezTo>
                  <a:pt x="50666" y="178069"/>
                  <a:pt x="50666" y="177447"/>
                  <a:pt x="50666" y="176736"/>
                </a:cubicBezTo>
                <a:lnTo>
                  <a:pt x="50666" y="101109"/>
                </a:lnTo>
                <a:cubicBezTo>
                  <a:pt x="50666" y="87157"/>
                  <a:pt x="61968" y="75782"/>
                  <a:pt x="75939" y="75782"/>
                </a:cubicBezTo>
                <a:cubicBezTo>
                  <a:pt x="89910" y="75782"/>
                  <a:pt x="101301" y="87157"/>
                  <a:pt x="101301" y="101109"/>
                </a:cubicBezTo>
                <a:lnTo>
                  <a:pt x="101301" y="115861"/>
                </a:lnTo>
                <a:lnTo>
                  <a:pt x="159322" y="57919"/>
                </a:lnTo>
                <a:cubicBezTo>
                  <a:pt x="164261" y="52987"/>
                  <a:pt x="170735" y="50521"/>
                  <a:pt x="177209" y="50521"/>
                </a:cubicBezTo>
                <a:close/>
                <a:moveTo>
                  <a:pt x="480892" y="0"/>
                </a:moveTo>
                <a:cubicBezTo>
                  <a:pt x="487122" y="0"/>
                  <a:pt x="494154" y="2666"/>
                  <a:pt x="498960" y="7376"/>
                </a:cubicBezTo>
                <a:lnTo>
                  <a:pt x="600162" y="108513"/>
                </a:lnTo>
                <a:cubicBezTo>
                  <a:pt x="604969" y="113312"/>
                  <a:pt x="607639" y="119800"/>
                  <a:pt x="607639" y="126554"/>
                </a:cubicBezTo>
                <a:cubicBezTo>
                  <a:pt x="607550" y="133309"/>
                  <a:pt x="604880" y="139708"/>
                  <a:pt x="599984" y="144507"/>
                </a:cubicBezTo>
                <a:lnTo>
                  <a:pt x="541417" y="201741"/>
                </a:lnTo>
                <a:cubicBezTo>
                  <a:pt x="562957" y="227425"/>
                  <a:pt x="561978" y="265640"/>
                  <a:pt x="537768" y="289724"/>
                </a:cubicBezTo>
                <a:lnTo>
                  <a:pt x="486499" y="340915"/>
                </a:lnTo>
                <a:cubicBezTo>
                  <a:pt x="485965" y="341537"/>
                  <a:pt x="485342" y="341715"/>
                  <a:pt x="484719" y="342159"/>
                </a:cubicBezTo>
                <a:cubicBezTo>
                  <a:pt x="483206" y="343403"/>
                  <a:pt x="481693" y="344470"/>
                  <a:pt x="480002" y="345270"/>
                </a:cubicBezTo>
                <a:cubicBezTo>
                  <a:pt x="478845" y="345892"/>
                  <a:pt x="477688" y="346425"/>
                  <a:pt x="476530" y="346869"/>
                </a:cubicBezTo>
                <a:cubicBezTo>
                  <a:pt x="474750" y="347403"/>
                  <a:pt x="472970" y="347669"/>
                  <a:pt x="471190" y="347847"/>
                </a:cubicBezTo>
                <a:cubicBezTo>
                  <a:pt x="470300" y="347936"/>
                  <a:pt x="469499" y="348380"/>
                  <a:pt x="468609" y="348380"/>
                </a:cubicBezTo>
                <a:cubicBezTo>
                  <a:pt x="468253" y="348380"/>
                  <a:pt x="467808" y="348114"/>
                  <a:pt x="467452" y="348114"/>
                </a:cubicBezTo>
                <a:cubicBezTo>
                  <a:pt x="465582" y="348025"/>
                  <a:pt x="463891" y="347580"/>
                  <a:pt x="462111" y="347047"/>
                </a:cubicBezTo>
                <a:cubicBezTo>
                  <a:pt x="460776" y="346692"/>
                  <a:pt x="459530" y="346514"/>
                  <a:pt x="458373" y="345981"/>
                </a:cubicBezTo>
                <a:cubicBezTo>
                  <a:pt x="458017" y="345892"/>
                  <a:pt x="457661" y="345892"/>
                  <a:pt x="457305" y="345714"/>
                </a:cubicBezTo>
                <a:lnTo>
                  <a:pt x="428911" y="331494"/>
                </a:lnTo>
                <a:cubicBezTo>
                  <a:pt x="421702" y="327940"/>
                  <a:pt x="412979" y="329273"/>
                  <a:pt x="407282" y="335049"/>
                </a:cubicBezTo>
                <a:lnTo>
                  <a:pt x="376308" y="365888"/>
                </a:lnTo>
                <a:cubicBezTo>
                  <a:pt x="367763" y="374509"/>
                  <a:pt x="356370" y="379219"/>
                  <a:pt x="344265" y="379219"/>
                </a:cubicBezTo>
                <a:cubicBezTo>
                  <a:pt x="332160" y="379219"/>
                  <a:pt x="320678" y="374509"/>
                  <a:pt x="312133" y="365888"/>
                </a:cubicBezTo>
                <a:lnTo>
                  <a:pt x="241194" y="295057"/>
                </a:lnTo>
                <a:cubicBezTo>
                  <a:pt x="223481" y="277371"/>
                  <a:pt x="223481" y="248576"/>
                  <a:pt x="241194" y="230891"/>
                </a:cubicBezTo>
                <a:lnTo>
                  <a:pt x="272079" y="200052"/>
                </a:lnTo>
                <a:cubicBezTo>
                  <a:pt x="277776" y="194364"/>
                  <a:pt x="279200" y="185655"/>
                  <a:pt x="275551" y="178456"/>
                </a:cubicBezTo>
                <a:lnTo>
                  <a:pt x="261398" y="150106"/>
                </a:lnTo>
                <a:cubicBezTo>
                  <a:pt x="261220" y="149750"/>
                  <a:pt x="261220" y="149395"/>
                  <a:pt x="261131" y="149039"/>
                </a:cubicBezTo>
                <a:cubicBezTo>
                  <a:pt x="260508" y="147884"/>
                  <a:pt x="260330" y="146640"/>
                  <a:pt x="260063" y="145307"/>
                </a:cubicBezTo>
                <a:cubicBezTo>
                  <a:pt x="259529" y="143529"/>
                  <a:pt x="259084" y="141841"/>
                  <a:pt x="258995" y="139974"/>
                </a:cubicBezTo>
                <a:cubicBezTo>
                  <a:pt x="258906" y="138730"/>
                  <a:pt x="259084" y="137486"/>
                  <a:pt x="259262" y="136242"/>
                </a:cubicBezTo>
                <a:cubicBezTo>
                  <a:pt x="259440" y="134375"/>
                  <a:pt x="259707" y="132687"/>
                  <a:pt x="260241" y="130909"/>
                </a:cubicBezTo>
                <a:cubicBezTo>
                  <a:pt x="260686" y="129754"/>
                  <a:pt x="261220" y="128599"/>
                  <a:pt x="261754" y="127443"/>
                </a:cubicBezTo>
                <a:cubicBezTo>
                  <a:pt x="262644" y="125755"/>
                  <a:pt x="263713" y="124155"/>
                  <a:pt x="264959" y="122733"/>
                </a:cubicBezTo>
                <a:cubicBezTo>
                  <a:pt x="265404" y="122111"/>
                  <a:pt x="265582" y="121400"/>
                  <a:pt x="266116" y="120955"/>
                </a:cubicBezTo>
                <a:lnTo>
                  <a:pt x="317384" y="69676"/>
                </a:lnTo>
                <a:cubicBezTo>
                  <a:pt x="341505" y="45592"/>
                  <a:pt x="379868" y="44525"/>
                  <a:pt x="405591" y="66121"/>
                </a:cubicBezTo>
                <a:lnTo>
                  <a:pt x="462912" y="7554"/>
                </a:lnTo>
                <a:cubicBezTo>
                  <a:pt x="467719" y="2755"/>
                  <a:pt x="474127" y="89"/>
                  <a:pt x="480892" y="0"/>
                </a:cubicBezTo>
                <a:close/>
              </a:path>
            </a:pathLst>
          </a:custGeom>
          <a:solidFill>
            <a:schemeClr val="bg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8" name="椭圆 17">
            <a:extLst>
              <a:ext uri="{FF2B5EF4-FFF2-40B4-BE49-F238E27FC236}">
                <a16:creationId xmlns:a16="http://schemas.microsoft.com/office/drawing/2014/main" id="{D4E9D73F-6702-47B7-A6D5-98A455DBE7BC}"/>
              </a:ext>
            </a:extLst>
          </p:cNvPr>
          <p:cNvSpPr/>
          <p:nvPr/>
        </p:nvSpPr>
        <p:spPr>
          <a:xfrm>
            <a:off x="7393848" y="1868335"/>
            <a:ext cx="835934" cy="835934"/>
          </a:xfrm>
          <a:prstGeom prst="ellipse">
            <a:avLst/>
          </a:prstGeom>
          <a:solidFill>
            <a:schemeClr val="bg1">
              <a:lumMod val="75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en-US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7587120" y="2061946"/>
            <a:ext cx="449390" cy="448711"/>
          </a:xfrm>
          <a:custGeom>
            <a:avLst/>
            <a:gdLst>
              <a:gd name="connsiteX0" fmla="*/ 106370 w 607639"/>
              <a:gd name="connsiteY0" fmla="*/ 436610 h 606722"/>
              <a:gd name="connsiteX1" fmla="*/ 61329 w 607639"/>
              <a:gd name="connsiteY1" fmla="*/ 480515 h 606722"/>
              <a:gd name="connsiteX2" fmla="*/ 126397 w 607639"/>
              <a:gd name="connsiteY2" fmla="*/ 545485 h 606722"/>
              <a:gd name="connsiteX3" fmla="*/ 170369 w 607639"/>
              <a:gd name="connsiteY3" fmla="*/ 500513 h 606722"/>
              <a:gd name="connsiteX4" fmla="*/ 455714 w 607639"/>
              <a:gd name="connsiteY4" fmla="*/ 404481 h 606722"/>
              <a:gd name="connsiteX5" fmla="*/ 531614 w 607639"/>
              <a:gd name="connsiteY5" fmla="*/ 404481 h 606722"/>
              <a:gd name="connsiteX6" fmla="*/ 531703 w 607639"/>
              <a:gd name="connsiteY6" fmla="*/ 404481 h 606722"/>
              <a:gd name="connsiteX7" fmla="*/ 531792 w 607639"/>
              <a:gd name="connsiteY7" fmla="*/ 404481 h 606722"/>
              <a:gd name="connsiteX8" fmla="*/ 548075 w 607639"/>
              <a:gd name="connsiteY8" fmla="*/ 410525 h 606722"/>
              <a:gd name="connsiteX9" fmla="*/ 551456 w 607639"/>
              <a:gd name="connsiteY9" fmla="*/ 413991 h 606722"/>
              <a:gd name="connsiteX10" fmla="*/ 556973 w 607639"/>
              <a:gd name="connsiteY10" fmla="*/ 429012 h 606722"/>
              <a:gd name="connsiteX11" fmla="*/ 556973 w 607639"/>
              <a:gd name="connsiteY11" fmla="*/ 429811 h 606722"/>
              <a:gd name="connsiteX12" fmla="*/ 556973 w 607639"/>
              <a:gd name="connsiteY12" fmla="*/ 505625 h 606722"/>
              <a:gd name="connsiteX13" fmla="*/ 531614 w 607639"/>
              <a:gd name="connsiteY13" fmla="*/ 530867 h 606722"/>
              <a:gd name="connsiteX14" fmla="*/ 506343 w 607639"/>
              <a:gd name="connsiteY14" fmla="*/ 505625 h 606722"/>
              <a:gd name="connsiteX15" fmla="*/ 476001 w 607639"/>
              <a:gd name="connsiteY15" fmla="*/ 546065 h 606722"/>
              <a:gd name="connsiteX16" fmla="*/ 455714 w 607639"/>
              <a:gd name="connsiteY16" fmla="*/ 556197 h 606722"/>
              <a:gd name="connsiteX17" fmla="*/ 440498 w 607639"/>
              <a:gd name="connsiteY17" fmla="*/ 551131 h 606722"/>
              <a:gd name="connsiteX18" fmla="*/ 435515 w 607639"/>
              <a:gd name="connsiteY18" fmla="*/ 515757 h 606722"/>
              <a:gd name="connsiteX19" fmla="*/ 481073 w 607639"/>
              <a:gd name="connsiteY19" fmla="*/ 455053 h 606722"/>
              <a:gd name="connsiteX20" fmla="*/ 455714 w 607639"/>
              <a:gd name="connsiteY20" fmla="*/ 455053 h 606722"/>
              <a:gd name="connsiteX21" fmla="*/ 430443 w 607639"/>
              <a:gd name="connsiteY21" fmla="*/ 429811 h 606722"/>
              <a:gd name="connsiteX22" fmla="*/ 455714 w 607639"/>
              <a:gd name="connsiteY22" fmla="*/ 404481 h 606722"/>
              <a:gd name="connsiteX23" fmla="*/ 157786 w 607639"/>
              <a:gd name="connsiteY23" fmla="*/ 282117 h 606722"/>
              <a:gd name="connsiteX24" fmla="*/ 175710 w 607639"/>
              <a:gd name="connsiteY24" fmla="*/ 289516 h 606722"/>
              <a:gd name="connsiteX25" fmla="*/ 317685 w 607639"/>
              <a:gd name="connsiteY25" fmla="*/ 431277 h 606722"/>
              <a:gd name="connsiteX26" fmla="*/ 317685 w 607639"/>
              <a:gd name="connsiteY26" fmla="*/ 467006 h 606722"/>
              <a:gd name="connsiteX27" fmla="*/ 245229 w 607639"/>
              <a:gd name="connsiteY27" fmla="*/ 539441 h 606722"/>
              <a:gd name="connsiteX28" fmla="*/ 227248 w 607639"/>
              <a:gd name="connsiteY28" fmla="*/ 546818 h 606722"/>
              <a:gd name="connsiteX29" fmla="*/ 209357 w 607639"/>
              <a:gd name="connsiteY29" fmla="*/ 539441 h 606722"/>
              <a:gd name="connsiteX30" fmla="*/ 206241 w 607639"/>
              <a:gd name="connsiteY30" fmla="*/ 536242 h 606722"/>
              <a:gd name="connsiteX31" fmla="*/ 144734 w 607639"/>
              <a:gd name="connsiteY31" fmla="*/ 599079 h 606722"/>
              <a:gd name="connsiteX32" fmla="*/ 126753 w 607639"/>
              <a:gd name="connsiteY32" fmla="*/ 606722 h 606722"/>
              <a:gd name="connsiteX33" fmla="*/ 126575 w 607639"/>
              <a:gd name="connsiteY33" fmla="*/ 606722 h 606722"/>
              <a:gd name="connsiteX34" fmla="*/ 108684 w 607639"/>
              <a:gd name="connsiteY34" fmla="*/ 599256 h 606722"/>
              <a:gd name="connsiteX35" fmla="*/ 7388 w 607639"/>
              <a:gd name="connsiteY35" fmla="*/ 498113 h 606722"/>
              <a:gd name="connsiteX36" fmla="*/ 0 w 607639"/>
              <a:gd name="connsiteY36" fmla="*/ 480160 h 606722"/>
              <a:gd name="connsiteX37" fmla="*/ 7655 w 607639"/>
              <a:gd name="connsiteY37" fmla="*/ 462206 h 606722"/>
              <a:gd name="connsiteX38" fmla="*/ 70587 w 607639"/>
              <a:gd name="connsiteY38" fmla="*/ 400792 h 606722"/>
              <a:gd name="connsiteX39" fmla="*/ 67382 w 607639"/>
              <a:gd name="connsiteY39" fmla="*/ 397681 h 606722"/>
              <a:gd name="connsiteX40" fmla="*/ 59994 w 607639"/>
              <a:gd name="connsiteY40" fmla="*/ 379728 h 606722"/>
              <a:gd name="connsiteX41" fmla="*/ 67382 w 607639"/>
              <a:gd name="connsiteY41" fmla="*/ 361863 h 606722"/>
              <a:gd name="connsiteX42" fmla="*/ 139927 w 607639"/>
              <a:gd name="connsiteY42" fmla="*/ 289516 h 606722"/>
              <a:gd name="connsiteX43" fmla="*/ 157786 w 607639"/>
              <a:gd name="connsiteY43" fmla="*/ 282117 h 606722"/>
              <a:gd name="connsiteX44" fmla="*/ 363724 w 607639"/>
              <a:gd name="connsiteY44" fmla="*/ 101159 h 606722"/>
              <a:gd name="connsiteX45" fmla="*/ 353254 w 607639"/>
              <a:gd name="connsiteY45" fmla="*/ 105492 h 606722"/>
              <a:gd name="connsiteX46" fmla="*/ 320945 w 607639"/>
              <a:gd name="connsiteY46" fmla="*/ 137752 h 606722"/>
              <a:gd name="connsiteX47" fmla="*/ 323793 w 607639"/>
              <a:gd name="connsiteY47" fmla="*/ 139974 h 606722"/>
              <a:gd name="connsiteX48" fmla="*/ 335898 w 607639"/>
              <a:gd name="connsiteY48" fmla="*/ 148417 h 606722"/>
              <a:gd name="connsiteX49" fmla="*/ 341149 w 607639"/>
              <a:gd name="connsiteY49" fmla="*/ 151794 h 606722"/>
              <a:gd name="connsiteX50" fmla="*/ 359930 w 607639"/>
              <a:gd name="connsiteY50" fmla="*/ 162459 h 606722"/>
              <a:gd name="connsiteX51" fmla="*/ 408439 w 607639"/>
              <a:gd name="connsiteY51" fmla="*/ 198897 h 606722"/>
              <a:gd name="connsiteX52" fmla="*/ 444933 w 607639"/>
              <a:gd name="connsiteY52" fmla="*/ 247243 h 606722"/>
              <a:gd name="connsiteX53" fmla="*/ 455614 w 607639"/>
              <a:gd name="connsiteY53" fmla="*/ 266084 h 606722"/>
              <a:gd name="connsiteX54" fmla="*/ 458907 w 607639"/>
              <a:gd name="connsiteY54" fmla="*/ 271239 h 606722"/>
              <a:gd name="connsiteX55" fmla="*/ 467452 w 607639"/>
              <a:gd name="connsiteY55" fmla="*/ 283326 h 606722"/>
              <a:gd name="connsiteX56" fmla="*/ 469677 w 607639"/>
              <a:gd name="connsiteY56" fmla="*/ 286258 h 606722"/>
              <a:gd name="connsiteX57" fmla="*/ 501987 w 607639"/>
              <a:gd name="connsiteY57" fmla="*/ 253998 h 606722"/>
              <a:gd name="connsiteX58" fmla="*/ 501987 w 607639"/>
              <a:gd name="connsiteY58" fmla="*/ 233024 h 606722"/>
              <a:gd name="connsiteX59" fmla="*/ 374260 w 607639"/>
              <a:gd name="connsiteY59" fmla="*/ 105492 h 606722"/>
              <a:gd name="connsiteX60" fmla="*/ 363724 w 607639"/>
              <a:gd name="connsiteY60" fmla="*/ 101159 h 606722"/>
              <a:gd name="connsiteX61" fmla="*/ 177209 w 607639"/>
              <a:gd name="connsiteY61" fmla="*/ 50521 h 606722"/>
              <a:gd name="connsiteX62" fmla="*/ 195096 w 607639"/>
              <a:gd name="connsiteY62" fmla="*/ 57919 h 606722"/>
              <a:gd name="connsiteX63" fmla="*/ 195096 w 607639"/>
              <a:gd name="connsiteY63" fmla="*/ 93644 h 606722"/>
              <a:gd name="connsiteX64" fmla="*/ 137075 w 607639"/>
              <a:gd name="connsiteY64" fmla="*/ 151675 h 606722"/>
              <a:gd name="connsiteX65" fmla="*/ 151936 w 607639"/>
              <a:gd name="connsiteY65" fmla="*/ 151675 h 606722"/>
              <a:gd name="connsiteX66" fmla="*/ 177209 w 607639"/>
              <a:gd name="connsiteY66" fmla="*/ 176914 h 606722"/>
              <a:gd name="connsiteX67" fmla="*/ 151936 w 607639"/>
              <a:gd name="connsiteY67" fmla="*/ 202241 h 606722"/>
              <a:gd name="connsiteX68" fmla="*/ 75939 w 607639"/>
              <a:gd name="connsiteY68" fmla="*/ 202241 h 606722"/>
              <a:gd name="connsiteX69" fmla="*/ 59387 w 607639"/>
              <a:gd name="connsiteY69" fmla="*/ 196020 h 606722"/>
              <a:gd name="connsiteX70" fmla="*/ 55916 w 607639"/>
              <a:gd name="connsiteY70" fmla="*/ 192288 h 606722"/>
              <a:gd name="connsiteX71" fmla="*/ 50755 w 607639"/>
              <a:gd name="connsiteY71" fmla="*/ 178691 h 606722"/>
              <a:gd name="connsiteX72" fmla="*/ 50666 w 607639"/>
              <a:gd name="connsiteY72" fmla="*/ 176736 h 606722"/>
              <a:gd name="connsiteX73" fmla="*/ 50666 w 607639"/>
              <a:gd name="connsiteY73" fmla="*/ 101109 h 606722"/>
              <a:gd name="connsiteX74" fmla="*/ 75939 w 607639"/>
              <a:gd name="connsiteY74" fmla="*/ 75782 h 606722"/>
              <a:gd name="connsiteX75" fmla="*/ 101301 w 607639"/>
              <a:gd name="connsiteY75" fmla="*/ 101109 h 606722"/>
              <a:gd name="connsiteX76" fmla="*/ 101301 w 607639"/>
              <a:gd name="connsiteY76" fmla="*/ 115861 h 606722"/>
              <a:gd name="connsiteX77" fmla="*/ 159322 w 607639"/>
              <a:gd name="connsiteY77" fmla="*/ 57919 h 606722"/>
              <a:gd name="connsiteX78" fmla="*/ 177209 w 607639"/>
              <a:gd name="connsiteY78" fmla="*/ 50521 h 606722"/>
              <a:gd name="connsiteX79" fmla="*/ 480892 w 607639"/>
              <a:gd name="connsiteY79" fmla="*/ 0 h 606722"/>
              <a:gd name="connsiteX80" fmla="*/ 498960 w 607639"/>
              <a:gd name="connsiteY80" fmla="*/ 7376 h 606722"/>
              <a:gd name="connsiteX81" fmla="*/ 600162 w 607639"/>
              <a:gd name="connsiteY81" fmla="*/ 108513 h 606722"/>
              <a:gd name="connsiteX82" fmla="*/ 607639 w 607639"/>
              <a:gd name="connsiteY82" fmla="*/ 126554 h 606722"/>
              <a:gd name="connsiteX83" fmla="*/ 599984 w 607639"/>
              <a:gd name="connsiteY83" fmla="*/ 144507 h 606722"/>
              <a:gd name="connsiteX84" fmla="*/ 541417 w 607639"/>
              <a:gd name="connsiteY84" fmla="*/ 201741 h 606722"/>
              <a:gd name="connsiteX85" fmla="*/ 537768 w 607639"/>
              <a:gd name="connsiteY85" fmla="*/ 289724 h 606722"/>
              <a:gd name="connsiteX86" fmla="*/ 486499 w 607639"/>
              <a:gd name="connsiteY86" fmla="*/ 340915 h 606722"/>
              <a:gd name="connsiteX87" fmla="*/ 484719 w 607639"/>
              <a:gd name="connsiteY87" fmla="*/ 342159 h 606722"/>
              <a:gd name="connsiteX88" fmla="*/ 480002 w 607639"/>
              <a:gd name="connsiteY88" fmla="*/ 345270 h 606722"/>
              <a:gd name="connsiteX89" fmla="*/ 476530 w 607639"/>
              <a:gd name="connsiteY89" fmla="*/ 346869 h 606722"/>
              <a:gd name="connsiteX90" fmla="*/ 471190 w 607639"/>
              <a:gd name="connsiteY90" fmla="*/ 347847 h 606722"/>
              <a:gd name="connsiteX91" fmla="*/ 468609 w 607639"/>
              <a:gd name="connsiteY91" fmla="*/ 348380 h 606722"/>
              <a:gd name="connsiteX92" fmla="*/ 467452 w 607639"/>
              <a:gd name="connsiteY92" fmla="*/ 348114 h 606722"/>
              <a:gd name="connsiteX93" fmla="*/ 462111 w 607639"/>
              <a:gd name="connsiteY93" fmla="*/ 347047 h 606722"/>
              <a:gd name="connsiteX94" fmla="*/ 458373 w 607639"/>
              <a:gd name="connsiteY94" fmla="*/ 345981 h 606722"/>
              <a:gd name="connsiteX95" fmla="*/ 457305 w 607639"/>
              <a:gd name="connsiteY95" fmla="*/ 345714 h 606722"/>
              <a:gd name="connsiteX96" fmla="*/ 428911 w 607639"/>
              <a:gd name="connsiteY96" fmla="*/ 331494 h 606722"/>
              <a:gd name="connsiteX97" fmla="*/ 407282 w 607639"/>
              <a:gd name="connsiteY97" fmla="*/ 335049 h 606722"/>
              <a:gd name="connsiteX98" fmla="*/ 376308 w 607639"/>
              <a:gd name="connsiteY98" fmla="*/ 365888 h 606722"/>
              <a:gd name="connsiteX99" fmla="*/ 344265 w 607639"/>
              <a:gd name="connsiteY99" fmla="*/ 379219 h 606722"/>
              <a:gd name="connsiteX100" fmla="*/ 312133 w 607639"/>
              <a:gd name="connsiteY100" fmla="*/ 365888 h 606722"/>
              <a:gd name="connsiteX101" fmla="*/ 241194 w 607639"/>
              <a:gd name="connsiteY101" fmla="*/ 295057 h 606722"/>
              <a:gd name="connsiteX102" fmla="*/ 241194 w 607639"/>
              <a:gd name="connsiteY102" fmla="*/ 230891 h 606722"/>
              <a:gd name="connsiteX103" fmla="*/ 272079 w 607639"/>
              <a:gd name="connsiteY103" fmla="*/ 200052 h 606722"/>
              <a:gd name="connsiteX104" fmla="*/ 275551 w 607639"/>
              <a:gd name="connsiteY104" fmla="*/ 178456 h 606722"/>
              <a:gd name="connsiteX105" fmla="*/ 261398 w 607639"/>
              <a:gd name="connsiteY105" fmla="*/ 150106 h 606722"/>
              <a:gd name="connsiteX106" fmla="*/ 261131 w 607639"/>
              <a:gd name="connsiteY106" fmla="*/ 149039 h 606722"/>
              <a:gd name="connsiteX107" fmla="*/ 260063 w 607639"/>
              <a:gd name="connsiteY107" fmla="*/ 145307 h 606722"/>
              <a:gd name="connsiteX108" fmla="*/ 258995 w 607639"/>
              <a:gd name="connsiteY108" fmla="*/ 139974 h 606722"/>
              <a:gd name="connsiteX109" fmla="*/ 259262 w 607639"/>
              <a:gd name="connsiteY109" fmla="*/ 136242 h 606722"/>
              <a:gd name="connsiteX110" fmla="*/ 260241 w 607639"/>
              <a:gd name="connsiteY110" fmla="*/ 130909 h 606722"/>
              <a:gd name="connsiteX111" fmla="*/ 261754 w 607639"/>
              <a:gd name="connsiteY111" fmla="*/ 127443 h 606722"/>
              <a:gd name="connsiteX112" fmla="*/ 264959 w 607639"/>
              <a:gd name="connsiteY112" fmla="*/ 122733 h 606722"/>
              <a:gd name="connsiteX113" fmla="*/ 266116 w 607639"/>
              <a:gd name="connsiteY113" fmla="*/ 120955 h 606722"/>
              <a:gd name="connsiteX114" fmla="*/ 317384 w 607639"/>
              <a:gd name="connsiteY114" fmla="*/ 69676 h 606722"/>
              <a:gd name="connsiteX115" fmla="*/ 405591 w 607639"/>
              <a:gd name="connsiteY115" fmla="*/ 66121 h 606722"/>
              <a:gd name="connsiteX116" fmla="*/ 462912 w 607639"/>
              <a:gd name="connsiteY116" fmla="*/ 7554 h 606722"/>
              <a:gd name="connsiteX117" fmla="*/ 480892 w 607639"/>
              <a:gd name="connsiteY117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607639" h="606722">
                <a:moveTo>
                  <a:pt x="106370" y="436610"/>
                </a:moveTo>
                <a:lnTo>
                  <a:pt x="61329" y="480515"/>
                </a:lnTo>
                <a:lnTo>
                  <a:pt x="126397" y="545485"/>
                </a:lnTo>
                <a:lnTo>
                  <a:pt x="170369" y="500513"/>
                </a:lnTo>
                <a:close/>
                <a:moveTo>
                  <a:pt x="455714" y="404481"/>
                </a:moveTo>
                <a:lnTo>
                  <a:pt x="531614" y="404481"/>
                </a:lnTo>
                <a:lnTo>
                  <a:pt x="531703" y="404481"/>
                </a:lnTo>
                <a:lnTo>
                  <a:pt x="531792" y="404481"/>
                </a:lnTo>
                <a:cubicBezTo>
                  <a:pt x="538020" y="404481"/>
                  <a:pt x="543715" y="406792"/>
                  <a:pt x="548075" y="410525"/>
                </a:cubicBezTo>
                <a:cubicBezTo>
                  <a:pt x="549321" y="411591"/>
                  <a:pt x="550388" y="412747"/>
                  <a:pt x="551456" y="413991"/>
                </a:cubicBezTo>
                <a:cubicBezTo>
                  <a:pt x="554748" y="418079"/>
                  <a:pt x="556795" y="423323"/>
                  <a:pt x="556973" y="429012"/>
                </a:cubicBezTo>
                <a:cubicBezTo>
                  <a:pt x="556973" y="429278"/>
                  <a:pt x="556973" y="429545"/>
                  <a:pt x="556973" y="429811"/>
                </a:cubicBezTo>
                <a:lnTo>
                  <a:pt x="556973" y="505625"/>
                </a:lnTo>
                <a:cubicBezTo>
                  <a:pt x="556973" y="519579"/>
                  <a:pt x="545673" y="530867"/>
                  <a:pt x="531614" y="530867"/>
                </a:cubicBezTo>
                <a:cubicBezTo>
                  <a:pt x="517644" y="530867"/>
                  <a:pt x="506343" y="519579"/>
                  <a:pt x="506343" y="505625"/>
                </a:cubicBezTo>
                <a:lnTo>
                  <a:pt x="476001" y="546065"/>
                </a:lnTo>
                <a:cubicBezTo>
                  <a:pt x="471018" y="552731"/>
                  <a:pt x="463366" y="556197"/>
                  <a:pt x="455714" y="556197"/>
                </a:cubicBezTo>
                <a:cubicBezTo>
                  <a:pt x="450375" y="556197"/>
                  <a:pt x="445125" y="554508"/>
                  <a:pt x="440498" y="551131"/>
                </a:cubicBezTo>
                <a:cubicBezTo>
                  <a:pt x="429375" y="542776"/>
                  <a:pt x="427062" y="526867"/>
                  <a:pt x="435515" y="515757"/>
                </a:cubicBezTo>
                <a:lnTo>
                  <a:pt x="481073" y="455053"/>
                </a:lnTo>
                <a:lnTo>
                  <a:pt x="455714" y="455053"/>
                </a:lnTo>
                <a:cubicBezTo>
                  <a:pt x="441744" y="455053"/>
                  <a:pt x="430443" y="443765"/>
                  <a:pt x="430443" y="429811"/>
                </a:cubicBezTo>
                <a:cubicBezTo>
                  <a:pt x="430443" y="415857"/>
                  <a:pt x="441744" y="404481"/>
                  <a:pt x="455714" y="404481"/>
                </a:cubicBezTo>
                <a:close/>
                <a:moveTo>
                  <a:pt x="157786" y="282117"/>
                </a:moveTo>
                <a:cubicBezTo>
                  <a:pt x="164272" y="282117"/>
                  <a:pt x="170770" y="284584"/>
                  <a:pt x="175710" y="289516"/>
                </a:cubicBezTo>
                <a:lnTo>
                  <a:pt x="317685" y="431277"/>
                </a:lnTo>
                <a:cubicBezTo>
                  <a:pt x="327565" y="441142"/>
                  <a:pt x="327565" y="457140"/>
                  <a:pt x="317685" y="467006"/>
                </a:cubicBezTo>
                <a:lnTo>
                  <a:pt x="245229" y="539441"/>
                </a:lnTo>
                <a:cubicBezTo>
                  <a:pt x="240422" y="544152"/>
                  <a:pt x="234013" y="546818"/>
                  <a:pt x="227248" y="546818"/>
                </a:cubicBezTo>
                <a:cubicBezTo>
                  <a:pt x="220572" y="546818"/>
                  <a:pt x="214163" y="544152"/>
                  <a:pt x="209357" y="539441"/>
                </a:cubicBezTo>
                <a:lnTo>
                  <a:pt x="206241" y="536242"/>
                </a:lnTo>
                <a:lnTo>
                  <a:pt x="144734" y="599079"/>
                </a:lnTo>
                <a:cubicBezTo>
                  <a:pt x="140016" y="603967"/>
                  <a:pt x="133518" y="606633"/>
                  <a:pt x="126753" y="606722"/>
                </a:cubicBezTo>
                <a:lnTo>
                  <a:pt x="126575" y="606722"/>
                </a:lnTo>
                <a:cubicBezTo>
                  <a:pt x="119899" y="606722"/>
                  <a:pt x="113491" y="604056"/>
                  <a:pt x="108684" y="599256"/>
                </a:cubicBezTo>
                <a:lnTo>
                  <a:pt x="7388" y="498113"/>
                </a:lnTo>
                <a:cubicBezTo>
                  <a:pt x="2670" y="493403"/>
                  <a:pt x="0" y="486914"/>
                  <a:pt x="0" y="480160"/>
                </a:cubicBezTo>
                <a:cubicBezTo>
                  <a:pt x="89" y="473405"/>
                  <a:pt x="2759" y="466917"/>
                  <a:pt x="7655" y="462206"/>
                </a:cubicBezTo>
                <a:lnTo>
                  <a:pt x="70587" y="400792"/>
                </a:lnTo>
                <a:lnTo>
                  <a:pt x="67382" y="397681"/>
                </a:lnTo>
                <a:cubicBezTo>
                  <a:pt x="62665" y="392882"/>
                  <a:pt x="59994" y="386482"/>
                  <a:pt x="59994" y="379728"/>
                </a:cubicBezTo>
                <a:cubicBezTo>
                  <a:pt x="59994" y="373062"/>
                  <a:pt x="62665" y="366663"/>
                  <a:pt x="67382" y="361863"/>
                </a:cubicBezTo>
                <a:lnTo>
                  <a:pt x="139927" y="289516"/>
                </a:lnTo>
                <a:cubicBezTo>
                  <a:pt x="144823" y="284584"/>
                  <a:pt x="151299" y="282117"/>
                  <a:pt x="157786" y="282117"/>
                </a:cubicBezTo>
                <a:close/>
                <a:moveTo>
                  <a:pt x="363724" y="101159"/>
                </a:moveTo>
                <a:cubicBezTo>
                  <a:pt x="359930" y="101159"/>
                  <a:pt x="356147" y="102604"/>
                  <a:pt x="353254" y="105492"/>
                </a:cubicBezTo>
                <a:lnTo>
                  <a:pt x="320945" y="137752"/>
                </a:lnTo>
                <a:cubicBezTo>
                  <a:pt x="321835" y="138463"/>
                  <a:pt x="322814" y="139174"/>
                  <a:pt x="323793" y="139974"/>
                </a:cubicBezTo>
                <a:cubicBezTo>
                  <a:pt x="327709" y="142818"/>
                  <a:pt x="331715" y="145662"/>
                  <a:pt x="335898" y="148417"/>
                </a:cubicBezTo>
                <a:cubicBezTo>
                  <a:pt x="337678" y="149572"/>
                  <a:pt x="339369" y="150728"/>
                  <a:pt x="341149" y="151794"/>
                </a:cubicBezTo>
                <a:cubicBezTo>
                  <a:pt x="347113" y="155527"/>
                  <a:pt x="353254" y="159082"/>
                  <a:pt x="359930" y="162459"/>
                </a:cubicBezTo>
                <a:cubicBezTo>
                  <a:pt x="376040" y="170724"/>
                  <a:pt x="392863" y="183344"/>
                  <a:pt x="408439" y="198897"/>
                </a:cubicBezTo>
                <a:cubicBezTo>
                  <a:pt x="424016" y="214449"/>
                  <a:pt x="436655" y="231246"/>
                  <a:pt x="444933" y="247243"/>
                </a:cubicBezTo>
                <a:cubicBezTo>
                  <a:pt x="448315" y="253998"/>
                  <a:pt x="451875" y="260130"/>
                  <a:pt x="455614" y="266084"/>
                </a:cubicBezTo>
                <a:cubicBezTo>
                  <a:pt x="456682" y="267862"/>
                  <a:pt x="457839" y="269550"/>
                  <a:pt x="458907" y="271239"/>
                </a:cubicBezTo>
                <a:cubicBezTo>
                  <a:pt x="461666" y="275416"/>
                  <a:pt x="464514" y="279504"/>
                  <a:pt x="467452" y="283326"/>
                </a:cubicBezTo>
                <a:cubicBezTo>
                  <a:pt x="468164" y="284303"/>
                  <a:pt x="468876" y="285281"/>
                  <a:pt x="469677" y="286258"/>
                </a:cubicBezTo>
                <a:lnTo>
                  <a:pt x="501987" y="253998"/>
                </a:lnTo>
                <a:cubicBezTo>
                  <a:pt x="507772" y="248221"/>
                  <a:pt x="507772" y="238800"/>
                  <a:pt x="501987" y="233024"/>
                </a:cubicBezTo>
                <a:lnTo>
                  <a:pt x="374260" y="105492"/>
                </a:lnTo>
                <a:cubicBezTo>
                  <a:pt x="371323" y="102604"/>
                  <a:pt x="367518" y="101159"/>
                  <a:pt x="363724" y="101159"/>
                </a:cubicBezTo>
                <a:close/>
                <a:moveTo>
                  <a:pt x="177209" y="50521"/>
                </a:moveTo>
                <a:cubicBezTo>
                  <a:pt x="183683" y="50521"/>
                  <a:pt x="190157" y="52987"/>
                  <a:pt x="195096" y="57919"/>
                </a:cubicBezTo>
                <a:cubicBezTo>
                  <a:pt x="205063" y="67784"/>
                  <a:pt x="205063" y="83869"/>
                  <a:pt x="195096" y="93644"/>
                </a:cubicBezTo>
                <a:lnTo>
                  <a:pt x="137075" y="151675"/>
                </a:lnTo>
                <a:lnTo>
                  <a:pt x="151936" y="151675"/>
                </a:lnTo>
                <a:cubicBezTo>
                  <a:pt x="165908" y="151675"/>
                  <a:pt x="177209" y="162961"/>
                  <a:pt x="177209" y="176914"/>
                </a:cubicBezTo>
                <a:cubicBezTo>
                  <a:pt x="177209" y="190866"/>
                  <a:pt x="165908" y="202241"/>
                  <a:pt x="151936" y="202241"/>
                </a:cubicBezTo>
                <a:lnTo>
                  <a:pt x="75939" y="202241"/>
                </a:lnTo>
                <a:cubicBezTo>
                  <a:pt x="69621" y="202241"/>
                  <a:pt x="63836" y="199842"/>
                  <a:pt x="59387" y="196020"/>
                </a:cubicBezTo>
                <a:cubicBezTo>
                  <a:pt x="58141" y="194954"/>
                  <a:pt x="56984" y="193710"/>
                  <a:pt x="55916" y="192288"/>
                </a:cubicBezTo>
                <a:cubicBezTo>
                  <a:pt x="52980" y="188466"/>
                  <a:pt x="51111" y="183845"/>
                  <a:pt x="50755" y="178691"/>
                </a:cubicBezTo>
                <a:cubicBezTo>
                  <a:pt x="50666" y="178069"/>
                  <a:pt x="50666" y="177447"/>
                  <a:pt x="50666" y="176736"/>
                </a:cubicBezTo>
                <a:lnTo>
                  <a:pt x="50666" y="101109"/>
                </a:lnTo>
                <a:cubicBezTo>
                  <a:pt x="50666" y="87157"/>
                  <a:pt x="61968" y="75782"/>
                  <a:pt x="75939" y="75782"/>
                </a:cubicBezTo>
                <a:cubicBezTo>
                  <a:pt x="89910" y="75782"/>
                  <a:pt x="101301" y="87157"/>
                  <a:pt x="101301" y="101109"/>
                </a:cubicBezTo>
                <a:lnTo>
                  <a:pt x="101301" y="115861"/>
                </a:lnTo>
                <a:lnTo>
                  <a:pt x="159322" y="57919"/>
                </a:lnTo>
                <a:cubicBezTo>
                  <a:pt x="164261" y="52987"/>
                  <a:pt x="170735" y="50521"/>
                  <a:pt x="177209" y="50521"/>
                </a:cubicBezTo>
                <a:close/>
                <a:moveTo>
                  <a:pt x="480892" y="0"/>
                </a:moveTo>
                <a:cubicBezTo>
                  <a:pt x="487122" y="0"/>
                  <a:pt x="494154" y="2666"/>
                  <a:pt x="498960" y="7376"/>
                </a:cubicBezTo>
                <a:lnTo>
                  <a:pt x="600162" y="108513"/>
                </a:lnTo>
                <a:cubicBezTo>
                  <a:pt x="604969" y="113312"/>
                  <a:pt x="607639" y="119800"/>
                  <a:pt x="607639" y="126554"/>
                </a:cubicBezTo>
                <a:cubicBezTo>
                  <a:pt x="607550" y="133309"/>
                  <a:pt x="604880" y="139708"/>
                  <a:pt x="599984" y="144507"/>
                </a:cubicBezTo>
                <a:lnTo>
                  <a:pt x="541417" y="201741"/>
                </a:lnTo>
                <a:cubicBezTo>
                  <a:pt x="562957" y="227425"/>
                  <a:pt x="561978" y="265640"/>
                  <a:pt x="537768" y="289724"/>
                </a:cubicBezTo>
                <a:lnTo>
                  <a:pt x="486499" y="340915"/>
                </a:lnTo>
                <a:cubicBezTo>
                  <a:pt x="485965" y="341537"/>
                  <a:pt x="485342" y="341715"/>
                  <a:pt x="484719" y="342159"/>
                </a:cubicBezTo>
                <a:cubicBezTo>
                  <a:pt x="483206" y="343403"/>
                  <a:pt x="481693" y="344470"/>
                  <a:pt x="480002" y="345270"/>
                </a:cubicBezTo>
                <a:cubicBezTo>
                  <a:pt x="478845" y="345892"/>
                  <a:pt x="477688" y="346425"/>
                  <a:pt x="476530" y="346869"/>
                </a:cubicBezTo>
                <a:cubicBezTo>
                  <a:pt x="474750" y="347403"/>
                  <a:pt x="472970" y="347669"/>
                  <a:pt x="471190" y="347847"/>
                </a:cubicBezTo>
                <a:cubicBezTo>
                  <a:pt x="470300" y="347936"/>
                  <a:pt x="469499" y="348380"/>
                  <a:pt x="468609" y="348380"/>
                </a:cubicBezTo>
                <a:cubicBezTo>
                  <a:pt x="468253" y="348380"/>
                  <a:pt x="467808" y="348114"/>
                  <a:pt x="467452" y="348114"/>
                </a:cubicBezTo>
                <a:cubicBezTo>
                  <a:pt x="465582" y="348025"/>
                  <a:pt x="463891" y="347580"/>
                  <a:pt x="462111" y="347047"/>
                </a:cubicBezTo>
                <a:cubicBezTo>
                  <a:pt x="460776" y="346692"/>
                  <a:pt x="459530" y="346514"/>
                  <a:pt x="458373" y="345981"/>
                </a:cubicBezTo>
                <a:cubicBezTo>
                  <a:pt x="458017" y="345892"/>
                  <a:pt x="457661" y="345892"/>
                  <a:pt x="457305" y="345714"/>
                </a:cubicBezTo>
                <a:lnTo>
                  <a:pt x="428911" y="331494"/>
                </a:lnTo>
                <a:cubicBezTo>
                  <a:pt x="421702" y="327940"/>
                  <a:pt x="412979" y="329273"/>
                  <a:pt x="407282" y="335049"/>
                </a:cubicBezTo>
                <a:lnTo>
                  <a:pt x="376308" y="365888"/>
                </a:lnTo>
                <a:cubicBezTo>
                  <a:pt x="367763" y="374509"/>
                  <a:pt x="356370" y="379219"/>
                  <a:pt x="344265" y="379219"/>
                </a:cubicBezTo>
                <a:cubicBezTo>
                  <a:pt x="332160" y="379219"/>
                  <a:pt x="320678" y="374509"/>
                  <a:pt x="312133" y="365888"/>
                </a:cubicBezTo>
                <a:lnTo>
                  <a:pt x="241194" y="295057"/>
                </a:lnTo>
                <a:cubicBezTo>
                  <a:pt x="223481" y="277371"/>
                  <a:pt x="223481" y="248576"/>
                  <a:pt x="241194" y="230891"/>
                </a:cubicBezTo>
                <a:lnTo>
                  <a:pt x="272079" y="200052"/>
                </a:lnTo>
                <a:cubicBezTo>
                  <a:pt x="277776" y="194364"/>
                  <a:pt x="279200" y="185655"/>
                  <a:pt x="275551" y="178456"/>
                </a:cubicBezTo>
                <a:lnTo>
                  <a:pt x="261398" y="150106"/>
                </a:lnTo>
                <a:cubicBezTo>
                  <a:pt x="261220" y="149750"/>
                  <a:pt x="261220" y="149395"/>
                  <a:pt x="261131" y="149039"/>
                </a:cubicBezTo>
                <a:cubicBezTo>
                  <a:pt x="260508" y="147884"/>
                  <a:pt x="260330" y="146640"/>
                  <a:pt x="260063" y="145307"/>
                </a:cubicBezTo>
                <a:cubicBezTo>
                  <a:pt x="259529" y="143529"/>
                  <a:pt x="259084" y="141841"/>
                  <a:pt x="258995" y="139974"/>
                </a:cubicBezTo>
                <a:cubicBezTo>
                  <a:pt x="258906" y="138730"/>
                  <a:pt x="259084" y="137486"/>
                  <a:pt x="259262" y="136242"/>
                </a:cubicBezTo>
                <a:cubicBezTo>
                  <a:pt x="259440" y="134375"/>
                  <a:pt x="259707" y="132687"/>
                  <a:pt x="260241" y="130909"/>
                </a:cubicBezTo>
                <a:cubicBezTo>
                  <a:pt x="260686" y="129754"/>
                  <a:pt x="261220" y="128599"/>
                  <a:pt x="261754" y="127443"/>
                </a:cubicBezTo>
                <a:cubicBezTo>
                  <a:pt x="262644" y="125755"/>
                  <a:pt x="263713" y="124155"/>
                  <a:pt x="264959" y="122733"/>
                </a:cubicBezTo>
                <a:cubicBezTo>
                  <a:pt x="265404" y="122111"/>
                  <a:pt x="265582" y="121400"/>
                  <a:pt x="266116" y="120955"/>
                </a:cubicBezTo>
                <a:lnTo>
                  <a:pt x="317384" y="69676"/>
                </a:lnTo>
                <a:cubicBezTo>
                  <a:pt x="341505" y="45592"/>
                  <a:pt x="379868" y="44525"/>
                  <a:pt x="405591" y="66121"/>
                </a:cubicBezTo>
                <a:lnTo>
                  <a:pt x="462912" y="7554"/>
                </a:lnTo>
                <a:cubicBezTo>
                  <a:pt x="467719" y="2755"/>
                  <a:pt x="474127" y="89"/>
                  <a:pt x="480892" y="0"/>
                </a:cubicBezTo>
                <a:close/>
              </a:path>
            </a:pathLst>
          </a:custGeom>
          <a:solidFill>
            <a:schemeClr val="bg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20" name="椭圆 19">
            <a:extLst>
              <a:ext uri="{FF2B5EF4-FFF2-40B4-BE49-F238E27FC236}">
                <a16:creationId xmlns:a16="http://schemas.microsoft.com/office/drawing/2014/main" id="{D4E9D73F-6702-47B7-A6D5-98A455DBE7BC}"/>
              </a:ext>
            </a:extLst>
          </p:cNvPr>
          <p:cNvSpPr/>
          <p:nvPr/>
        </p:nvSpPr>
        <p:spPr>
          <a:xfrm>
            <a:off x="5077756" y="4572833"/>
            <a:ext cx="835934" cy="835934"/>
          </a:xfrm>
          <a:prstGeom prst="ellipse">
            <a:avLst/>
          </a:prstGeom>
          <a:solidFill>
            <a:schemeClr val="accent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en-US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21" name="任意多边形: 形状 20"/>
          <p:cNvSpPr/>
          <p:nvPr/>
        </p:nvSpPr>
        <p:spPr>
          <a:xfrm>
            <a:off x="5290843" y="4766105"/>
            <a:ext cx="409759" cy="449389"/>
          </a:xfrm>
          <a:custGeom>
            <a:avLst/>
            <a:gdLst>
              <a:gd name="connsiteX0" fmla="*/ 337060 w 554856"/>
              <a:gd name="connsiteY0" fmla="*/ 351607 h 608518"/>
              <a:gd name="connsiteX1" fmla="*/ 316111 w 554856"/>
              <a:gd name="connsiteY1" fmla="*/ 393913 h 608518"/>
              <a:gd name="connsiteX2" fmla="*/ 362872 w 554856"/>
              <a:gd name="connsiteY2" fmla="*/ 351607 h 608518"/>
              <a:gd name="connsiteX3" fmla="*/ 287306 w 554856"/>
              <a:gd name="connsiteY3" fmla="*/ 351607 h 608518"/>
              <a:gd name="connsiteX4" fmla="*/ 287306 w 554856"/>
              <a:gd name="connsiteY4" fmla="*/ 397835 h 608518"/>
              <a:gd name="connsiteX5" fmla="*/ 316485 w 554856"/>
              <a:gd name="connsiteY5" fmla="*/ 351607 h 608518"/>
              <a:gd name="connsiteX6" fmla="*/ 238488 w 554856"/>
              <a:gd name="connsiteY6" fmla="*/ 351607 h 608518"/>
              <a:gd name="connsiteX7" fmla="*/ 267573 w 554856"/>
              <a:gd name="connsiteY7" fmla="*/ 397648 h 608518"/>
              <a:gd name="connsiteX8" fmla="*/ 267573 w 554856"/>
              <a:gd name="connsiteY8" fmla="*/ 351607 h 608518"/>
              <a:gd name="connsiteX9" fmla="*/ 191914 w 554856"/>
              <a:gd name="connsiteY9" fmla="*/ 351607 h 608518"/>
              <a:gd name="connsiteX10" fmla="*/ 238675 w 554856"/>
              <a:gd name="connsiteY10" fmla="*/ 393913 h 608518"/>
              <a:gd name="connsiteX11" fmla="*/ 217726 w 554856"/>
              <a:gd name="connsiteY11" fmla="*/ 351607 h 608518"/>
              <a:gd name="connsiteX12" fmla="*/ 341736 w 554856"/>
              <a:gd name="connsiteY12" fmla="*/ 276615 h 608518"/>
              <a:gd name="connsiteX13" fmla="*/ 343981 w 554856"/>
              <a:gd name="connsiteY13" fmla="*/ 304259 h 608518"/>
              <a:gd name="connsiteX14" fmla="*/ 341736 w 554856"/>
              <a:gd name="connsiteY14" fmla="*/ 331902 h 608518"/>
              <a:gd name="connsiteX15" fmla="*/ 371195 w 554856"/>
              <a:gd name="connsiteY15" fmla="*/ 331902 h 608518"/>
              <a:gd name="connsiteX16" fmla="*/ 375217 w 554856"/>
              <a:gd name="connsiteY16" fmla="*/ 304259 h 608518"/>
              <a:gd name="connsiteX17" fmla="*/ 371195 w 554856"/>
              <a:gd name="connsiteY17" fmla="*/ 276615 h 608518"/>
              <a:gd name="connsiteX18" fmla="*/ 287306 w 554856"/>
              <a:gd name="connsiteY18" fmla="*/ 276615 h 608518"/>
              <a:gd name="connsiteX19" fmla="*/ 287306 w 554856"/>
              <a:gd name="connsiteY19" fmla="*/ 331902 h 608518"/>
              <a:gd name="connsiteX20" fmla="*/ 321816 w 554856"/>
              <a:gd name="connsiteY20" fmla="*/ 331902 h 608518"/>
              <a:gd name="connsiteX21" fmla="*/ 324435 w 554856"/>
              <a:gd name="connsiteY21" fmla="*/ 304259 h 608518"/>
              <a:gd name="connsiteX22" fmla="*/ 321816 w 554856"/>
              <a:gd name="connsiteY22" fmla="*/ 276615 h 608518"/>
              <a:gd name="connsiteX23" fmla="*/ 233064 w 554856"/>
              <a:gd name="connsiteY23" fmla="*/ 276615 h 608518"/>
              <a:gd name="connsiteX24" fmla="*/ 230445 w 554856"/>
              <a:gd name="connsiteY24" fmla="*/ 304259 h 608518"/>
              <a:gd name="connsiteX25" fmla="*/ 233064 w 554856"/>
              <a:gd name="connsiteY25" fmla="*/ 331902 h 608518"/>
              <a:gd name="connsiteX26" fmla="*/ 267573 w 554856"/>
              <a:gd name="connsiteY26" fmla="*/ 331902 h 608518"/>
              <a:gd name="connsiteX27" fmla="*/ 267573 w 554856"/>
              <a:gd name="connsiteY27" fmla="*/ 276615 h 608518"/>
              <a:gd name="connsiteX28" fmla="*/ 183684 w 554856"/>
              <a:gd name="connsiteY28" fmla="*/ 276615 h 608518"/>
              <a:gd name="connsiteX29" fmla="*/ 179663 w 554856"/>
              <a:gd name="connsiteY29" fmla="*/ 304259 h 608518"/>
              <a:gd name="connsiteX30" fmla="*/ 183684 w 554856"/>
              <a:gd name="connsiteY30" fmla="*/ 331902 h 608518"/>
              <a:gd name="connsiteX31" fmla="*/ 213050 w 554856"/>
              <a:gd name="connsiteY31" fmla="*/ 331902 h 608518"/>
              <a:gd name="connsiteX32" fmla="*/ 210805 w 554856"/>
              <a:gd name="connsiteY32" fmla="*/ 304259 h 608518"/>
              <a:gd name="connsiteX33" fmla="*/ 213050 w 554856"/>
              <a:gd name="connsiteY33" fmla="*/ 276615 h 608518"/>
              <a:gd name="connsiteX34" fmla="*/ 316205 w 554856"/>
              <a:gd name="connsiteY34" fmla="*/ 214604 h 608518"/>
              <a:gd name="connsiteX35" fmla="*/ 337153 w 554856"/>
              <a:gd name="connsiteY35" fmla="*/ 257003 h 608518"/>
              <a:gd name="connsiteX36" fmla="*/ 362966 w 554856"/>
              <a:gd name="connsiteY36" fmla="*/ 257003 h 608518"/>
              <a:gd name="connsiteX37" fmla="*/ 316205 w 554856"/>
              <a:gd name="connsiteY37" fmla="*/ 214604 h 608518"/>
              <a:gd name="connsiteX38" fmla="*/ 238768 w 554856"/>
              <a:gd name="connsiteY38" fmla="*/ 214604 h 608518"/>
              <a:gd name="connsiteX39" fmla="*/ 192007 w 554856"/>
              <a:gd name="connsiteY39" fmla="*/ 257003 h 608518"/>
              <a:gd name="connsiteX40" fmla="*/ 217820 w 554856"/>
              <a:gd name="connsiteY40" fmla="*/ 257003 h 608518"/>
              <a:gd name="connsiteX41" fmla="*/ 238768 w 554856"/>
              <a:gd name="connsiteY41" fmla="*/ 214604 h 608518"/>
              <a:gd name="connsiteX42" fmla="*/ 287306 w 554856"/>
              <a:gd name="connsiteY42" fmla="*/ 210869 h 608518"/>
              <a:gd name="connsiteX43" fmla="*/ 287306 w 554856"/>
              <a:gd name="connsiteY43" fmla="*/ 257003 h 608518"/>
              <a:gd name="connsiteX44" fmla="*/ 316298 w 554856"/>
              <a:gd name="connsiteY44" fmla="*/ 257003 h 608518"/>
              <a:gd name="connsiteX45" fmla="*/ 287306 w 554856"/>
              <a:gd name="connsiteY45" fmla="*/ 210869 h 608518"/>
              <a:gd name="connsiteX46" fmla="*/ 267573 w 554856"/>
              <a:gd name="connsiteY46" fmla="*/ 210775 h 608518"/>
              <a:gd name="connsiteX47" fmla="*/ 238394 w 554856"/>
              <a:gd name="connsiteY47" fmla="*/ 257003 h 608518"/>
              <a:gd name="connsiteX48" fmla="*/ 267573 w 554856"/>
              <a:gd name="connsiteY48" fmla="*/ 257003 h 608518"/>
              <a:gd name="connsiteX49" fmla="*/ 261681 w 554856"/>
              <a:gd name="connsiteY49" fmla="*/ 129433 h 608518"/>
              <a:gd name="connsiteX50" fmla="*/ 293105 w 554856"/>
              <a:gd name="connsiteY50" fmla="*/ 129433 h 608518"/>
              <a:gd name="connsiteX51" fmla="*/ 304701 w 554856"/>
              <a:gd name="connsiteY51" fmla="*/ 141013 h 608518"/>
              <a:gd name="connsiteX52" fmla="*/ 304701 w 554856"/>
              <a:gd name="connsiteY52" fmla="*/ 167162 h 608518"/>
              <a:gd name="connsiteX53" fmla="*/ 355203 w 554856"/>
              <a:gd name="connsiteY53" fmla="*/ 188082 h 608518"/>
              <a:gd name="connsiteX54" fmla="*/ 373721 w 554856"/>
              <a:gd name="connsiteY54" fmla="*/ 169684 h 608518"/>
              <a:gd name="connsiteX55" fmla="*/ 389993 w 554856"/>
              <a:gd name="connsiteY55" fmla="*/ 169684 h 608518"/>
              <a:gd name="connsiteX56" fmla="*/ 412252 w 554856"/>
              <a:gd name="connsiteY56" fmla="*/ 191817 h 608518"/>
              <a:gd name="connsiteX57" fmla="*/ 412252 w 554856"/>
              <a:gd name="connsiteY57" fmla="*/ 208161 h 608518"/>
              <a:gd name="connsiteX58" fmla="*/ 393734 w 554856"/>
              <a:gd name="connsiteY58" fmla="*/ 226558 h 608518"/>
              <a:gd name="connsiteX59" fmla="*/ 414683 w 554856"/>
              <a:gd name="connsiteY59" fmla="*/ 276989 h 608518"/>
              <a:gd name="connsiteX60" fmla="*/ 440869 w 554856"/>
              <a:gd name="connsiteY60" fmla="*/ 276989 h 608518"/>
              <a:gd name="connsiteX61" fmla="*/ 452466 w 554856"/>
              <a:gd name="connsiteY61" fmla="*/ 288569 h 608518"/>
              <a:gd name="connsiteX62" fmla="*/ 452466 w 554856"/>
              <a:gd name="connsiteY62" fmla="*/ 319948 h 608518"/>
              <a:gd name="connsiteX63" fmla="*/ 440869 w 554856"/>
              <a:gd name="connsiteY63" fmla="*/ 331528 h 608518"/>
              <a:gd name="connsiteX64" fmla="*/ 414683 w 554856"/>
              <a:gd name="connsiteY64" fmla="*/ 331528 h 608518"/>
              <a:gd name="connsiteX65" fmla="*/ 393734 w 554856"/>
              <a:gd name="connsiteY65" fmla="*/ 381959 h 608518"/>
              <a:gd name="connsiteX66" fmla="*/ 412252 w 554856"/>
              <a:gd name="connsiteY66" fmla="*/ 400450 h 608518"/>
              <a:gd name="connsiteX67" fmla="*/ 412252 w 554856"/>
              <a:gd name="connsiteY67" fmla="*/ 416700 h 608518"/>
              <a:gd name="connsiteX68" fmla="*/ 389993 w 554856"/>
              <a:gd name="connsiteY68" fmla="*/ 438927 h 608518"/>
              <a:gd name="connsiteX69" fmla="*/ 373721 w 554856"/>
              <a:gd name="connsiteY69" fmla="*/ 438927 h 608518"/>
              <a:gd name="connsiteX70" fmla="*/ 355203 w 554856"/>
              <a:gd name="connsiteY70" fmla="*/ 420435 h 608518"/>
              <a:gd name="connsiteX71" fmla="*/ 304701 w 554856"/>
              <a:gd name="connsiteY71" fmla="*/ 441355 h 608518"/>
              <a:gd name="connsiteX72" fmla="*/ 304701 w 554856"/>
              <a:gd name="connsiteY72" fmla="*/ 467504 h 608518"/>
              <a:gd name="connsiteX73" fmla="*/ 293105 w 554856"/>
              <a:gd name="connsiteY73" fmla="*/ 479084 h 608518"/>
              <a:gd name="connsiteX74" fmla="*/ 261681 w 554856"/>
              <a:gd name="connsiteY74" fmla="*/ 479084 h 608518"/>
              <a:gd name="connsiteX75" fmla="*/ 250085 w 554856"/>
              <a:gd name="connsiteY75" fmla="*/ 467504 h 608518"/>
              <a:gd name="connsiteX76" fmla="*/ 250085 w 554856"/>
              <a:gd name="connsiteY76" fmla="*/ 441355 h 608518"/>
              <a:gd name="connsiteX77" fmla="*/ 199583 w 554856"/>
              <a:gd name="connsiteY77" fmla="*/ 420435 h 608518"/>
              <a:gd name="connsiteX78" fmla="*/ 181159 w 554856"/>
              <a:gd name="connsiteY78" fmla="*/ 438927 h 608518"/>
              <a:gd name="connsiteX79" fmla="*/ 164793 w 554856"/>
              <a:gd name="connsiteY79" fmla="*/ 438927 h 608518"/>
              <a:gd name="connsiteX80" fmla="*/ 142628 w 554856"/>
              <a:gd name="connsiteY80" fmla="*/ 416700 h 608518"/>
              <a:gd name="connsiteX81" fmla="*/ 142628 w 554856"/>
              <a:gd name="connsiteY81" fmla="*/ 400450 h 608518"/>
              <a:gd name="connsiteX82" fmla="*/ 161052 w 554856"/>
              <a:gd name="connsiteY82" fmla="*/ 381959 h 608518"/>
              <a:gd name="connsiteX83" fmla="*/ 140103 w 554856"/>
              <a:gd name="connsiteY83" fmla="*/ 331528 h 608518"/>
              <a:gd name="connsiteX84" fmla="*/ 113917 w 554856"/>
              <a:gd name="connsiteY84" fmla="*/ 331528 h 608518"/>
              <a:gd name="connsiteX85" fmla="*/ 102320 w 554856"/>
              <a:gd name="connsiteY85" fmla="*/ 319948 h 608518"/>
              <a:gd name="connsiteX86" fmla="*/ 102320 w 554856"/>
              <a:gd name="connsiteY86" fmla="*/ 288569 h 608518"/>
              <a:gd name="connsiteX87" fmla="*/ 113917 w 554856"/>
              <a:gd name="connsiteY87" fmla="*/ 276989 h 608518"/>
              <a:gd name="connsiteX88" fmla="*/ 140103 w 554856"/>
              <a:gd name="connsiteY88" fmla="*/ 276989 h 608518"/>
              <a:gd name="connsiteX89" fmla="*/ 161052 w 554856"/>
              <a:gd name="connsiteY89" fmla="*/ 226558 h 608518"/>
              <a:gd name="connsiteX90" fmla="*/ 142628 w 554856"/>
              <a:gd name="connsiteY90" fmla="*/ 208161 h 608518"/>
              <a:gd name="connsiteX91" fmla="*/ 142628 w 554856"/>
              <a:gd name="connsiteY91" fmla="*/ 191817 h 608518"/>
              <a:gd name="connsiteX92" fmla="*/ 164793 w 554856"/>
              <a:gd name="connsiteY92" fmla="*/ 169684 h 608518"/>
              <a:gd name="connsiteX93" fmla="*/ 181159 w 554856"/>
              <a:gd name="connsiteY93" fmla="*/ 169684 h 608518"/>
              <a:gd name="connsiteX94" fmla="*/ 199583 w 554856"/>
              <a:gd name="connsiteY94" fmla="*/ 188082 h 608518"/>
              <a:gd name="connsiteX95" fmla="*/ 250085 w 554856"/>
              <a:gd name="connsiteY95" fmla="*/ 167162 h 608518"/>
              <a:gd name="connsiteX96" fmla="*/ 250085 w 554856"/>
              <a:gd name="connsiteY96" fmla="*/ 141013 h 608518"/>
              <a:gd name="connsiteX97" fmla="*/ 261681 w 554856"/>
              <a:gd name="connsiteY97" fmla="*/ 129433 h 608518"/>
              <a:gd name="connsiteX98" fmla="*/ 440285 w 554856"/>
              <a:gd name="connsiteY98" fmla="*/ 80037 h 608518"/>
              <a:gd name="connsiteX99" fmla="*/ 554856 w 554856"/>
              <a:gd name="connsiteY99" fmla="*/ 304247 h 608518"/>
              <a:gd name="connsiteX100" fmla="*/ 277361 w 554856"/>
              <a:gd name="connsiteY100" fmla="*/ 581311 h 608518"/>
              <a:gd name="connsiteX101" fmla="*/ 277361 w 554856"/>
              <a:gd name="connsiteY101" fmla="*/ 605310 h 608518"/>
              <a:gd name="connsiteX102" fmla="*/ 272404 w 554856"/>
              <a:gd name="connsiteY102" fmla="*/ 607925 h 608518"/>
              <a:gd name="connsiteX103" fmla="*/ 207216 w 554856"/>
              <a:gd name="connsiteY103" fmla="*/ 563288 h 608518"/>
              <a:gd name="connsiteX104" fmla="*/ 207216 w 554856"/>
              <a:gd name="connsiteY104" fmla="*/ 558059 h 608518"/>
              <a:gd name="connsiteX105" fmla="*/ 272404 w 554856"/>
              <a:gd name="connsiteY105" fmla="*/ 513329 h 608518"/>
              <a:gd name="connsiteX106" fmla="*/ 277361 w 554856"/>
              <a:gd name="connsiteY106" fmla="*/ 515944 h 608518"/>
              <a:gd name="connsiteX107" fmla="*/ 277361 w 554856"/>
              <a:gd name="connsiteY107" fmla="*/ 539943 h 608518"/>
              <a:gd name="connsiteX108" fmla="*/ 513423 w 554856"/>
              <a:gd name="connsiteY108" fmla="*/ 304247 h 608518"/>
              <a:gd name="connsiteX109" fmla="*/ 415968 w 554856"/>
              <a:gd name="connsiteY109" fmla="*/ 113374 h 608518"/>
              <a:gd name="connsiteX110" fmla="*/ 282452 w 554856"/>
              <a:gd name="connsiteY110" fmla="*/ 593 h 608518"/>
              <a:gd name="connsiteX111" fmla="*/ 347640 w 554856"/>
              <a:gd name="connsiteY111" fmla="*/ 45228 h 608518"/>
              <a:gd name="connsiteX112" fmla="*/ 347640 w 554856"/>
              <a:gd name="connsiteY112" fmla="*/ 50550 h 608518"/>
              <a:gd name="connsiteX113" fmla="*/ 282452 w 554856"/>
              <a:gd name="connsiteY113" fmla="*/ 95278 h 608518"/>
              <a:gd name="connsiteX114" fmla="*/ 277402 w 554856"/>
              <a:gd name="connsiteY114" fmla="*/ 92664 h 608518"/>
              <a:gd name="connsiteX115" fmla="*/ 277402 w 554856"/>
              <a:gd name="connsiteY115" fmla="*/ 68572 h 608518"/>
              <a:gd name="connsiteX116" fmla="*/ 41339 w 554856"/>
              <a:gd name="connsiteY116" fmla="*/ 304258 h 608518"/>
              <a:gd name="connsiteX117" fmla="*/ 138888 w 554856"/>
              <a:gd name="connsiteY117" fmla="*/ 495122 h 608518"/>
              <a:gd name="connsiteX118" fmla="*/ 114571 w 554856"/>
              <a:gd name="connsiteY118" fmla="*/ 528551 h 608518"/>
              <a:gd name="connsiteX119" fmla="*/ 0 w 554856"/>
              <a:gd name="connsiteY119" fmla="*/ 304258 h 608518"/>
              <a:gd name="connsiteX120" fmla="*/ 277402 w 554856"/>
              <a:gd name="connsiteY120" fmla="*/ 27299 h 608518"/>
              <a:gd name="connsiteX121" fmla="*/ 277402 w 554856"/>
              <a:gd name="connsiteY121" fmla="*/ 3208 h 608518"/>
              <a:gd name="connsiteX122" fmla="*/ 282452 w 554856"/>
              <a:gd name="connsiteY122" fmla="*/ 593 h 608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</a:cxnLst>
            <a:rect l="l" t="t" r="r" b="b"/>
            <a:pathLst>
              <a:path w="554856" h="608518">
                <a:moveTo>
                  <a:pt x="337060" y="351607"/>
                </a:moveTo>
                <a:cubicBezTo>
                  <a:pt x="331823" y="368791"/>
                  <a:pt x="324060" y="382893"/>
                  <a:pt x="316111" y="393913"/>
                </a:cubicBezTo>
                <a:cubicBezTo>
                  <a:pt x="336031" y="385321"/>
                  <a:pt x="352491" y="370378"/>
                  <a:pt x="362872" y="351607"/>
                </a:cubicBezTo>
                <a:close/>
                <a:moveTo>
                  <a:pt x="287306" y="351607"/>
                </a:moveTo>
                <a:lnTo>
                  <a:pt x="287306" y="397835"/>
                </a:lnTo>
                <a:cubicBezTo>
                  <a:pt x="296752" y="388309"/>
                  <a:pt x="308723" y="373180"/>
                  <a:pt x="316485" y="351607"/>
                </a:cubicBezTo>
                <a:close/>
                <a:moveTo>
                  <a:pt x="238488" y="351607"/>
                </a:moveTo>
                <a:cubicBezTo>
                  <a:pt x="246250" y="372900"/>
                  <a:pt x="258127" y="388123"/>
                  <a:pt x="267573" y="397648"/>
                </a:cubicBezTo>
                <a:lnTo>
                  <a:pt x="267573" y="351607"/>
                </a:lnTo>
                <a:close/>
                <a:moveTo>
                  <a:pt x="191914" y="351607"/>
                </a:moveTo>
                <a:cubicBezTo>
                  <a:pt x="202388" y="370378"/>
                  <a:pt x="218848" y="385321"/>
                  <a:pt x="238675" y="393913"/>
                </a:cubicBezTo>
                <a:cubicBezTo>
                  <a:pt x="230632" y="382893"/>
                  <a:pt x="222963" y="368791"/>
                  <a:pt x="217726" y="351607"/>
                </a:cubicBezTo>
                <a:close/>
                <a:moveTo>
                  <a:pt x="341736" y="276615"/>
                </a:moveTo>
                <a:cubicBezTo>
                  <a:pt x="343139" y="285207"/>
                  <a:pt x="343981" y="294453"/>
                  <a:pt x="343981" y="304259"/>
                </a:cubicBezTo>
                <a:cubicBezTo>
                  <a:pt x="343981" y="314158"/>
                  <a:pt x="343232" y="323310"/>
                  <a:pt x="341736" y="331902"/>
                </a:cubicBezTo>
                <a:lnTo>
                  <a:pt x="371195" y="331902"/>
                </a:lnTo>
                <a:cubicBezTo>
                  <a:pt x="373814" y="323217"/>
                  <a:pt x="375217" y="313878"/>
                  <a:pt x="375217" y="304259"/>
                </a:cubicBezTo>
                <a:cubicBezTo>
                  <a:pt x="375217" y="294733"/>
                  <a:pt x="373814" y="285394"/>
                  <a:pt x="371195" y="276615"/>
                </a:cubicBezTo>
                <a:close/>
                <a:moveTo>
                  <a:pt x="287306" y="276615"/>
                </a:moveTo>
                <a:lnTo>
                  <a:pt x="287306" y="331902"/>
                </a:lnTo>
                <a:lnTo>
                  <a:pt x="321816" y="331902"/>
                </a:lnTo>
                <a:cubicBezTo>
                  <a:pt x="323406" y="323497"/>
                  <a:pt x="324435" y="314251"/>
                  <a:pt x="324435" y="304259"/>
                </a:cubicBezTo>
                <a:cubicBezTo>
                  <a:pt x="324435" y="294359"/>
                  <a:pt x="323406" y="285114"/>
                  <a:pt x="321816" y="276615"/>
                </a:cubicBezTo>
                <a:close/>
                <a:moveTo>
                  <a:pt x="233064" y="276615"/>
                </a:moveTo>
                <a:cubicBezTo>
                  <a:pt x="231380" y="285114"/>
                  <a:pt x="230445" y="294359"/>
                  <a:pt x="230445" y="304259"/>
                </a:cubicBezTo>
                <a:cubicBezTo>
                  <a:pt x="230445" y="314251"/>
                  <a:pt x="231380" y="323497"/>
                  <a:pt x="233064" y="331902"/>
                </a:cubicBezTo>
                <a:lnTo>
                  <a:pt x="267573" y="331902"/>
                </a:lnTo>
                <a:lnTo>
                  <a:pt x="267573" y="276615"/>
                </a:lnTo>
                <a:close/>
                <a:moveTo>
                  <a:pt x="183684" y="276615"/>
                </a:moveTo>
                <a:cubicBezTo>
                  <a:pt x="181065" y="285394"/>
                  <a:pt x="179663" y="294733"/>
                  <a:pt x="179663" y="304259"/>
                </a:cubicBezTo>
                <a:cubicBezTo>
                  <a:pt x="179663" y="313878"/>
                  <a:pt x="181065" y="323123"/>
                  <a:pt x="183684" y="331902"/>
                </a:cubicBezTo>
                <a:lnTo>
                  <a:pt x="213050" y="331902"/>
                </a:lnTo>
                <a:cubicBezTo>
                  <a:pt x="211741" y="323310"/>
                  <a:pt x="210805" y="314158"/>
                  <a:pt x="210805" y="304259"/>
                </a:cubicBezTo>
                <a:cubicBezTo>
                  <a:pt x="210805" y="294453"/>
                  <a:pt x="211554" y="285207"/>
                  <a:pt x="213050" y="276615"/>
                </a:cubicBezTo>
                <a:close/>
                <a:moveTo>
                  <a:pt x="316205" y="214604"/>
                </a:moveTo>
                <a:cubicBezTo>
                  <a:pt x="324154" y="225718"/>
                  <a:pt x="331916" y="239820"/>
                  <a:pt x="337153" y="257003"/>
                </a:cubicBezTo>
                <a:lnTo>
                  <a:pt x="362966" y="257003"/>
                </a:lnTo>
                <a:cubicBezTo>
                  <a:pt x="352491" y="238139"/>
                  <a:pt x="336031" y="223196"/>
                  <a:pt x="316205" y="214604"/>
                </a:cubicBezTo>
                <a:close/>
                <a:moveTo>
                  <a:pt x="238768" y="214604"/>
                </a:moveTo>
                <a:cubicBezTo>
                  <a:pt x="218848" y="223196"/>
                  <a:pt x="202388" y="238139"/>
                  <a:pt x="192007" y="257003"/>
                </a:cubicBezTo>
                <a:lnTo>
                  <a:pt x="217820" y="257003"/>
                </a:lnTo>
                <a:cubicBezTo>
                  <a:pt x="223057" y="239820"/>
                  <a:pt x="230819" y="225718"/>
                  <a:pt x="238768" y="214604"/>
                </a:cubicBezTo>
                <a:close/>
                <a:moveTo>
                  <a:pt x="287306" y="210869"/>
                </a:moveTo>
                <a:lnTo>
                  <a:pt x="287306" y="257003"/>
                </a:lnTo>
                <a:lnTo>
                  <a:pt x="316298" y="257003"/>
                </a:lnTo>
                <a:cubicBezTo>
                  <a:pt x="308629" y="235711"/>
                  <a:pt x="296752" y="220488"/>
                  <a:pt x="287306" y="210869"/>
                </a:cubicBezTo>
                <a:close/>
                <a:moveTo>
                  <a:pt x="267573" y="210775"/>
                </a:moveTo>
                <a:cubicBezTo>
                  <a:pt x="258127" y="220208"/>
                  <a:pt x="246157" y="235430"/>
                  <a:pt x="238394" y="257003"/>
                </a:cubicBezTo>
                <a:lnTo>
                  <a:pt x="267573" y="257003"/>
                </a:lnTo>
                <a:close/>
                <a:moveTo>
                  <a:pt x="261681" y="129433"/>
                </a:moveTo>
                <a:lnTo>
                  <a:pt x="293105" y="129433"/>
                </a:lnTo>
                <a:cubicBezTo>
                  <a:pt x="299651" y="129433"/>
                  <a:pt x="304701" y="134663"/>
                  <a:pt x="304701" y="141013"/>
                </a:cubicBezTo>
                <a:lnTo>
                  <a:pt x="304701" y="167162"/>
                </a:lnTo>
                <a:cubicBezTo>
                  <a:pt x="323032" y="170805"/>
                  <a:pt x="340146" y="177996"/>
                  <a:pt x="355203" y="188082"/>
                </a:cubicBezTo>
                <a:lnTo>
                  <a:pt x="373721" y="169684"/>
                </a:lnTo>
                <a:cubicBezTo>
                  <a:pt x="378210" y="165201"/>
                  <a:pt x="385504" y="165201"/>
                  <a:pt x="389993" y="169684"/>
                </a:cubicBezTo>
                <a:lnTo>
                  <a:pt x="412252" y="191817"/>
                </a:lnTo>
                <a:cubicBezTo>
                  <a:pt x="416741" y="196300"/>
                  <a:pt x="416741" y="203678"/>
                  <a:pt x="412252" y="208161"/>
                </a:cubicBezTo>
                <a:lnTo>
                  <a:pt x="393734" y="226558"/>
                </a:lnTo>
                <a:cubicBezTo>
                  <a:pt x="403835" y="241501"/>
                  <a:pt x="411129" y="258684"/>
                  <a:pt x="414683" y="276989"/>
                </a:cubicBezTo>
                <a:lnTo>
                  <a:pt x="440869" y="276989"/>
                </a:lnTo>
                <a:cubicBezTo>
                  <a:pt x="447416" y="276989"/>
                  <a:pt x="452466" y="282219"/>
                  <a:pt x="452466" y="288569"/>
                </a:cubicBezTo>
                <a:lnTo>
                  <a:pt x="452466" y="319948"/>
                </a:lnTo>
                <a:cubicBezTo>
                  <a:pt x="452466" y="326485"/>
                  <a:pt x="447229" y="331528"/>
                  <a:pt x="440869" y="331528"/>
                </a:cubicBezTo>
                <a:lnTo>
                  <a:pt x="414683" y="331528"/>
                </a:lnTo>
                <a:cubicBezTo>
                  <a:pt x="411129" y="349833"/>
                  <a:pt x="403835" y="366923"/>
                  <a:pt x="393734" y="381959"/>
                </a:cubicBezTo>
                <a:lnTo>
                  <a:pt x="412252" y="400450"/>
                </a:lnTo>
                <a:cubicBezTo>
                  <a:pt x="416741" y="404933"/>
                  <a:pt x="416741" y="412217"/>
                  <a:pt x="412252" y="416700"/>
                </a:cubicBezTo>
                <a:lnTo>
                  <a:pt x="389993" y="438927"/>
                </a:lnTo>
                <a:cubicBezTo>
                  <a:pt x="385504" y="443409"/>
                  <a:pt x="378210" y="443409"/>
                  <a:pt x="373721" y="438927"/>
                </a:cubicBezTo>
                <a:lnTo>
                  <a:pt x="355203" y="420435"/>
                </a:lnTo>
                <a:cubicBezTo>
                  <a:pt x="340240" y="430521"/>
                  <a:pt x="323032" y="437806"/>
                  <a:pt x="304701" y="441355"/>
                </a:cubicBezTo>
                <a:lnTo>
                  <a:pt x="304701" y="467504"/>
                </a:lnTo>
                <a:cubicBezTo>
                  <a:pt x="304701" y="474041"/>
                  <a:pt x="299464" y="479084"/>
                  <a:pt x="293105" y="479084"/>
                </a:cubicBezTo>
                <a:lnTo>
                  <a:pt x="261681" y="479084"/>
                </a:lnTo>
                <a:cubicBezTo>
                  <a:pt x="255228" y="479084"/>
                  <a:pt x="250085" y="473854"/>
                  <a:pt x="250085" y="467504"/>
                </a:cubicBezTo>
                <a:lnTo>
                  <a:pt x="250085" y="441355"/>
                </a:lnTo>
                <a:cubicBezTo>
                  <a:pt x="231754" y="437806"/>
                  <a:pt x="214733" y="430521"/>
                  <a:pt x="199583" y="420435"/>
                </a:cubicBezTo>
                <a:lnTo>
                  <a:pt x="181159" y="438927"/>
                </a:lnTo>
                <a:cubicBezTo>
                  <a:pt x="176670" y="443409"/>
                  <a:pt x="169282" y="443409"/>
                  <a:pt x="164793" y="438927"/>
                </a:cubicBezTo>
                <a:lnTo>
                  <a:pt x="142628" y="416700"/>
                </a:lnTo>
                <a:cubicBezTo>
                  <a:pt x="138139" y="412217"/>
                  <a:pt x="138139" y="404933"/>
                  <a:pt x="142628" y="400450"/>
                </a:cubicBezTo>
                <a:lnTo>
                  <a:pt x="161052" y="381959"/>
                </a:lnTo>
                <a:cubicBezTo>
                  <a:pt x="150951" y="367016"/>
                  <a:pt x="143750" y="349833"/>
                  <a:pt x="140103" y="331528"/>
                </a:cubicBezTo>
                <a:lnTo>
                  <a:pt x="113917" y="331528"/>
                </a:lnTo>
                <a:cubicBezTo>
                  <a:pt x="107464" y="331528"/>
                  <a:pt x="102320" y="326299"/>
                  <a:pt x="102320" y="319948"/>
                </a:cubicBezTo>
                <a:lnTo>
                  <a:pt x="102320" y="288569"/>
                </a:lnTo>
                <a:cubicBezTo>
                  <a:pt x="102320" y="282125"/>
                  <a:pt x="107557" y="276989"/>
                  <a:pt x="113917" y="276989"/>
                </a:cubicBezTo>
                <a:lnTo>
                  <a:pt x="140103" y="276989"/>
                </a:lnTo>
                <a:cubicBezTo>
                  <a:pt x="143750" y="258684"/>
                  <a:pt x="150951" y="241687"/>
                  <a:pt x="161052" y="226558"/>
                </a:cubicBezTo>
                <a:lnTo>
                  <a:pt x="142628" y="208161"/>
                </a:lnTo>
                <a:cubicBezTo>
                  <a:pt x="138139" y="203678"/>
                  <a:pt x="138139" y="196300"/>
                  <a:pt x="142628" y="191817"/>
                </a:cubicBezTo>
                <a:lnTo>
                  <a:pt x="164793" y="169684"/>
                </a:lnTo>
                <a:cubicBezTo>
                  <a:pt x="169282" y="165201"/>
                  <a:pt x="176670" y="165201"/>
                  <a:pt x="181159" y="169684"/>
                </a:cubicBezTo>
                <a:lnTo>
                  <a:pt x="199583" y="188082"/>
                </a:lnTo>
                <a:cubicBezTo>
                  <a:pt x="214546" y="177996"/>
                  <a:pt x="231754" y="170805"/>
                  <a:pt x="250085" y="167162"/>
                </a:cubicBezTo>
                <a:lnTo>
                  <a:pt x="250085" y="141013"/>
                </a:lnTo>
                <a:cubicBezTo>
                  <a:pt x="250085" y="134569"/>
                  <a:pt x="255322" y="129433"/>
                  <a:pt x="261681" y="129433"/>
                </a:cubicBezTo>
                <a:close/>
                <a:moveTo>
                  <a:pt x="440285" y="80037"/>
                </a:moveTo>
                <a:cubicBezTo>
                  <a:pt x="511927" y="131957"/>
                  <a:pt x="554856" y="215908"/>
                  <a:pt x="554856" y="304247"/>
                </a:cubicBezTo>
                <a:cubicBezTo>
                  <a:pt x="554856" y="457020"/>
                  <a:pt x="430371" y="581311"/>
                  <a:pt x="277361" y="581311"/>
                </a:cubicBezTo>
                <a:lnTo>
                  <a:pt x="277361" y="605310"/>
                </a:lnTo>
                <a:cubicBezTo>
                  <a:pt x="277361" y="607925"/>
                  <a:pt x="274555" y="609419"/>
                  <a:pt x="272404" y="607925"/>
                </a:cubicBezTo>
                <a:lnTo>
                  <a:pt x="207216" y="563288"/>
                </a:lnTo>
                <a:cubicBezTo>
                  <a:pt x="205345" y="561981"/>
                  <a:pt x="205345" y="559273"/>
                  <a:pt x="207216" y="558059"/>
                </a:cubicBezTo>
                <a:lnTo>
                  <a:pt x="272404" y="513329"/>
                </a:lnTo>
                <a:cubicBezTo>
                  <a:pt x="274555" y="511835"/>
                  <a:pt x="277361" y="513329"/>
                  <a:pt x="277361" y="515944"/>
                </a:cubicBezTo>
                <a:lnTo>
                  <a:pt x="277361" y="539943"/>
                </a:lnTo>
                <a:cubicBezTo>
                  <a:pt x="407551" y="539943"/>
                  <a:pt x="513423" y="434235"/>
                  <a:pt x="513423" y="304247"/>
                </a:cubicBezTo>
                <a:cubicBezTo>
                  <a:pt x="513423" y="229075"/>
                  <a:pt x="477041" y="157637"/>
                  <a:pt x="415968" y="113374"/>
                </a:cubicBezTo>
                <a:close/>
                <a:moveTo>
                  <a:pt x="282452" y="593"/>
                </a:moveTo>
                <a:lnTo>
                  <a:pt x="347640" y="45228"/>
                </a:lnTo>
                <a:cubicBezTo>
                  <a:pt x="349511" y="46535"/>
                  <a:pt x="349511" y="49336"/>
                  <a:pt x="347640" y="50550"/>
                </a:cubicBezTo>
                <a:lnTo>
                  <a:pt x="282452" y="95278"/>
                </a:lnTo>
                <a:cubicBezTo>
                  <a:pt x="280301" y="96772"/>
                  <a:pt x="277402" y="95278"/>
                  <a:pt x="277402" y="92664"/>
                </a:cubicBezTo>
                <a:lnTo>
                  <a:pt x="277402" y="68572"/>
                </a:lnTo>
                <a:cubicBezTo>
                  <a:pt x="147212" y="68572"/>
                  <a:pt x="41339" y="174276"/>
                  <a:pt x="41339" y="304258"/>
                </a:cubicBezTo>
                <a:cubicBezTo>
                  <a:pt x="41339" y="379520"/>
                  <a:pt x="77908" y="450861"/>
                  <a:pt x="138888" y="495122"/>
                </a:cubicBezTo>
                <a:lnTo>
                  <a:pt x="114571" y="528551"/>
                </a:lnTo>
                <a:cubicBezTo>
                  <a:pt x="42835" y="476633"/>
                  <a:pt x="0" y="392686"/>
                  <a:pt x="0" y="304258"/>
                </a:cubicBezTo>
                <a:cubicBezTo>
                  <a:pt x="0" y="151492"/>
                  <a:pt x="124391" y="27299"/>
                  <a:pt x="277402" y="27299"/>
                </a:cubicBezTo>
                <a:lnTo>
                  <a:pt x="277402" y="3208"/>
                </a:lnTo>
                <a:cubicBezTo>
                  <a:pt x="277402" y="593"/>
                  <a:pt x="280301" y="-901"/>
                  <a:pt x="282452" y="593"/>
                </a:cubicBezTo>
                <a:close/>
              </a:path>
            </a:pathLst>
          </a:custGeom>
          <a:solidFill>
            <a:schemeClr val="bg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22" name="椭圆 21">
            <a:extLst>
              <a:ext uri="{FF2B5EF4-FFF2-40B4-BE49-F238E27FC236}">
                <a16:creationId xmlns:a16="http://schemas.microsoft.com/office/drawing/2014/main" id="{D4E9D73F-6702-47B7-A6D5-98A455DBE7BC}"/>
              </a:ext>
            </a:extLst>
          </p:cNvPr>
          <p:cNvSpPr/>
          <p:nvPr/>
        </p:nvSpPr>
        <p:spPr>
          <a:xfrm>
            <a:off x="7393848" y="4572833"/>
            <a:ext cx="835934" cy="835934"/>
          </a:xfrm>
          <a:prstGeom prst="ellipse">
            <a:avLst/>
          </a:prstGeom>
          <a:solidFill>
            <a:schemeClr val="bg1">
              <a:lumMod val="75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en-US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23" name="任意多边形: 形状 22"/>
          <p:cNvSpPr/>
          <p:nvPr/>
        </p:nvSpPr>
        <p:spPr>
          <a:xfrm>
            <a:off x="7606935" y="4766105"/>
            <a:ext cx="409759" cy="449389"/>
          </a:xfrm>
          <a:custGeom>
            <a:avLst/>
            <a:gdLst>
              <a:gd name="connsiteX0" fmla="*/ 337060 w 554856"/>
              <a:gd name="connsiteY0" fmla="*/ 351607 h 608518"/>
              <a:gd name="connsiteX1" fmla="*/ 316111 w 554856"/>
              <a:gd name="connsiteY1" fmla="*/ 393913 h 608518"/>
              <a:gd name="connsiteX2" fmla="*/ 362872 w 554856"/>
              <a:gd name="connsiteY2" fmla="*/ 351607 h 608518"/>
              <a:gd name="connsiteX3" fmla="*/ 287306 w 554856"/>
              <a:gd name="connsiteY3" fmla="*/ 351607 h 608518"/>
              <a:gd name="connsiteX4" fmla="*/ 287306 w 554856"/>
              <a:gd name="connsiteY4" fmla="*/ 397835 h 608518"/>
              <a:gd name="connsiteX5" fmla="*/ 316485 w 554856"/>
              <a:gd name="connsiteY5" fmla="*/ 351607 h 608518"/>
              <a:gd name="connsiteX6" fmla="*/ 238488 w 554856"/>
              <a:gd name="connsiteY6" fmla="*/ 351607 h 608518"/>
              <a:gd name="connsiteX7" fmla="*/ 267573 w 554856"/>
              <a:gd name="connsiteY7" fmla="*/ 397648 h 608518"/>
              <a:gd name="connsiteX8" fmla="*/ 267573 w 554856"/>
              <a:gd name="connsiteY8" fmla="*/ 351607 h 608518"/>
              <a:gd name="connsiteX9" fmla="*/ 191914 w 554856"/>
              <a:gd name="connsiteY9" fmla="*/ 351607 h 608518"/>
              <a:gd name="connsiteX10" fmla="*/ 238675 w 554856"/>
              <a:gd name="connsiteY10" fmla="*/ 393913 h 608518"/>
              <a:gd name="connsiteX11" fmla="*/ 217726 w 554856"/>
              <a:gd name="connsiteY11" fmla="*/ 351607 h 608518"/>
              <a:gd name="connsiteX12" fmla="*/ 341736 w 554856"/>
              <a:gd name="connsiteY12" fmla="*/ 276615 h 608518"/>
              <a:gd name="connsiteX13" fmla="*/ 343981 w 554856"/>
              <a:gd name="connsiteY13" fmla="*/ 304259 h 608518"/>
              <a:gd name="connsiteX14" fmla="*/ 341736 w 554856"/>
              <a:gd name="connsiteY14" fmla="*/ 331902 h 608518"/>
              <a:gd name="connsiteX15" fmla="*/ 371195 w 554856"/>
              <a:gd name="connsiteY15" fmla="*/ 331902 h 608518"/>
              <a:gd name="connsiteX16" fmla="*/ 375217 w 554856"/>
              <a:gd name="connsiteY16" fmla="*/ 304259 h 608518"/>
              <a:gd name="connsiteX17" fmla="*/ 371195 w 554856"/>
              <a:gd name="connsiteY17" fmla="*/ 276615 h 608518"/>
              <a:gd name="connsiteX18" fmla="*/ 287306 w 554856"/>
              <a:gd name="connsiteY18" fmla="*/ 276615 h 608518"/>
              <a:gd name="connsiteX19" fmla="*/ 287306 w 554856"/>
              <a:gd name="connsiteY19" fmla="*/ 331902 h 608518"/>
              <a:gd name="connsiteX20" fmla="*/ 321816 w 554856"/>
              <a:gd name="connsiteY20" fmla="*/ 331902 h 608518"/>
              <a:gd name="connsiteX21" fmla="*/ 324435 w 554856"/>
              <a:gd name="connsiteY21" fmla="*/ 304259 h 608518"/>
              <a:gd name="connsiteX22" fmla="*/ 321816 w 554856"/>
              <a:gd name="connsiteY22" fmla="*/ 276615 h 608518"/>
              <a:gd name="connsiteX23" fmla="*/ 233064 w 554856"/>
              <a:gd name="connsiteY23" fmla="*/ 276615 h 608518"/>
              <a:gd name="connsiteX24" fmla="*/ 230445 w 554856"/>
              <a:gd name="connsiteY24" fmla="*/ 304259 h 608518"/>
              <a:gd name="connsiteX25" fmla="*/ 233064 w 554856"/>
              <a:gd name="connsiteY25" fmla="*/ 331902 h 608518"/>
              <a:gd name="connsiteX26" fmla="*/ 267573 w 554856"/>
              <a:gd name="connsiteY26" fmla="*/ 331902 h 608518"/>
              <a:gd name="connsiteX27" fmla="*/ 267573 w 554856"/>
              <a:gd name="connsiteY27" fmla="*/ 276615 h 608518"/>
              <a:gd name="connsiteX28" fmla="*/ 183684 w 554856"/>
              <a:gd name="connsiteY28" fmla="*/ 276615 h 608518"/>
              <a:gd name="connsiteX29" fmla="*/ 179663 w 554856"/>
              <a:gd name="connsiteY29" fmla="*/ 304259 h 608518"/>
              <a:gd name="connsiteX30" fmla="*/ 183684 w 554856"/>
              <a:gd name="connsiteY30" fmla="*/ 331902 h 608518"/>
              <a:gd name="connsiteX31" fmla="*/ 213050 w 554856"/>
              <a:gd name="connsiteY31" fmla="*/ 331902 h 608518"/>
              <a:gd name="connsiteX32" fmla="*/ 210805 w 554856"/>
              <a:gd name="connsiteY32" fmla="*/ 304259 h 608518"/>
              <a:gd name="connsiteX33" fmla="*/ 213050 w 554856"/>
              <a:gd name="connsiteY33" fmla="*/ 276615 h 608518"/>
              <a:gd name="connsiteX34" fmla="*/ 316205 w 554856"/>
              <a:gd name="connsiteY34" fmla="*/ 214604 h 608518"/>
              <a:gd name="connsiteX35" fmla="*/ 337153 w 554856"/>
              <a:gd name="connsiteY35" fmla="*/ 257003 h 608518"/>
              <a:gd name="connsiteX36" fmla="*/ 362966 w 554856"/>
              <a:gd name="connsiteY36" fmla="*/ 257003 h 608518"/>
              <a:gd name="connsiteX37" fmla="*/ 316205 w 554856"/>
              <a:gd name="connsiteY37" fmla="*/ 214604 h 608518"/>
              <a:gd name="connsiteX38" fmla="*/ 238768 w 554856"/>
              <a:gd name="connsiteY38" fmla="*/ 214604 h 608518"/>
              <a:gd name="connsiteX39" fmla="*/ 192007 w 554856"/>
              <a:gd name="connsiteY39" fmla="*/ 257003 h 608518"/>
              <a:gd name="connsiteX40" fmla="*/ 217820 w 554856"/>
              <a:gd name="connsiteY40" fmla="*/ 257003 h 608518"/>
              <a:gd name="connsiteX41" fmla="*/ 238768 w 554856"/>
              <a:gd name="connsiteY41" fmla="*/ 214604 h 608518"/>
              <a:gd name="connsiteX42" fmla="*/ 287306 w 554856"/>
              <a:gd name="connsiteY42" fmla="*/ 210869 h 608518"/>
              <a:gd name="connsiteX43" fmla="*/ 287306 w 554856"/>
              <a:gd name="connsiteY43" fmla="*/ 257003 h 608518"/>
              <a:gd name="connsiteX44" fmla="*/ 316298 w 554856"/>
              <a:gd name="connsiteY44" fmla="*/ 257003 h 608518"/>
              <a:gd name="connsiteX45" fmla="*/ 287306 w 554856"/>
              <a:gd name="connsiteY45" fmla="*/ 210869 h 608518"/>
              <a:gd name="connsiteX46" fmla="*/ 267573 w 554856"/>
              <a:gd name="connsiteY46" fmla="*/ 210775 h 608518"/>
              <a:gd name="connsiteX47" fmla="*/ 238394 w 554856"/>
              <a:gd name="connsiteY47" fmla="*/ 257003 h 608518"/>
              <a:gd name="connsiteX48" fmla="*/ 267573 w 554856"/>
              <a:gd name="connsiteY48" fmla="*/ 257003 h 608518"/>
              <a:gd name="connsiteX49" fmla="*/ 261681 w 554856"/>
              <a:gd name="connsiteY49" fmla="*/ 129433 h 608518"/>
              <a:gd name="connsiteX50" fmla="*/ 293105 w 554856"/>
              <a:gd name="connsiteY50" fmla="*/ 129433 h 608518"/>
              <a:gd name="connsiteX51" fmla="*/ 304701 w 554856"/>
              <a:gd name="connsiteY51" fmla="*/ 141013 h 608518"/>
              <a:gd name="connsiteX52" fmla="*/ 304701 w 554856"/>
              <a:gd name="connsiteY52" fmla="*/ 167162 h 608518"/>
              <a:gd name="connsiteX53" fmla="*/ 355203 w 554856"/>
              <a:gd name="connsiteY53" fmla="*/ 188082 h 608518"/>
              <a:gd name="connsiteX54" fmla="*/ 373721 w 554856"/>
              <a:gd name="connsiteY54" fmla="*/ 169684 h 608518"/>
              <a:gd name="connsiteX55" fmla="*/ 389993 w 554856"/>
              <a:gd name="connsiteY55" fmla="*/ 169684 h 608518"/>
              <a:gd name="connsiteX56" fmla="*/ 412252 w 554856"/>
              <a:gd name="connsiteY56" fmla="*/ 191817 h 608518"/>
              <a:gd name="connsiteX57" fmla="*/ 412252 w 554856"/>
              <a:gd name="connsiteY57" fmla="*/ 208161 h 608518"/>
              <a:gd name="connsiteX58" fmla="*/ 393734 w 554856"/>
              <a:gd name="connsiteY58" fmla="*/ 226558 h 608518"/>
              <a:gd name="connsiteX59" fmla="*/ 414683 w 554856"/>
              <a:gd name="connsiteY59" fmla="*/ 276989 h 608518"/>
              <a:gd name="connsiteX60" fmla="*/ 440869 w 554856"/>
              <a:gd name="connsiteY60" fmla="*/ 276989 h 608518"/>
              <a:gd name="connsiteX61" fmla="*/ 452466 w 554856"/>
              <a:gd name="connsiteY61" fmla="*/ 288569 h 608518"/>
              <a:gd name="connsiteX62" fmla="*/ 452466 w 554856"/>
              <a:gd name="connsiteY62" fmla="*/ 319948 h 608518"/>
              <a:gd name="connsiteX63" fmla="*/ 440869 w 554856"/>
              <a:gd name="connsiteY63" fmla="*/ 331528 h 608518"/>
              <a:gd name="connsiteX64" fmla="*/ 414683 w 554856"/>
              <a:gd name="connsiteY64" fmla="*/ 331528 h 608518"/>
              <a:gd name="connsiteX65" fmla="*/ 393734 w 554856"/>
              <a:gd name="connsiteY65" fmla="*/ 381959 h 608518"/>
              <a:gd name="connsiteX66" fmla="*/ 412252 w 554856"/>
              <a:gd name="connsiteY66" fmla="*/ 400450 h 608518"/>
              <a:gd name="connsiteX67" fmla="*/ 412252 w 554856"/>
              <a:gd name="connsiteY67" fmla="*/ 416700 h 608518"/>
              <a:gd name="connsiteX68" fmla="*/ 389993 w 554856"/>
              <a:gd name="connsiteY68" fmla="*/ 438927 h 608518"/>
              <a:gd name="connsiteX69" fmla="*/ 373721 w 554856"/>
              <a:gd name="connsiteY69" fmla="*/ 438927 h 608518"/>
              <a:gd name="connsiteX70" fmla="*/ 355203 w 554856"/>
              <a:gd name="connsiteY70" fmla="*/ 420435 h 608518"/>
              <a:gd name="connsiteX71" fmla="*/ 304701 w 554856"/>
              <a:gd name="connsiteY71" fmla="*/ 441355 h 608518"/>
              <a:gd name="connsiteX72" fmla="*/ 304701 w 554856"/>
              <a:gd name="connsiteY72" fmla="*/ 467504 h 608518"/>
              <a:gd name="connsiteX73" fmla="*/ 293105 w 554856"/>
              <a:gd name="connsiteY73" fmla="*/ 479084 h 608518"/>
              <a:gd name="connsiteX74" fmla="*/ 261681 w 554856"/>
              <a:gd name="connsiteY74" fmla="*/ 479084 h 608518"/>
              <a:gd name="connsiteX75" fmla="*/ 250085 w 554856"/>
              <a:gd name="connsiteY75" fmla="*/ 467504 h 608518"/>
              <a:gd name="connsiteX76" fmla="*/ 250085 w 554856"/>
              <a:gd name="connsiteY76" fmla="*/ 441355 h 608518"/>
              <a:gd name="connsiteX77" fmla="*/ 199583 w 554856"/>
              <a:gd name="connsiteY77" fmla="*/ 420435 h 608518"/>
              <a:gd name="connsiteX78" fmla="*/ 181159 w 554856"/>
              <a:gd name="connsiteY78" fmla="*/ 438927 h 608518"/>
              <a:gd name="connsiteX79" fmla="*/ 164793 w 554856"/>
              <a:gd name="connsiteY79" fmla="*/ 438927 h 608518"/>
              <a:gd name="connsiteX80" fmla="*/ 142628 w 554856"/>
              <a:gd name="connsiteY80" fmla="*/ 416700 h 608518"/>
              <a:gd name="connsiteX81" fmla="*/ 142628 w 554856"/>
              <a:gd name="connsiteY81" fmla="*/ 400450 h 608518"/>
              <a:gd name="connsiteX82" fmla="*/ 161052 w 554856"/>
              <a:gd name="connsiteY82" fmla="*/ 381959 h 608518"/>
              <a:gd name="connsiteX83" fmla="*/ 140103 w 554856"/>
              <a:gd name="connsiteY83" fmla="*/ 331528 h 608518"/>
              <a:gd name="connsiteX84" fmla="*/ 113917 w 554856"/>
              <a:gd name="connsiteY84" fmla="*/ 331528 h 608518"/>
              <a:gd name="connsiteX85" fmla="*/ 102320 w 554856"/>
              <a:gd name="connsiteY85" fmla="*/ 319948 h 608518"/>
              <a:gd name="connsiteX86" fmla="*/ 102320 w 554856"/>
              <a:gd name="connsiteY86" fmla="*/ 288569 h 608518"/>
              <a:gd name="connsiteX87" fmla="*/ 113917 w 554856"/>
              <a:gd name="connsiteY87" fmla="*/ 276989 h 608518"/>
              <a:gd name="connsiteX88" fmla="*/ 140103 w 554856"/>
              <a:gd name="connsiteY88" fmla="*/ 276989 h 608518"/>
              <a:gd name="connsiteX89" fmla="*/ 161052 w 554856"/>
              <a:gd name="connsiteY89" fmla="*/ 226558 h 608518"/>
              <a:gd name="connsiteX90" fmla="*/ 142628 w 554856"/>
              <a:gd name="connsiteY90" fmla="*/ 208161 h 608518"/>
              <a:gd name="connsiteX91" fmla="*/ 142628 w 554856"/>
              <a:gd name="connsiteY91" fmla="*/ 191817 h 608518"/>
              <a:gd name="connsiteX92" fmla="*/ 164793 w 554856"/>
              <a:gd name="connsiteY92" fmla="*/ 169684 h 608518"/>
              <a:gd name="connsiteX93" fmla="*/ 181159 w 554856"/>
              <a:gd name="connsiteY93" fmla="*/ 169684 h 608518"/>
              <a:gd name="connsiteX94" fmla="*/ 199583 w 554856"/>
              <a:gd name="connsiteY94" fmla="*/ 188082 h 608518"/>
              <a:gd name="connsiteX95" fmla="*/ 250085 w 554856"/>
              <a:gd name="connsiteY95" fmla="*/ 167162 h 608518"/>
              <a:gd name="connsiteX96" fmla="*/ 250085 w 554856"/>
              <a:gd name="connsiteY96" fmla="*/ 141013 h 608518"/>
              <a:gd name="connsiteX97" fmla="*/ 261681 w 554856"/>
              <a:gd name="connsiteY97" fmla="*/ 129433 h 608518"/>
              <a:gd name="connsiteX98" fmla="*/ 440285 w 554856"/>
              <a:gd name="connsiteY98" fmla="*/ 80037 h 608518"/>
              <a:gd name="connsiteX99" fmla="*/ 554856 w 554856"/>
              <a:gd name="connsiteY99" fmla="*/ 304247 h 608518"/>
              <a:gd name="connsiteX100" fmla="*/ 277361 w 554856"/>
              <a:gd name="connsiteY100" fmla="*/ 581311 h 608518"/>
              <a:gd name="connsiteX101" fmla="*/ 277361 w 554856"/>
              <a:gd name="connsiteY101" fmla="*/ 605310 h 608518"/>
              <a:gd name="connsiteX102" fmla="*/ 272404 w 554856"/>
              <a:gd name="connsiteY102" fmla="*/ 607925 h 608518"/>
              <a:gd name="connsiteX103" fmla="*/ 207216 w 554856"/>
              <a:gd name="connsiteY103" fmla="*/ 563288 h 608518"/>
              <a:gd name="connsiteX104" fmla="*/ 207216 w 554856"/>
              <a:gd name="connsiteY104" fmla="*/ 558059 h 608518"/>
              <a:gd name="connsiteX105" fmla="*/ 272404 w 554856"/>
              <a:gd name="connsiteY105" fmla="*/ 513329 h 608518"/>
              <a:gd name="connsiteX106" fmla="*/ 277361 w 554856"/>
              <a:gd name="connsiteY106" fmla="*/ 515944 h 608518"/>
              <a:gd name="connsiteX107" fmla="*/ 277361 w 554856"/>
              <a:gd name="connsiteY107" fmla="*/ 539943 h 608518"/>
              <a:gd name="connsiteX108" fmla="*/ 513423 w 554856"/>
              <a:gd name="connsiteY108" fmla="*/ 304247 h 608518"/>
              <a:gd name="connsiteX109" fmla="*/ 415968 w 554856"/>
              <a:gd name="connsiteY109" fmla="*/ 113374 h 608518"/>
              <a:gd name="connsiteX110" fmla="*/ 282452 w 554856"/>
              <a:gd name="connsiteY110" fmla="*/ 593 h 608518"/>
              <a:gd name="connsiteX111" fmla="*/ 347640 w 554856"/>
              <a:gd name="connsiteY111" fmla="*/ 45228 h 608518"/>
              <a:gd name="connsiteX112" fmla="*/ 347640 w 554856"/>
              <a:gd name="connsiteY112" fmla="*/ 50550 h 608518"/>
              <a:gd name="connsiteX113" fmla="*/ 282452 w 554856"/>
              <a:gd name="connsiteY113" fmla="*/ 95278 h 608518"/>
              <a:gd name="connsiteX114" fmla="*/ 277402 w 554856"/>
              <a:gd name="connsiteY114" fmla="*/ 92664 h 608518"/>
              <a:gd name="connsiteX115" fmla="*/ 277402 w 554856"/>
              <a:gd name="connsiteY115" fmla="*/ 68572 h 608518"/>
              <a:gd name="connsiteX116" fmla="*/ 41339 w 554856"/>
              <a:gd name="connsiteY116" fmla="*/ 304258 h 608518"/>
              <a:gd name="connsiteX117" fmla="*/ 138888 w 554856"/>
              <a:gd name="connsiteY117" fmla="*/ 495122 h 608518"/>
              <a:gd name="connsiteX118" fmla="*/ 114571 w 554856"/>
              <a:gd name="connsiteY118" fmla="*/ 528551 h 608518"/>
              <a:gd name="connsiteX119" fmla="*/ 0 w 554856"/>
              <a:gd name="connsiteY119" fmla="*/ 304258 h 608518"/>
              <a:gd name="connsiteX120" fmla="*/ 277402 w 554856"/>
              <a:gd name="connsiteY120" fmla="*/ 27299 h 608518"/>
              <a:gd name="connsiteX121" fmla="*/ 277402 w 554856"/>
              <a:gd name="connsiteY121" fmla="*/ 3208 h 608518"/>
              <a:gd name="connsiteX122" fmla="*/ 282452 w 554856"/>
              <a:gd name="connsiteY122" fmla="*/ 593 h 608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</a:cxnLst>
            <a:rect l="l" t="t" r="r" b="b"/>
            <a:pathLst>
              <a:path w="554856" h="608518">
                <a:moveTo>
                  <a:pt x="337060" y="351607"/>
                </a:moveTo>
                <a:cubicBezTo>
                  <a:pt x="331823" y="368791"/>
                  <a:pt x="324060" y="382893"/>
                  <a:pt x="316111" y="393913"/>
                </a:cubicBezTo>
                <a:cubicBezTo>
                  <a:pt x="336031" y="385321"/>
                  <a:pt x="352491" y="370378"/>
                  <a:pt x="362872" y="351607"/>
                </a:cubicBezTo>
                <a:close/>
                <a:moveTo>
                  <a:pt x="287306" y="351607"/>
                </a:moveTo>
                <a:lnTo>
                  <a:pt x="287306" y="397835"/>
                </a:lnTo>
                <a:cubicBezTo>
                  <a:pt x="296752" y="388309"/>
                  <a:pt x="308723" y="373180"/>
                  <a:pt x="316485" y="351607"/>
                </a:cubicBezTo>
                <a:close/>
                <a:moveTo>
                  <a:pt x="238488" y="351607"/>
                </a:moveTo>
                <a:cubicBezTo>
                  <a:pt x="246250" y="372900"/>
                  <a:pt x="258127" y="388123"/>
                  <a:pt x="267573" y="397648"/>
                </a:cubicBezTo>
                <a:lnTo>
                  <a:pt x="267573" y="351607"/>
                </a:lnTo>
                <a:close/>
                <a:moveTo>
                  <a:pt x="191914" y="351607"/>
                </a:moveTo>
                <a:cubicBezTo>
                  <a:pt x="202388" y="370378"/>
                  <a:pt x="218848" y="385321"/>
                  <a:pt x="238675" y="393913"/>
                </a:cubicBezTo>
                <a:cubicBezTo>
                  <a:pt x="230632" y="382893"/>
                  <a:pt x="222963" y="368791"/>
                  <a:pt x="217726" y="351607"/>
                </a:cubicBezTo>
                <a:close/>
                <a:moveTo>
                  <a:pt x="341736" y="276615"/>
                </a:moveTo>
                <a:cubicBezTo>
                  <a:pt x="343139" y="285207"/>
                  <a:pt x="343981" y="294453"/>
                  <a:pt x="343981" y="304259"/>
                </a:cubicBezTo>
                <a:cubicBezTo>
                  <a:pt x="343981" y="314158"/>
                  <a:pt x="343232" y="323310"/>
                  <a:pt x="341736" y="331902"/>
                </a:cubicBezTo>
                <a:lnTo>
                  <a:pt x="371195" y="331902"/>
                </a:lnTo>
                <a:cubicBezTo>
                  <a:pt x="373814" y="323217"/>
                  <a:pt x="375217" y="313878"/>
                  <a:pt x="375217" y="304259"/>
                </a:cubicBezTo>
                <a:cubicBezTo>
                  <a:pt x="375217" y="294733"/>
                  <a:pt x="373814" y="285394"/>
                  <a:pt x="371195" y="276615"/>
                </a:cubicBezTo>
                <a:close/>
                <a:moveTo>
                  <a:pt x="287306" y="276615"/>
                </a:moveTo>
                <a:lnTo>
                  <a:pt x="287306" y="331902"/>
                </a:lnTo>
                <a:lnTo>
                  <a:pt x="321816" y="331902"/>
                </a:lnTo>
                <a:cubicBezTo>
                  <a:pt x="323406" y="323497"/>
                  <a:pt x="324435" y="314251"/>
                  <a:pt x="324435" y="304259"/>
                </a:cubicBezTo>
                <a:cubicBezTo>
                  <a:pt x="324435" y="294359"/>
                  <a:pt x="323406" y="285114"/>
                  <a:pt x="321816" y="276615"/>
                </a:cubicBezTo>
                <a:close/>
                <a:moveTo>
                  <a:pt x="233064" y="276615"/>
                </a:moveTo>
                <a:cubicBezTo>
                  <a:pt x="231380" y="285114"/>
                  <a:pt x="230445" y="294359"/>
                  <a:pt x="230445" y="304259"/>
                </a:cubicBezTo>
                <a:cubicBezTo>
                  <a:pt x="230445" y="314251"/>
                  <a:pt x="231380" y="323497"/>
                  <a:pt x="233064" y="331902"/>
                </a:cubicBezTo>
                <a:lnTo>
                  <a:pt x="267573" y="331902"/>
                </a:lnTo>
                <a:lnTo>
                  <a:pt x="267573" y="276615"/>
                </a:lnTo>
                <a:close/>
                <a:moveTo>
                  <a:pt x="183684" y="276615"/>
                </a:moveTo>
                <a:cubicBezTo>
                  <a:pt x="181065" y="285394"/>
                  <a:pt x="179663" y="294733"/>
                  <a:pt x="179663" y="304259"/>
                </a:cubicBezTo>
                <a:cubicBezTo>
                  <a:pt x="179663" y="313878"/>
                  <a:pt x="181065" y="323123"/>
                  <a:pt x="183684" y="331902"/>
                </a:cubicBezTo>
                <a:lnTo>
                  <a:pt x="213050" y="331902"/>
                </a:lnTo>
                <a:cubicBezTo>
                  <a:pt x="211741" y="323310"/>
                  <a:pt x="210805" y="314158"/>
                  <a:pt x="210805" y="304259"/>
                </a:cubicBezTo>
                <a:cubicBezTo>
                  <a:pt x="210805" y="294453"/>
                  <a:pt x="211554" y="285207"/>
                  <a:pt x="213050" y="276615"/>
                </a:cubicBezTo>
                <a:close/>
                <a:moveTo>
                  <a:pt x="316205" y="214604"/>
                </a:moveTo>
                <a:cubicBezTo>
                  <a:pt x="324154" y="225718"/>
                  <a:pt x="331916" y="239820"/>
                  <a:pt x="337153" y="257003"/>
                </a:cubicBezTo>
                <a:lnTo>
                  <a:pt x="362966" y="257003"/>
                </a:lnTo>
                <a:cubicBezTo>
                  <a:pt x="352491" y="238139"/>
                  <a:pt x="336031" y="223196"/>
                  <a:pt x="316205" y="214604"/>
                </a:cubicBezTo>
                <a:close/>
                <a:moveTo>
                  <a:pt x="238768" y="214604"/>
                </a:moveTo>
                <a:cubicBezTo>
                  <a:pt x="218848" y="223196"/>
                  <a:pt x="202388" y="238139"/>
                  <a:pt x="192007" y="257003"/>
                </a:cubicBezTo>
                <a:lnTo>
                  <a:pt x="217820" y="257003"/>
                </a:lnTo>
                <a:cubicBezTo>
                  <a:pt x="223057" y="239820"/>
                  <a:pt x="230819" y="225718"/>
                  <a:pt x="238768" y="214604"/>
                </a:cubicBezTo>
                <a:close/>
                <a:moveTo>
                  <a:pt x="287306" y="210869"/>
                </a:moveTo>
                <a:lnTo>
                  <a:pt x="287306" y="257003"/>
                </a:lnTo>
                <a:lnTo>
                  <a:pt x="316298" y="257003"/>
                </a:lnTo>
                <a:cubicBezTo>
                  <a:pt x="308629" y="235711"/>
                  <a:pt x="296752" y="220488"/>
                  <a:pt x="287306" y="210869"/>
                </a:cubicBezTo>
                <a:close/>
                <a:moveTo>
                  <a:pt x="267573" y="210775"/>
                </a:moveTo>
                <a:cubicBezTo>
                  <a:pt x="258127" y="220208"/>
                  <a:pt x="246157" y="235430"/>
                  <a:pt x="238394" y="257003"/>
                </a:cubicBezTo>
                <a:lnTo>
                  <a:pt x="267573" y="257003"/>
                </a:lnTo>
                <a:close/>
                <a:moveTo>
                  <a:pt x="261681" y="129433"/>
                </a:moveTo>
                <a:lnTo>
                  <a:pt x="293105" y="129433"/>
                </a:lnTo>
                <a:cubicBezTo>
                  <a:pt x="299651" y="129433"/>
                  <a:pt x="304701" y="134663"/>
                  <a:pt x="304701" y="141013"/>
                </a:cubicBezTo>
                <a:lnTo>
                  <a:pt x="304701" y="167162"/>
                </a:lnTo>
                <a:cubicBezTo>
                  <a:pt x="323032" y="170805"/>
                  <a:pt x="340146" y="177996"/>
                  <a:pt x="355203" y="188082"/>
                </a:cubicBezTo>
                <a:lnTo>
                  <a:pt x="373721" y="169684"/>
                </a:lnTo>
                <a:cubicBezTo>
                  <a:pt x="378210" y="165201"/>
                  <a:pt x="385504" y="165201"/>
                  <a:pt x="389993" y="169684"/>
                </a:cubicBezTo>
                <a:lnTo>
                  <a:pt x="412252" y="191817"/>
                </a:lnTo>
                <a:cubicBezTo>
                  <a:pt x="416741" y="196300"/>
                  <a:pt x="416741" y="203678"/>
                  <a:pt x="412252" y="208161"/>
                </a:cubicBezTo>
                <a:lnTo>
                  <a:pt x="393734" y="226558"/>
                </a:lnTo>
                <a:cubicBezTo>
                  <a:pt x="403835" y="241501"/>
                  <a:pt x="411129" y="258684"/>
                  <a:pt x="414683" y="276989"/>
                </a:cubicBezTo>
                <a:lnTo>
                  <a:pt x="440869" y="276989"/>
                </a:lnTo>
                <a:cubicBezTo>
                  <a:pt x="447416" y="276989"/>
                  <a:pt x="452466" y="282219"/>
                  <a:pt x="452466" y="288569"/>
                </a:cubicBezTo>
                <a:lnTo>
                  <a:pt x="452466" y="319948"/>
                </a:lnTo>
                <a:cubicBezTo>
                  <a:pt x="452466" y="326485"/>
                  <a:pt x="447229" y="331528"/>
                  <a:pt x="440869" y="331528"/>
                </a:cubicBezTo>
                <a:lnTo>
                  <a:pt x="414683" y="331528"/>
                </a:lnTo>
                <a:cubicBezTo>
                  <a:pt x="411129" y="349833"/>
                  <a:pt x="403835" y="366923"/>
                  <a:pt x="393734" y="381959"/>
                </a:cubicBezTo>
                <a:lnTo>
                  <a:pt x="412252" y="400450"/>
                </a:lnTo>
                <a:cubicBezTo>
                  <a:pt x="416741" y="404933"/>
                  <a:pt x="416741" y="412217"/>
                  <a:pt x="412252" y="416700"/>
                </a:cubicBezTo>
                <a:lnTo>
                  <a:pt x="389993" y="438927"/>
                </a:lnTo>
                <a:cubicBezTo>
                  <a:pt x="385504" y="443409"/>
                  <a:pt x="378210" y="443409"/>
                  <a:pt x="373721" y="438927"/>
                </a:cubicBezTo>
                <a:lnTo>
                  <a:pt x="355203" y="420435"/>
                </a:lnTo>
                <a:cubicBezTo>
                  <a:pt x="340240" y="430521"/>
                  <a:pt x="323032" y="437806"/>
                  <a:pt x="304701" y="441355"/>
                </a:cubicBezTo>
                <a:lnTo>
                  <a:pt x="304701" y="467504"/>
                </a:lnTo>
                <a:cubicBezTo>
                  <a:pt x="304701" y="474041"/>
                  <a:pt x="299464" y="479084"/>
                  <a:pt x="293105" y="479084"/>
                </a:cubicBezTo>
                <a:lnTo>
                  <a:pt x="261681" y="479084"/>
                </a:lnTo>
                <a:cubicBezTo>
                  <a:pt x="255228" y="479084"/>
                  <a:pt x="250085" y="473854"/>
                  <a:pt x="250085" y="467504"/>
                </a:cubicBezTo>
                <a:lnTo>
                  <a:pt x="250085" y="441355"/>
                </a:lnTo>
                <a:cubicBezTo>
                  <a:pt x="231754" y="437806"/>
                  <a:pt x="214733" y="430521"/>
                  <a:pt x="199583" y="420435"/>
                </a:cubicBezTo>
                <a:lnTo>
                  <a:pt x="181159" y="438927"/>
                </a:lnTo>
                <a:cubicBezTo>
                  <a:pt x="176670" y="443409"/>
                  <a:pt x="169282" y="443409"/>
                  <a:pt x="164793" y="438927"/>
                </a:cubicBezTo>
                <a:lnTo>
                  <a:pt x="142628" y="416700"/>
                </a:lnTo>
                <a:cubicBezTo>
                  <a:pt x="138139" y="412217"/>
                  <a:pt x="138139" y="404933"/>
                  <a:pt x="142628" y="400450"/>
                </a:cubicBezTo>
                <a:lnTo>
                  <a:pt x="161052" y="381959"/>
                </a:lnTo>
                <a:cubicBezTo>
                  <a:pt x="150951" y="367016"/>
                  <a:pt x="143750" y="349833"/>
                  <a:pt x="140103" y="331528"/>
                </a:cubicBezTo>
                <a:lnTo>
                  <a:pt x="113917" y="331528"/>
                </a:lnTo>
                <a:cubicBezTo>
                  <a:pt x="107464" y="331528"/>
                  <a:pt x="102320" y="326299"/>
                  <a:pt x="102320" y="319948"/>
                </a:cubicBezTo>
                <a:lnTo>
                  <a:pt x="102320" y="288569"/>
                </a:lnTo>
                <a:cubicBezTo>
                  <a:pt x="102320" y="282125"/>
                  <a:pt x="107557" y="276989"/>
                  <a:pt x="113917" y="276989"/>
                </a:cubicBezTo>
                <a:lnTo>
                  <a:pt x="140103" y="276989"/>
                </a:lnTo>
                <a:cubicBezTo>
                  <a:pt x="143750" y="258684"/>
                  <a:pt x="150951" y="241687"/>
                  <a:pt x="161052" y="226558"/>
                </a:cubicBezTo>
                <a:lnTo>
                  <a:pt x="142628" y="208161"/>
                </a:lnTo>
                <a:cubicBezTo>
                  <a:pt x="138139" y="203678"/>
                  <a:pt x="138139" y="196300"/>
                  <a:pt x="142628" y="191817"/>
                </a:cubicBezTo>
                <a:lnTo>
                  <a:pt x="164793" y="169684"/>
                </a:lnTo>
                <a:cubicBezTo>
                  <a:pt x="169282" y="165201"/>
                  <a:pt x="176670" y="165201"/>
                  <a:pt x="181159" y="169684"/>
                </a:cubicBezTo>
                <a:lnTo>
                  <a:pt x="199583" y="188082"/>
                </a:lnTo>
                <a:cubicBezTo>
                  <a:pt x="214546" y="177996"/>
                  <a:pt x="231754" y="170805"/>
                  <a:pt x="250085" y="167162"/>
                </a:cubicBezTo>
                <a:lnTo>
                  <a:pt x="250085" y="141013"/>
                </a:lnTo>
                <a:cubicBezTo>
                  <a:pt x="250085" y="134569"/>
                  <a:pt x="255322" y="129433"/>
                  <a:pt x="261681" y="129433"/>
                </a:cubicBezTo>
                <a:close/>
                <a:moveTo>
                  <a:pt x="440285" y="80037"/>
                </a:moveTo>
                <a:cubicBezTo>
                  <a:pt x="511927" y="131957"/>
                  <a:pt x="554856" y="215908"/>
                  <a:pt x="554856" y="304247"/>
                </a:cubicBezTo>
                <a:cubicBezTo>
                  <a:pt x="554856" y="457020"/>
                  <a:pt x="430371" y="581311"/>
                  <a:pt x="277361" y="581311"/>
                </a:cubicBezTo>
                <a:lnTo>
                  <a:pt x="277361" y="605310"/>
                </a:lnTo>
                <a:cubicBezTo>
                  <a:pt x="277361" y="607925"/>
                  <a:pt x="274555" y="609419"/>
                  <a:pt x="272404" y="607925"/>
                </a:cubicBezTo>
                <a:lnTo>
                  <a:pt x="207216" y="563288"/>
                </a:lnTo>
                <a:cubicBezTo>
                  <a:pt x="205345" y="561981"/>
                  <a:pt x="205345" y="559273"/>
                  <a:pt x="207216" y="558059"/>
                </a:cubicBezTo>
                <a:lnTo>
                  <a:pt x="272404" y="513329"/>
                </a:lnTo>
                <a:cubicBezTo>
                  <a:pt x="274555" y="511835"/>
                  <a:pt x="277361" y="513329"/>
                  <a:pt x="277361" y="515944"/>
                </a:cubicBezTo>
                <a:lnTo>
                  <a:pt x="277361" y="539943"/>
                </a:lnTo>
                <a:cubicBezTo>
                  <a:pt x="407551" y="539943"/>
                  <a:pt x="513423" y="434235"/>
                  <a:pt x="513423" y="304247"/>
                </a:cubicBezTo>
                <a:cubicBezTo>
                  <a:pt x="513423" y="229075"/>
                  <a:pt x="477041" y="157637"/>
                  <a:pt x="415968" y="113374"/>
                </a:cubicBezTo>
                <a:close/>
                <a:moveTo>
                  <a:pt x="282452" y="593"/>
                </a:moveTo>
                <a:lnTo>
                  <a:pt x="347640" y="45228"/>
                </a:lnTo>
                <a:cubicBezTo>
                  <a:pt x="349511" y="46535"/>
                  <a:pt x="349511" y="49336"/>
                  <a:pt x="347640" y="50550"/>
                </a:cubicBezTo>
                <a:lnTo>
                  <a:pt x="282452" y="95278"/>
                </a:lnTo>
                <a:cubicBezTo>
                  <a:pt x="280301" y="96772"/>
                  <a:pt x="277402" y="95278"/>
                  <a:pt x="277402" y="92664"/>
                </a:cubicBezTo>
                <a:lnTo>
                  <a:pt x="277402" y="68572"/>
                </a:lnTo>
                <a:cubicBezTo>
                  <a:pt x="147212" y="68572"/>
                  <a:pt x="41339" y="174276"/>
                  <a:pt x="41339" y="304258"/>
                </a:cubicBezTo>
                <a:cubicBezTo>
                  <a:pt x="41339" y="379520"/>
                  <a:pt x="77908" y="450861"/>
                  <a:pt x="138888" y="495122"/>
                </a:cubicBezTo>
                <a:lnTo>
                  <a:pt x="114571" y="528551"/>
                </a:lnTo>
                <a:cubicBezTo>
                  <a:pt x="42835" y="476633"/>
                  <a:pt x="0" y="392686"/>
                  <a:pt x="0" y="304258"/>
                </a:cubicBezTo>
                <a:cubicBezTo>
                  <a:pt x="0" y="151492"/>
                  <a:pt x="124391" y="27299"/>
                  <a:pt x="277402" y="27299"/>
                </a:cubicBezTo>
                <a:lnTo>
                  <a:pt x="277402" y="3208"/>
                </a:lnTo>
                <a:cubicBezTo>
                  <a:pt x="277402" y="593"/>
                  <a:pt x="280301" y="-901"/>
                  <a:pt x="282452" y="593"/>
                </a:cubicBezTo>
                <a:close/>
              </a:path>
            </a:pathLst>
          </a:custGeom>
          <a:solidFill>
            <a:schemeClr val="bg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58539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健康监测与就医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4</a:t>
            </a:fld>
            <a:endParaRPr lang="zh-CN" altLang="en-US">
              <a:cs typeface="+mn-ea"/>
              <a:sym typeface="+mn-lt"/>
            </a:endParaRPr>
          </a:p>
        </p:txBody>
      </p:sp>
      <p:cxnSp>
        <p:nvCxnSpPr>
          <p:cNvPr id="6" name="直接箭头连接符 5">
            <a:extLst>
              <a:ext uri="{FF2B5EF4-FFF2-40B4-BE49-F238E27FC236}">
                <a16:creationId xmlns:a16="http://schemas.microsoft.com/office/drawing/2014/main" id="{260ED66B-0843-4A07-8420-5DE013C00DBF}"/>
              </a:ext>
            </a:extLst>
          </p:cNvPr>
          <p:cNvCxnSpPr/>
          <p:nvPr/>
        </p:nvCxnSpPr>
        <p:spPr>
          <a:xfrm flipH="1">
            <a:off x="6095999" y="1883020"/>
            <a:ext cx="0" cy="2808365"/>
          </a:xfrm>
          <a:prstGeom prst="straightConnector1">
            <a:avLst/>
          </a:prstGeom>
          <a:noFill/>
          <a:ln w="19050" cap="flat" cmpd="sng">
            <a:solidFill>
              <a:srgbClr val="CFCDD0"/>
            </a:solidFill>
            <a:prstDash val="dashDot"/>
            <a:miter lim="400000"/>
            <a:headEnd type="none" w="sm" len="sm"/>
            <a:tailEnd type="none" w="sm" len="sm"/>
          </a:ln>
        </p:spPr>
      </p:cxnSp>
      <p:sp>
        <p:nvSpPr>
          <p:cNvPr id="29" name="任意多边形: 形状 28">
            <a:extLst>
              <a:ext uri="{FF2B5EF4-FFF2-40B4-BE49-F238E27FC236}">
                <a16:creationId xmlns:a16="http://schemas.microsoft.com/office/drawing/2014/main" id="{38916C77-5D16-4D0D-9A6C-ED9458F65EBD}"/>
              </a:ext>
            </a:extLst>
          </p:cNvPr>
          <p:cNvSpPr/>
          <p:nvPr/>
        </p:nvSpPr>
        <p:spPr>
          <a:xfrm>
            <a:off x="7791856" y="2499039"/>
            <a:ext cx="23850" cy="329913"/>
          </a:xfrm>
          <a:custGeom>
            <a:avLst/>
            <a:gdLst/>
            <a:ahLst/>
            <a:cxnLst/>
            <a:rect l="l" t="t" r="r" b="b"/>
            <a:pathLst>
              <a:path w="21572" h="21596" extrusionOk="0">
                <a:moveTo>
                  <a:pt x="0" y="0"/>
                </a:moveTo>
                <a:lnTo>
                  <a:pt x="0" y="21596"/>
                </a:lnTo>
                <a:lnTo>
                  <a:pt x="9420" y="21596"/>
                </a:lnTo>
                <a:cubicBezTo>
                  <a:pt x="12945" y="21596"/>
                  <a:pt x="14707" y="21598"/>
                  <a:pt x="16579" y="21555"/>
                </a:cubicBezTo>
                <a:cubicBezTo>
                  <a:pt x="18628" y="21501"/>
                  <a:pt x="20261" y="21383"/>
                  <a:pt x="21007" y="21235"/>
                </a:cubicBezTo>
                <a:cubicBezTo>
                  <a:pt x="21600" y="21099"/>
                  <a:pt x="21572" y="20968"/>
                  <a:pt x="21572" y="20717"/>
                </a:cubicBezTo>
                <a:lnTo>
                  <a:pt x="21572" y="879"/>
                </a:lnTo>
                <a:cubicBezTo>
                  <a:pt x="21572" y="624"/>
                  <a:pt x="21600" y="497"/>
                  <a:pt x="21007" y="361"/>
                </a:cubicBezTo>
                <a:cubicBezTo>
                  <a:pt x="20261" y="213"/>
                  <a:pt x="18628" y="95"/>
                  <a:pt x="16579" y="41"/>
                </a:cubicBezTo>
                <a:cubicBezTo>
                  <a:pt x="14707" y="-2"/>
                  <a:pt x="12986" y="0"/>
                  <a:pt x="9514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spcFirstLastPara="1" wrap="square" lIns="91440" tIns="45720" rIns="91440" bIns="45720" anchor="ctr" anchorCtr="0">
            <a:norm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None/>
            </a:pPr>
            <a:endParaRPr sz="800" b="0" i="0" u="none" strike="noStrike" cap="none">
              <a:solidFill>
                <a:srgbClr val="252D30"/>
              </a:solidFill>
              <a:cs typeface="+mn-ea"/>
              <a:sym typeface="+mn-lt"/>
            </a:endParaRPr>
          </a:p>
        </p:txBody>
      </p:sp>
      <p:sp>
        <p:nvSpPr>
          <p:cNvPr id="30" name="任意多边形: 形状 29">
            <a:extLst>
              <a:ext uri="{FF2B5EF4-FFF2-40B4-BE49-F238E27FC236}">
                <a16:creationId xmlns:a16="http://schemas.microsoft.com/office/drawing/2014/main" id="{84815172-3FCE-468F-AA6D-D040E973BDBB}"/>
              </a:ext>
            </a:extLst>
          </p:cNvPr>
          <p:cNvSpPr/>
          <p:nvPr/>
        </p:nvSpPr>
        <p:spPr>
          <a:xfrm>
            <a:off x="6328918" y="2211304"/>
            <a:ext cx="23327" cy="691273"/>
          </a:xfrm>
          <a:custGeom>
            <a:avLst/>
            <a:gdLst/>
            <a:ahLst/>
            <a:cxnLst/>
            <a:rect l="l" t="t" r="r" b="b"/>
            <a:pathLst>
              <a:path w="21571" h="21600" extrusionOk="0">
                <a:moveTo>
                  <a:pt x="12326" y="0"/>
                </a:moveTo>
                <a:cubicBezTo>
                  <a:pt x="8816" y="0"/>
                  <a:pt x="6993" y="3"/>
                  <a:pt x="5104" y="23"/>
                </a:cubicBezTo>
                <a:cubicBezTo>
                  <a:pt x="3009" y="49"/>
                  <a:pt x="1340" y="102"/>
                  <a:pt x="577" y="172"/>
                </a:cubicBezTo>
                <a:cubicBezTo>
                  <a:pt x="-29" y="237"/>
                  <a:pt x="0" y="300"/>
                  <a:pt x="0" y="420"/>
                </a:cubicBezTo>
                <a:lnTo>
                  <a:pt x="0" y="3023"/>
                </a:lnTo>
                <a:cubicBezTo>
                  <a:pt x="0" y="3145"/>
                  <a:pt x="-29" y="3206"/>
                  <a:pt x="577" y="3270"/>
                </a:cubicBezTo>
                <a:cubicBezTo>
                  <a:pt x="1340" y="3341"/>
                  <a:pt x="3009" y="3394"/>
                  <a:pt x="5104" y="3420"/>
                </a:cubicBezTo>
                <a:cubicBezTo>
                  <a:pt x="7018" y="3440"/>
                  <a:pt x="8778" y="3443"/>
                  <a:pt x="12326" y="3443"/>
                </a:cubicBezTo>
                <a:lnTo>
                  <a:pt x="21571" y="3443"/>
                </a:lnTo>
                <a:lnTo>
                  <a:pt x="21571" y="0"/>
                </a:lnTo>
                <a:lnTo>
                  <a:pt x="12326" y="0"/>
                </a:lnTo>
                <a:close/>
                <a:moveTo>
                  <a:pt x="12326" y="6632"/>
                </a:moveTo>
                <a:cubicBezTo>
                  <a:pt x="8816" y="6632"/>
                  <a:pt x="6993" y="6631"/>
                  <a:pt x="5104" y="6651"/>
                </a:cubicBezTo>
                <a:cubicBezTo>
                  <a:pt x="3009" y="6677"/>
                  <a:pt x="1340" y="6733"/>
                  <a:pt x="577" y="6804"/>
                </a:cubicBezTo>
                <a:cubicBezTo>
                  <a:pt x="-29" y="6869"/>
                  <a:pt x="0" y="6928"/>
                  <a:pt x="0" y="7048"/>
                </a:cubicBezTo>
                <a:lnTo>
                  <a:pt x="0" y="12814"/>
                </a:lnTo>
                <a:cubicBezTo>
                  <a:pt x="0" y="12936"/>
                  <a:pt x="-29" y="12997"/>
                  <a:pt x="577" y="13062"/>
                </a:cubicBezTo>
                <a:cubicBezTo>
                  <a:pt x="1340" y="13132"/>
                  <a:pt x="3009" y="13189"/>
                  <a:pt x="5104" y="13214"/>
                </a:cubicBezTo>
                <a:cubicBezTo>
                  <a:pt x="7018" y="13235"/>
                  <a:pt x="8778" y="13234"/>
                  <a:pt x="12326" y="13234"/>
                </a:cubicBezTo>
                <a:lnTo>
                  <a:pt x="21571" y="13234"/>
                </a:lnTo>
                <a:lnTo>
                  <a:pt x="21571" y="6632"/>
                </a:lnTo>
                <a:lnTo>
                  <a:pt x="12326" y="6632"/>
                </a:lnTo>
                <a:close/>
                <a:moveTo>
                  <a:pt x="12326" y="14994"/>
                </a:moveTo>
                <a:cubicBezTo>
                  <a:pt x="8816" y="14994"/>
                  <a:pt x="6993" y="14997"/>
                  <a:pt x="5104" y="15017"/>
                </a:cubicBezTo>
                <a:cubicBezTo>
                  <a:pt x="3009" y="15043"/>
                  <a:pt x="1340" y="15096"/>
                  <a:pt x="577" y="15167"/>
                </a:cubicBezTo>
                <a:cubicBezTo>
                  <a:pt x="-29" y="15232"/>
                  <a:pt x="0" y="15294"/>
                  <a:pt x="0" y="15414"/>
                </a:cubicBezTo>
                <a:lnTo>
                  <a:pt x="0" y="21180"/>
                </a:lnTo>
                <a:cubicBezTo>
                  <a:pt x="0" y="21302"/>
                  <a:pt x="-29" y="21363"/>
                  <a:pt x="577" y="21428"/>
                </a:cubicBezTo>
                <a:cubicBezTo>
                  <a:pt x="1340" y="21498"/>
                  <a:pt x="3009" y="21551"/>
                  <a:pt x="5104" y="21577"/>
                </a:cubicBezTo>
                <a:cubicBezTo>
                  <a:pt x="7018" y="21598"/>
                  <a:pt x="8778" y="21600"/>
                  <a:pt x="12326" y="21600"/>
                </a:cubicBezTo>
                <a:lnTo>
                  <a:pt x="21571" y="21600"/>
                </a:lnTo>
                <a:lnTo>
                  <a:pt x="21571" y="14994"/>
                </a:lnTo>
                <a:lnTo>
                  <a:pt x="12326" y="1499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spcFirstLastPara="1" wrap="square" lIns="91440" tIns="45720" rIns="91440" bIns="45720" anchor="ctr" anchorCtr="0">
            <a:norm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None/>
            </a:pPr>
            <a:endParaRPr sz="800" b="0" i="0" u="none" strike="noStrike" cap="none">
              <a:solidFill>
                <a:srgbClr val="252D30"/>
              </a:solidFill>
              <a:cs typeface="+mn-ea"/>
              <a:sym typeface="+mn-lt"/>
            </a:endParaRPr>
          </a:p>
        </p:txBody>
      </p:sp>
      <p:sp>
        <p:nvSpPr>
          <p:cNvPr id="31" name="任意多边形: 形状 30">
            <a:extLst>
              <a:ext uri="{FF2B5EF4-FFF2-40B4-BE49-F238E27FC236}">
                <a16:creationId xmlns:a16="http://schemas.microsoft.com/office/drawing/2014/main" id="{FFB720D0-D5D8-4B9A-9C94-BB66182E62E4}"/>
              </a:ext>
            </a:extLst>
          </p:cNvPr>
          <p:cNvSpPr/>
          <p:nvPr/>
        </p:nvSpPr>
        <p:spPr>
          <a:xfrm>
            <a:off x="6341006" y="1805674"/>
            <a:ext cx="1462107" cy="2963057"/>
          </a:xfrm>
          <a:custGeom>
            <a:avLst/>
            <a:gdLst/>
            <a:ahLst/>
            <a:cxnLst/>
            <a:rect l="l" t="t" r="r" b="b"/>
            <a:pathLst>
              <a:path w="21600" h="21600" extrusionOk="0">
                <a:moveTo>
                  <a:pt x="4862" y="0"/>
                </a:moveTo>
                <a:cubicBezTo>
                  <a:pt x="3463" y="0"/>
                  <a:pt x="2756" y="1"/>
                  <a:pt x="2009" y="118"/>
                </a:cubicBezTo>
                <a:cubicBezTo>
                  <a:pt x="1186" y="265"/>
                  <a:pt x="538" y="585"/>
                  <a:pt x="238" y="991"/>
                </a:cubicBezTo>
                <a:cubicBezTo>
                  <a:pt x="0" y="1362"/>
                  <a:pt x="0" y="1711"/>
                  <a:pt x="0" y="2399"/>
                </a:cubicBezTo>
                <a:lnTo>
                  <a:pt x="0" y="19190"/>
                </a:lnTo>
                <a:cubicBezTo>
                  <a:pt x="0" y="19888"/>
                  <a:pt x="0" y="20238"/>
                  <a:pt x="238" y="20609"/>
                </a:cubicBezTo>
                <a:cubicBezTo>
                  <a:pt x="538" y="21015"/>
                  <a:pt x="1186" y="21335"/>
                  <a:pt x="2009" y="21482"/>
                </a:cubicBezTo>
                <a:cubicBezTo>
                  <a:pt x="2761" y="21600"/>
                  <a:pt x="3468" y="21600"/>
                  <a:pt x="4862" y="21600"/>
                </a:cubicBezTo>
                <a:lnTo>
                  <a:pt x="16717" y="21600"/>
                </a:lnTo>
                <a:cubicBezTo>
                  <a:pt x="18133" y="21600"/>
                  <a:pt x="18840" y="21600"/>
                  <a:pt x="19592" y="21482"/>
                </a:cubicBezTo>
                <a:cubicBezTo>
                  <a:pt x="20415" y="21335"/>
                  <a:pt x="21062" y="21015"/>
                  <a:pt x="21362" y="20609"/>
                </a:cubicBezTo>
                <a:cubicBezTo>
                  <a:pt x="21600" y="20238"/>
                  <a:pt x="21600" y="19888"/>
                  <a:pt x="21600" y="19200"/>
                </a:cubicBezTo>
                <a:lnTo>
                  <a:pt x="21600" y="2410"/>
                </a:lnTo>
                <a:cubicBezTo>
                  <a:pt x="21600" y="1711"/>
                  <a:pt x="21600" y="1362"/>
                  <a:pt x="21362" y="991"/>
                </a:cubicBezTo>
                <a:cubicBezTo>
                  <a:pt x="21062" y="585"/>
                  <a:pt x="20415" y="265"/>
                  <a:pt x="19592" y="118"/>
                </a:cubicBezTo>
                <a:cubicBezTo>
                  <a:pt x="18840" y="0"/>
                  <a:pt x="18132" y="0"/>
                  <a:pt x="16738" y="0"/>
                </a:cubicBezTo>
                <a:lnTo>
                  <a:pt x="4862" y="0"/>
                </a:lnTo>
                <a:close/>
                <a:moveTo>
                  <a:pt x="4609" y="377"/>
                </a:moveTo>
                <a:lnTo>
                  <a:pt x="16991" y="377"/>
                </a:lnTo>
                <a:cubicBezTo>
                  <a:pt x="18073" y="377"/>
                  <a:pt x="18624" y="376"/>
                  <a:pt x="19208" y="468"/>
                </a:cubicBezTo>
                <a:cubicBezTo>
                  <a:pt x="19847" y="582"/>
                  <a:pt x="20351" y="831"/>
                  <a:pt x="20583" y="1146"/>
                </a:cubicBezTo>
                <a:cubicBezTo>
                  <a:pt x="20768" y="1434"/>
                  <a:pt x="20768" y="1706"/>
                  <a:pt x="20768" y="2249"/>
                </a:cubicBezTo>
                <a:lnTo>
                  <a:pt x="20768" y="19359"/>
                </a:lnTo>
                <a:cubicBezTo>
                  <a:pt x="20768" y="19893"/>
                  <a:pt x="20768" y="20165"/>
                  <a:pt x="20583" y="20453"/>
                </a:cubicBezTo>
                <a:cubicBezTo>
                  <a:pt x="20351" y="20768"/>
                  <a:pt x="19847" y="21017"/>
                  <a:pt x="19208" y="21132"/>
                </a:cubicBezTo>
                <a:cubicBezTo>
                  <a:pt x="18624" y="21223"/>
                  <a:pt x="18073" y="21223"/>
                  <a:pt x="16974" y="21223"/>
                </a:cubicBezTo>
                <a:lnTo>
                  <a:pt x="4609" y="21223"/>
                </a:lnTo>
                <a:cubicBezTo>
                  <a:pt x="3527" y="21223"/>
                  <a:pt x="2976" y="21223"/>
                  <a:pt x="2392" y="21132"/>
                </a:cubicBezTo>
                <a:cubicBezTo>
                  <a:pt x="1753" y="21017"/>
                  <a:pt x="1251" y="20768"/>
                  <a:pt x="1018" y="20453"/>
                </a:cubicBezTo>
                <a:cubicBezTo>
                  <a:pt x="833" y="20165"/>
                  <a:pt x="832" y="19893"/>
                  <a:pt x="832" y="19351"/>
                </a:cubicBezTo>
                <a:lnTo>
                  <a:pt x="832" y="2240"/>
                </a:lnTo>
                <a:cubicBezTo>
                  <a:pt x="832" y="1706"/>
                  <a:pt x="833" y="1434"/>
                  <a:pt x="1018" y="1146"/>
                </a:cubicBezTo>
                <a:cubicBezTo>
                  <a:pt x="1251" y="831"/>
                  <a:pt x="1753" y="582"/>
                  <a:pt x="2392" y="468"/>
                </a:cubicBezTo>
                <a:cubicBezTo>
                  <a:pt x="2973" y="377"/>
                  <a:pt x="3522" y="377"/>
                  <a:pt x="4609" y="377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spcFirstLastPara="1" wrap="square" lIns="91440" tIns="45720" rIns="91440" bIns="45720" anchor="ctr" anchorCtr="0">
            <a:norm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None/>
            </a:pPr>
            <a:endParaRPr sz="800" b="0" i="0" u="none" strike="noStrike" cap="none">
              <a:solidFill>
                <a:srgbClr val="252D30"/>
              </a:solidFill>
              <a:cs typeface="+mn-ea"/>
              <a:sym typeface="+mn-lt"/>
            </a:endParaRPr>
          </a:p>
        </p:txBody>
      </p:sp>
      <p:sp>
        <p:nvSpPr>
          <p:cNvPr id="32" name="任意多边形: 形状 31">
            <a:extLst>
              <a:ext uri="{FF2B5EF4-FFF2-40B4-BE49-F238E27FC236}">
                <a16:creationId xmlns:a16="http://schemas.microsoft.com/office/drawing/2014/main" id="{548E914F-25AC-4E69-931D-F8BC466CC33D}"/>
              </a:ext>
            </a:extLst>
          </p:cNvPr>
          <p:cNvSpPr/>
          <p:nvPr/>
        </p:nvSpPr>
        <p:spPr>
          <a:xfrm>
            <a:off x="6363196" y="1827956"/>
            <a:ext cx="1417809" cy="2918382"/>
          </a:xfrm>
          <a:custGeom>
            <a:avLst/>
            <a:gdLst/>
            <a:ahLst/>
            <a:cxnLst/>
            <a:rect l="l" t="t" r="r" b="b"/>
            <a:pathLst>
              <a:path w="21600" h="21600" extrusionOk="0">
                <a:moveTo>
                  <a:pt x="4478" y="0"/>
                </a:moveTo>
                <a:cubicBezTo>
                  <a:pt x="3189" y="0"/>
                  <a:pt x="2539" y="1"/>
                  <a:pt x="1850" y="107"/>
                </a:cubicBezTo>
                <a:cubicBezTo>
                  <a:pt x="1093" y="241"/>
                  <a:pt x="495" y="531"/>
                  <a:pt x="219" y="899"/>
                </a:cubicBezTo>
                <a:cubicBezTo>
                  <a:pt x="0" y="1235"/>
                  <a:pt x="0" y="1552"/>
                  <a:pt x="0" y="2175"/>
                </a:cubicBezTo>
                <a:lnTo>
                  <a:pt x="0" y="19415"/>
                </a:lnTo>
                <a:cubicBezTo>
                  <a:pt x="0" y="20049"/>
                  <a:pt x="0" y="20365"/>
                  <a:pt x="219" y="20701"/>
                </a:cubicBezTo>
                <a:cubicBezTo>
                  <a:pt x="495" y="21069"/>
                  <a:pt x="1093" y="21359"/>
                  <a:pt x="1850" y="21493"/>
                </a:cubicBezTo>
                <a:cubicBezTo>
                  <a:pt x="2543" y="21600"/>
                  <a:pt x="3194" y="21600"/>
                  <a:pt x="4478" y="21600"/>
                </a:cubicBezTo>
                <a:lnTo>
                  <a:pt x="17103" y="21600"/>
                </a:lnTo>
                <a:cubicBezTo>
                  <a:pt x="18407" y="21600"/>
                  <a:pt x="19057" y="21600"/>
                  <a:pt x="19750" y="21493"/>
                </a:cubicBezTo>
                <a:cubicBezTo>
                  <a:pt x="20507" y="21359"/>
                  <a:pt x="21105" y="21069"/>
                  <a:pt x="21381" y="20701"/>
                </a:cubicBezTo>
                <a:cubicBezTo>
                  <a:pt x="21600" y="20365"/>
                  <a:pt x="21600" y="20048"/>
                  <a:pt x="21600" y="19425"/>
                </a:cubicBezTo>
                <a:lnTo>
                  <a:pt x="21600" y="2185"/>
                </a:lnTo>
                <a:cubicBezTo>
                  <a:pt x="21600" y="1551"/>
                  <a:pt x="21600" y="1235"/>
                  <a:pt x="21381" y="899"/>
                </a:cubicBezTo>
                <a:cubicBezTo>
                  <a:pt x="21105" y="531"/>
                  <a:pt x="20507" y="241"/>
                  <a:pt x="19750" y="107"/>
                </a:cubicBezTo>
                <a:cubicBezTo>
                  <a:pt x="19057" y="0"/>
                  <a:pt x="18406" y="0"/>
                  <a:pt x="17122" y="0"/>
                </a:cubicBezTo>
                <a:lnTo>
                  <a:pt x="4478" y="0"/>
                </a:lnTo>
                <a:close/>
                <a:moveTo>
                  <a:pt x="4068" y="499"/>
                </a:moveTo>
                <a:lnTo>
                  <a:pt x="5025" y="499"/>
                </a:lnTo>
                <a:cubicBezTo>
                  <a:pt x="5096" y="503"/>
                  <a:pt x="5163" y="515"/>
                  <a:pt x="5212" y="541"/>
                </a:cubicBezTo>
                <a:cubicBezTo>
                  <a:pt x="5257" y="565"/>
                  <a:pt x="5280" y="596"/>
                  <a:pt x="5285" y="628"/>
                </a:cubicBezTo>
                <a:cubicBezTo>
                  <a:pt x="5292" y="675"/>
                  <a:pt x="5300" y="719"/>
                  <a:pt x="5312" y="761"/>
                </a:cubicBezTo>
                <a:cubicBezTo>
                  <a:pt x="5325" y="807"/>
                  <a:pt x="5343" y="851"/>
                  <a:pt x="5369" y="893"/>
                </a:cubicBezTo>
                <a:cubicBezTo>
                  <a:pt x="5426" y="969"/>
                  <a:pt x="5516" y="1037"/>
                  <a:pt x="5631" y="1092"/>
                </a:cubicBezTo>
                <a:cubicBezTo>
                  <a:pt x="5746" y="1148"/>
                  <a:pt x="5886" y="1192"/>
                  <a:pt x="6042" y="1220"/>
                </a:cubicBezTo>
                <a:cubicBezTo>
                  <a:pt x="6185" y="1242"/>
                  <a:pt x="6324" y="1253"/>
                  <a:pt x="6494" y="1258"/>
                </a:cubicBezTo>
                <a:cubicBezTo>
                  <a:pt x="6664" y="1264"/>
                  <a:pt x="6866" y="1263"/>
                  <a:pt x="7135" y="1263"/>
                </a:cubicBezTo>
                <a:lnTo>
                  <a:pt x="14440" y="1263"/>
                </a:lnTo>
                <a:cubicBezTo>
                  <a:pt x="14708" y="1263"/>
                  <a:pt x="14910" y="1264"/>
                  <a:pt x="15080" y="1258"/>
                </a:cubicBezTo>
                <a:cubicBezTo>
                  <a:pt x="15251" y="1253"/>
                  <a:pt x="15390" y="1242"/>
                  <a:pt x="15533" y="1220"/>
                </a:cubicBezTo>
                <a:cubicBezTo>
                  <a:pt x="15689" y="1192"/>
                  <a:pt x="15829" y="1148"/>
                  <a:pt x="15944" y="1092"/>
                </a:cubicBezTo>
                <a:cubicBezTo>
                  <a:pt x="16058" y="1037"/>
                  <a:pt x="16148" y="969"/>
                  <a:pt x="16205" y="893"/>
                </a:cubicBezTo>
                <a:cubicBezTo>
                  <a:pt x="16232" y="851"/>
                  <a:pt x="16249" y="807"/>
                  <a:pt x="16262" y="761"/>
                </a:cubicBezTo>
                <a:cubicBezTo>
                  <a:pt x="16274" y="719"/>
                  <a:pt x="16282" y="675"/>
                  <a:pt x="16289" y="628"/>
                </a:cubicBezTo>
                <a:cubicBezTo>
                  <a:pt x="16294" y="596"/>
                  <a:pt x="16318" y="565"/>
                  <a:pt x="16362" y="541"/>
                </a:cubicBezTo>
                <a:cubicBezTo>
                  <a:pt x="16412" y="515"/>
                  <a:pt x="16480" y="503"/>
                  <a:pt x="16551" y="499"/>
                </a:cubicBezTo>
                <a:lnTo>
                  <a:pt x="17532" y="499"/>
                </a:lnTo>
                <a:cubicBezTo>
                  <a:pt x="18404" y="499"/>
                  <a:pt x="18846" y="499"/>
                  <a:pt x="19317" y="571"/>
                </a:cubicBezTo>
                <a:cubicBezTo>
                  <a:pt x="19831" y="662"/>
                  <a:pt x="20237" y="859"/>
                  <a:pt x="20424" y="1109"/>
                </a:cubicBezTo>
                <a:cubicBezTo>
                  <a:pt x="20573" y="1338"/>
                  <a:pt x="20573" y="1553"/>
                  <a:pt x="20573" y="1983"/>
                </a:cubicBezTo>
                <a:lnTo>
                  <a:pt x="20573" y="19623"/>
                </a:lnTo>
                <a:cubicBezTo>
                  <a:pt x="20573" y="20046"/>
                  <a:pt x="20573" y="20262"/>
                  <a:pt x="20424" y="20491"/>
                </a:cubicBezTo>
                <a:cubicBezTo>
                  <a:pt x="20237" y="20741"/>
                  <a:pt x="19831" y="20938"/>
                  <a:pt x="19317" y="21029"/>
                </a:cubicBezTo>
                <a:cubicBezTo>
                  <a:pt x="18846" y="21101"/>
                  <a:pt x="18403" y="21101"/>
                  <a:pt x="17517" y="21101"/>
                </a:cubicBezTo>
                <a:lnTo>
                  <a:pt x="4068" y="21101"/>
                </a:lnTo>
                <a:cubicBezTo>
                  <a:pt x="3196" y="21101"/>
                  <a:pt x="2754" y="21101"/>
                  <a:pt x="2283" y="21029"/>
                </a:cubicBezTo>
                <a:cubicBezTo>
                  <a:pt x="1769" y="20938"/>
                  <a:pt x="1363" y="20741"/>
                  <a:pt x="1176" y="20491"/>
                </a:cubicBezTo>
                <a:cubicBezTo>
                  <a:pt x="1027" y="20262"/>
                  <a:pt x="1027" y="20047"/>
                  <a:pt x="1027" y="19617"/>
                </a:cubicBezTo>
                <a:lnTo>
                  <a:pt x="1027" y="1977"/>
                </a:lnTo>
                <a:cubicBezTo>
                  <a:pt x="1027" y="1554"/>
                  <a:pt x="1027" y="1338"/>
                  <a:pt x="1176" y="1109"/>
                </a:cubicBezTo>
                <a:cubicBezTo>
                  <a:pt x="1363" y="859"/>
                  <a:pt x="1769" y="662"/>
                  <a:pt x="2283" y="571"/>
                </a:cubicBezTo>
                <a:cubicBezTo>
                  <a:pt x="2751" y="499"/>
                  <a:pt x="3195" y="499"/>
                  <a:pt x="4068" y="499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spcFirstLastPara="1" wrap="square" lIns="91440" tIns="45720" rIns="91440" bIns="45720" anchor="ctr" anchorCtr="0">
            <a:norm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None/>
            </a:pPr>
            <a:endParaRPr sz="800" b="0" i="0" u="none" strike="noStrike" cap="none">
              <a:solidFill>
                <a:srgbClr val="252D30"/>
              </a:solidFill>
              <a:cs typeface="+mn-ea"/>
              <a:sym typeface="+mn-lt"/>
            </a:endParaRPr>
          </a:p>
        </p:txBody>
      </p:sp>
      <p:sp>
        <p:nvSpPr>
          <p:cNvPr id="33" name="椭圆 32">
            <a:extLst>
              <a:ext uri="{FF2B5EF4-FFF2-40B4-BE49-F238E27FC236}">
                <a16:creationId xmlns:a16="http://schemas.microsoft.com/office/drawing/2014/main" id="{83D1CF9F-C6A1-428A-9FEC-2D68AC388179}"/>
              </a:ext>
            </a:extLst>
          </p:cNvPr>
          <p:cNvSpPr/>
          <p:nvPr/>
        </p:nvSpPr>
        <p:spPr>
          <a:xfrm>
            <a:off x="7204445" y="1900863"/>
            <a:ext cx="41796" cy="4179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spcFirstLastPara="1" wrap="square" lIns="91440" tIns="45720" rIns="91440" bIns="45720" anchor="ctr" anchorCtr="0">
            <a:normAutofit fontScale="25000" lnSpcReduction="20000"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None/>
            </a:pPr>
            <a:endParaRPr sz="800" b="0" i="0" u="none" strike="noStrike" cap="none">
              <a:solidFill>
                <a:srgbClr val="252D30"/>
              </a:solidFill>
              <a:cs typeface="+mn-ea"/>
              <a:sym typeface="+mn-lt"/>
            </a:endParaRPr>
          </a:p>
        </p:txBody>
      </p:sp>
      <p:sp>
        <p:nvSpPr>
          <p:cNvPr id="34" name="任意多边形: 形状 33">
            <a:extLst>
              <a:ext uri="{FF2B5EF4-FFF2-40B4-BE49-F238E27FC236}">
                <a16:creationId xmlns:a16="http://schemas.microsoft.com/office/drawing/2014/main" id="{6C8B3626-B755-4BB3-A4D2-A7C7B879F54A}"/>
              </a:ext>
            </a:extLst>
          </p:cNvPr>
          <p:cNvSpPr/>
          <p:nvPr/>
        </p:nvSpPr>
        <p:spPr>
          <a:xfrm>
            <a:off x="6981554" y="1909187"/>
            <a:ext cx="178599" cy="25203"/>
          </a:xfrm>
          <a:custGeom>
            <a:avLst/>
            <a:gdLst/>
            <a:ahLst/>
            <a:cxnLst/>
            <a:rect l="l" t="t" r="r" b="b"/>
            <a:pathLst>
              <a:path w="21600" h="21600" extrusionOk="0">
                <a:moveTo>
                  <a:pt x="1524" y="0"/>
                </a:moveTo>
                <a:cubicBezTo>
                  <a:pt x="1103" y="0"/>
                  <a:pt x="729" y="1260"/>
                  <a:pt x="453" y="3213"/>
                </a:cubicBezTo>
                <a:cubicBezTo>
                  <a:pt x="178" y="5166"/>
                  <a:pt x="0" y="7820"/>
                  <a:pt x="0" y="10800"/>
                </a:cubicBezTo>
                <a:cubicBezTo>
                  <a:pt x="0" y="16761"/>
                  <a:pt x="683" y="21600"/>
                  <a:pt x="1524" y="21600"/>
                </a:cubicBezTo>
                <a:cubicBezTo>
                  <a:pt x="1961" y="21600"/>
                  <a:pt x="2397" y="21600"/>
                  <a:pt x="2834" y="21600"/>
                </a:cubicBezTo>
                <a:cubicBezTo>
                  <a:pt x="5336" y="21600"/>
                  <a:pt x="7838" y="21600"/>
                  <a:pt x="10340" y="21600"/>
                </a:cubicBezTo>
                <a:cubicBezTo>
                  <a:pt x="10533" y="21600"/>
                  <a:pt x="10727" y="21600"/>
                  <a:pt x="10920" y="21600"/>
                </a:cubicBezTo>
                <a:lnTo>
                  <a:pt x="20076" y="21600"/>
                </a:lnTo>
                <a:cubicBezTo>
                  <a:pt x="20497" y="21600"/>
                  <a:pt x="20871" y="20340"/>
                  <a:pt x="21147" y="18387"/>
                </a:cubicBezTo>
                <a:cubicBezTo>
                  <a:pt x="21422" y="16434"/>
                  <a:pt x="21600" y="13780"/>
                  <a:pt x="21600" y="10800"/>
                </a:cubicBezTo>
                <a:cubicBezTo>
                  <a:pt x="21600" y="4839"/>
                  <a:pt x="20917" y="0"/>
                  <a:pt x="20076" y="0"/>
                </a:cubicBezTo>
                <a:cubicBezTo>
                  <a:pt x="19639" y="0"/>
                  <a:pt x="19203" y="0"/>
                  <a:pt x="18766" y="0"/>
                </a:cubicBezTo>
                <a:cubicBezTo>
                  <a:pt x="16264" y="0"/>
                  <a:pt x="13762" y="0"/>
                  <a:pt x="11260" y="0"/>
                </a:cubicBezTo>
                <a:lnTo>
                  <a:pt x="1524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spcFirstLastPara="1" wrap="square" lIns="91440" tIns="45720" rIns="91440" bIns="45720" anchor="ctr" anchorCtr="0">
            <a:normAutofit fontScale="25000" lnSpcReduction="20000"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None/>
            </a:pPr>
            <a:endParaRPr sz="800" b="0" i="0" u="none" strike="noStrike" cap="none">
              <a:solidFill>
                <a:srgbClr val="252D30"/>
              </a:solidFill>
              <a:cs typeface="+mn-ea"/>
              <a:sym typeface="+mn-lt"/>
            </a:endParaRPr>
          </a:p>
        </p:txBody>
      </p:sp>
      <p:sp>
        <p:nvSpPr>
          <p:cNvPr id="35" name="任意多边形: 形状 34">
            <a:extLst>
              <a:ext uri="{FF2B5EF4-FFF2-40B4-BE49-F238E27FC236}">
                <a16:creationId xmlns:a16="http://schemas.microsoft.com/office/drawing/2014/main" id="{94607387-DCED-4D84-AB07-5488C80C6564}"/>
              </a:ext>
            </a:extLst>
          </p:cNvPr>
          <p:cNvSpPr/>
          <p:nvPr/>
        </p:nvSpPr>
        <p:spPr>
          <a:xfrm>
            <a:off x="6494661" y="2043826"/>
            <a:ext cx="1153574" cy="2566698"/>
          </a:xfrm>
          <a:custGeom>
            <a:avLst/>
            <a:gdLst/>
            <a:ahLst/>
            <a:cxnLst/>
            <a:rect l="l" t="t" r="r" b="b"/>
            <a:pathLst>
              <a:path w="21600" h="21600" extrusionOk="0">
                <a:moveTo>
                  <a:pt x="2117" y="0"/>
                </a:moveTo>
                <a:cubicBezTo>
                  <a:pt x="1508" y="0"/>
                  <a:pt x="1199" y="0"/>
                  <a:pt x="874" y="47"/>
                </a:cubicBezTo>
                <a:cubicBezTo>
                  <a:pt x="516" y="105"/>
                  <a:pt x="234" y="232"/>
                  <a:pt x="104" y="393"/>
                </a:cubicBezTo>
                <a:cubicBezTo>
                  <a:pt x="0" y="540"/>
                  <a:pt x="0" y="679"/>
                  <a:pt x="0" y="951"/>
                </a:cubicBezTo>
                <a:lnTo>
                  <a:pt x="0" y="3080"/>
                </a:lnTo>
                <a:lnTo>
                  <a:pt x="21600" y="3080"/>
                </a:lnTo>
                <a:lnTo>
                  <a:pt x="21600" y="955"/>
                </a:lnTo>
                <a:cubicBezTo>
                  <a:pt x="21600" y="678"/>
                  <a:pt x="21600" y="540"/>
                  <a:pt x="21496" y="393"/>
                </a:cubicBezTo>
                <a:cubicBezTo>
                  <a:pt x="21366" y="232"/>
                  <a:pt x="21084" y="105"/>
                  <a:pt x="20726" y="47"/>
                </a:cubicBezTo>
                <a:cubicBezTo>
                  <a:pt x="20399" y="0"/>
                  <a:pt x="20093" y="0"/>
                  <a:pt x="19486" y="0"/>
                </a:cubicBezTo>
                <a:lnTo>
                  <a:pt x="2126" y="0"/>
                </a:lnTo>
                <a:lnTo>
                  <a:pt x="2117" y="0"/>
                </a:lnTo>
                <a:close/>
                <a:moveTo>
                  <a:pt x="0" y="4419"/>
                </a:moveTo>
                <a:lnTo>
                  <a:pt x="0" y="17820"/>
                </a:lnTo>
                <a:lnTo>
                  <a:pt x="21600" y="17820"/>
                </a:lnTo>
                <a:lnTo>
                  <a:pt x="21600" y="4419"/>
                </a:lnTo>
                <a:lnTo>
                  <a:pt x="0" y="4419"/>
                </a:lnTo>
                <a:close/>
                <a:moveTo>
                  <a:pt x="0" y="19159"/>
                </a:moveTo>
                <a:lnTo>
                  <a:pt x="0" y="20645"/>
                </a:lnTo>
                <a:cubicBezTo>
                  <a:pt x="0" y="20922"/>
                  <a:pt x="0" y="21060"/>
                  <a:pt x="104" y="21207"/>
                </a:cubicBezTo>
                <a:cubicBezTo>
                  <a:pt x="234" y="21368"/>
                  <a:pt x="516" y="21495"/>
                  <a:pt x="874" y="21553"/>
                </a:cubicBezTo>
                <a:cubicBezTo>
                  <a:pt x="1201" y="21600"/>
                  <a:pt x="1510" y="21600"/>
                  <a:pt x="2117" y="21600"/>
                </a:cubicBezTo>
                <a:lnTo>
                  <a:pt x="19474" y="21600"/>
                </a:lnTo>
                <a:cubicBezTo>
                  <a:pt x="20090" y="21600"/>
                  <a:pt x="20399" y="21600"/>
                  <a:pt x="20726" y="21553"/>
                </a:cubicBezTo>
                <a:cubicBezTo>
                  <a:pt x="21084" y="21495"/>
                  <a:pt x="21366" y="21368"/>
                  <a:pt x="21496" y="21207"/>
                </a:cubicBezTo>
                <a:cubicBezTo>
                  <a:pt x="21600" y="21060"/>
                  <a:pt x="21600" y="20921"/>
                  <a:pt x="21600" y="20649"/>
                </a:cubicBezTo>
                <a:lnTo>
                  <a:pt x="21600" y="19159"/>
                </a:lnTo>
                <a:lnTo>
                  <a:pt x="0" y="19159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91440" tIns="45720" rIns="91440" bIns="45720" anchor="ctr" anchorCtr="0">
            <a:normAutofit/>
          </a:bodyPr>
          <a:lstStyle/>
          <a:p>
            <a:pPr>
              <a:buClr>
                <a:srgbClr val="252D30"/>
              </a:buClr>
              <a:buSzPts val="800"/>
            </a:pPr>
            <a:endParaRPr sz="800">
              <a:solidFill>
                <a:srgbClr val="252D30"/>
              </a:solidFill>
              <a:cs typeface="+mn-ea"/>
              <a:sym typeface="+mn-lt"/>
            </a:endParaRPr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E4D34D99-39D6-4D8A-9CBA-1D05F58ECA1A}"/>
              </a:ext>
            </a:extLst>
          </p:cNvPr>
          <p:cNvSpPr txBox="1"/>
          <p:nvPr/>
        </p:nvSpPr>
        <p:spPr>
          <a:xfrm>
            <a:off x="6801794" y="2708055"/>
            <a:ext cx="541035" cy="1238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40" tIns="45720" rIns="91440" bIns="45720" anchor="t" anchorCtr="0">
            <a:norm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500"/>
              <a:buFont typeface="Impact"/>
              <a:buNone/>
            </a:pPr>
            <a:r>
              <a:rPr lang="en-GB" sz="7500" b="0" i="0" u="none" strike="noStrike" cap="none" dirty="0">
                <a:solidFill>
                  <a:srgbClr val="FFFFFF"/>
                </a:solidFill>
                <a:cs typeface="+mn-ea"/>
                <a:sym typeface="+mn-lt"/>
              </a:rPr>
              <a:t>B</a:t>
            </a:r>
            <a:endParaRPr sz="500" b="0" i="0" u="none" strike="noStrike" cap="none" dirty="0">
              <a:solidFill>
                <a:srgbClr val="000000"/>
              </a:solidFill>
              <a:cs typeface="+mn-ea"/>
              <a:sym typeface="+mn-lt"/>
            </a:endParaRPr>
          </a:p>
        </p:txBody>
      </p:sp>
      <p:grpSp>
        <p:nvGrpSpPr>
          <p:cNvPr id="37" name="组合 36">
            <a:extLst>
              <a:ext uri="{FF2B5EF4-FFF2-40B4-BE49-F238E27FC236}">
                <a16:creationId xmlns:a16="http://schemas.microsoft.com/office/drawing/2014/main" id="{A15FAB79-C8B3-4224-AA5A-2E3AA28EFDE4}"/>
              </a:ext>
            </a:extLst>
          </p:cNvPr>
          <p:cNvGrpSpPr/>
          <p:nvPr/>
        </p:nvGrpSpPr>
        <p:grpSpPr>
          <a:xfrm>
            <a:off x="6834187" y="4576077"/>
            <a:ext cx="476250" cy="476250"/>
            <a:chOff x="6834188" y="4576077"/>
            <a:chExt cx="476250" cy="476250"/>
          </a:xfrm>
        </p:grpSpPr>
        <p:sp>
          <p:nvSpPr>
            <p:cNvPr id="38" name="椭圆 37">
              <a:extLst>
                <a:ext uri="{FF2B5EF4-FFF2-40B4-BE49-F238E27FC236}">
                  <a16:creationId xmlns:a16="http://schemas.microsoft.com/office/drawing/2014/main" id="{71278C40-5894-4761-AB93-B0C3803F51DD}"/>
                </a:ext>
              </a:extLst>
            </p:cNvPr>
            <p:cNvSpPr/>
            <p:nvPr/>
          </p:nvSpPr>
          <p:spPr>
            <a:xfrm>
              <a:off x="6834188" y="4576077"/>
              <a:ext cx="476250" cy="476250"/>
            </a:xfrm>
            <a:prstGeom prst="ellipse">
              <a:avLst/>
            </a:prstGeom>
            <a:solidFill>
              <a:schemeClr val="accent1"/>
            </a:solidFill>
            <a:ln w="38100">
              <a:solidFill>
                <a:schemeClr val="bg1"/>
              </a:solidFill>
            </a:ln>
          </p:spPr>
          <p:txBody>
            <a:bodyPr spcFirstLastPara="1" wrap="square" lIns="91440" tIns="45720" rIns="91440" bIns="45720" anchor="ctr" anchorCtr="0">
              <a:normAutofit/>
            </a:bodyPr>
            <a:lstStyle/>
            <a:p>
              <a:pPr>
                <a:buClr>
                  <a:srgbClr val="252D30"/>
                </a:buClr>
                <a:buSzPts val="800"/>
              </a:pPr>
              <a:endParaRPr sz="800">
                <a:solidFill>
                  <a:srgbClr val="252D30"/>
                </a:solidFill>
                <a:cs typeface="+mn-ea"/>
                <a:sym typeface="+mn-lt"/>
              </a:endParaRPr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C13A2474-388B-4710-87A9-AD55E4F1B833}"/>
                </a:ext>
              </a:extLst>
            </p:cNvPr>
            <p:cNvSpPr/>
            <p:nvPr/>
          </p:nvSpPr>
          <p:spPr>
            <a:xfrm>
              <a:off x="6926524" y="4707452"/>
              <a:ext cx="287882" cy="214344"/>
            </a:xfrm>
            <a:custGeom>
              <a:avLst/>
              <a:gdLst/>
              <a:ahLst/>
              <a:cxnLst/>
              <a:rect l="l" t="t" r="r" b="b"/>
              <a:pathLst>
                <a:path w="21600" h="21600" extrusionOk="0">
                  <a:moveTo>
                    <a:pt x="19569" y="0"/>
                  </a:moveTo>
                  <a:cubicBezTo>
                    <a:pt x="19483" y="0"/>
                    <a:pt x="19397" y="25"/>
                    <a:pt x="19318" y="75"/>
                  </a:cubicBezTo>
                  <a:cubicBezTo>
                    <a:pt x="19248" y="124"/>
                    <a:pt x="19188" y="182"/>
                    <a:pt x="19121" y="261"/>
                  </a:cubicBezTo>
                  <a:cubicBezTo>
                    <a:pt x="19053" y="339"/>
                    <a:pt x="18979" y="439"/>
                    <a:pt x="18880" y="572"/>
                  </a:cubicBezTo>
                  <a:lnTo>
                    <a:pt x="7533" y="15814"/>
                  </a:lnTo>
                  <a:lnTo>
                    <a:pt x="2722" y="9352"/>
                  </a:lnTo>
                  <a:cubicBezTo>
                    <a:pt x="2622" y="9218"/>
                    <a:pt x="2547" y="9117"/>
                    <a:pt x="2480" y="9038"/>
                  </a:cubicBezTo>
                  <a:cubicBezTo>
                    <a:pt x="2412" y="8958"/>
                    <a:pt x="2352" y="8900"/>
                    <a:pt x="2282" y="8852"/>
                  </a:cubicBezTo>
                  <a:cubicBezTo>
                    <a:pt x="2203" y="8802"/>
                    <a:pt x="2117" y="8777"/>
                    <a:pt x="2031" y="8777"/>
                  </a:cubicBezTo>
                  <a:cubicBezTo>
                    <a:pt x="1946" y="8777"/>
                    <a:pt x="1860" y="8802"/>
                    <a:pt x="1781" y="8852"/>
                  </a:cubicBezTo>
                  <a:cubicBezTo>
                    <a:pt x="1711" y="8900"/>
                    <a:pt x="1651" y="8958"/>
                    <a:pt x="1583" y="9037"/>
                  </a:cubicBezTo>
                  <a:cubicBezTo>
                    <a:pt x="1516" y="9116"/>
                    <a:pt x="1442" y="9216"/>
                    <a:pt x="1343" y="9349"/>
                  </a:cubicBezTo>
                  <a:lnTo>
                    <a:pt x="429" y="10576"/>
                  </a:lnTo>
                  <a:cubicBezTo>
                    <a:pt x="329" y="10710"/>
                    <a:pt x="254" y="10811"/>
                    <a:pt x="195" y="10903"/>
                  </a:cubicBezTo>
                  <a:cubicBezTo>
                    <a:pt x="135" y="10994"/>
                    <a:pt x="92" y="11075"/>
                    <a:pt x="56" y="11169"/>
                  </a:cubicBezTo>
                  <a:cubicBezTo>
                    <a:pt x="19" y="11275"/>
                    <a:pt x="0" y="11390"/>
                    <a:pt x="0" y="11504"/>
                  </a:cubicBezTo>
                  <a:cubicBezTo>
                    <a:pt x="0" y="11619"/>
                    <a:pt x="19" y="11734"/>
                    <a:pt x="56" y="11840"/>
                  </a:cubicBezTo>
                  <a:cubicBezTo>
                    <a:pt x="92" y="11934"/>
                    <a:pt x="135" y="12015"/>
                    <a:pt x="194" y="12105"/>
                  </a:cubicBezTo>
                  <a:cubicBezTo>
                    <a:pt x="254" y="12196"/>
                    <a:pt x="328" y="12295"/>
                    <a:pt x="427" y="12428"/>
                  </a:cubicBezTo>
                  <a:lnTo>
                    <a:pt x="6804" y="20995"/>
                  </a:lnTo>
                  <a:cubicBezTo>
                    <a:pt x="6904" y="21129"/>
                    <a:pt x="6979" y="21230"/>
                    <a:pt x="7047" y="21309"/>
                  </a:cubicBezTo>
                  <a:cubicBezTo>
                    <a:pt x="7114" y="21388"/>
                    <a:pt x="7174" y="21446"/>
                    <a:pt x="7244" y="21495"/>
                  </a:cubicBezTo>
                  <a:cubicBezTo>
                    <a:pt x="7251" y="21499"/>
                    <a:pt x="7258" y="21502"/>
                    <a:pt x="7265" y="21505"/>
                  </a:cubicBezTo>
                  <a:cubicBezTo>
                    <a:pt x="7272" y="21508"/>
                    <a:pt x="7278" y="21511"/>
                    <a:pt x="7285" y="21515"/>
                  </a:cubicBezTo>
                  <a:lnTo>
                    <a:pt x="7291" y="21520"/>
                  </a:lnTo>
                  <a:lnTo>
                    <a:pt x="7297" y="21525"/>
                  </a:lnTo>
                  <a:cubicBezTo>
                    <a:pt x="7377" y="21575"/>
                    <a:pt x="7462" y="21600"/>
                    <a:pt x="7548" y="21600"/>
                  </a:cubicBezTo>
                  <a:cubicBezTo>
                    <a:pt x="7633" y="21600"/>
                    <a:pt x="7719" y="21575"/>
                    <a:pt x="7798" y="21525"/>
                  </a:cubicBezTo>
                  <a:cubicBezTo>
                    <a:pt x="7868" y="21477"/>
                    <a:pt x="7929" y="21419"/>
                    <a:pt x="7996" y="21340"/>
                  </a:cubicBezTo>
                  <a:cubicBezTo>
                    <a:pt x="8063" y="21261"/>
                    <a:pt x="8137" y="21161"/>
                    <a:pt x="8236" y="21029"/>
                  </a:cubicBezTo>
                  <a:lnTo>
                    <a:pt x="21171" y="3656"/>
                  </a:lnTo>
                  <a:cubicBezTo>
                    <a:pt x="21271" y="3522"/>
                    <a:pt x="21346" y="3421"/>
                    <a:pt x="21405" y="3330"/>
                  </a:cubicBezTo>
                  <a:cubicBezTo>
                    <a:pt x="21465" y="3238"/>
                    <a:pt x="21508" y="3157"/>
                    <a:pt x="21544" y="3063"/>
                  </a:cubicBezTo>
                  <a:cubicBezTo>
                    <a:pt x="21581" y="2957"/>
                    <a:pt x="21600" y="2842"/>
                    <a:pt x="21600" y="2728"/>
                  </a:cubicBezTo>
                  <a:cubicBezTo>
                    <a:pt x="21600" y="2613"/>
                    <a:pt x="21581" y="2499"/>
                    <a:pt x="21544" y="2392"/>
                  </a:cubicBezTo>
                  <a:cubicBezTo>
                    <a:pt x="21508" y="2298"/>
                    <a:pt x="21465" y="2217"/>
                    <a:pt x="21406" y="2127"/>
                  </a:cubicBezTo>
                  <a:cubicBezTo>
                    <a:pt x="21346" y="2037"/>
                    <a:pt x="21272" y="1937"/>
                    <a:pt x="21173" y="1804"/>
                  </a:cubicBezTo>
                  <a:lnTo>
                    <a:pt x="20260" y="575"/>
                  </a:lnTo>
                  <a:cubicBezTo>
                    <a:pt x="20159" y="441"/>
                    <a:pt x="20084" y="340"/>
                    <a:pt x="20017" y="261"/>
                  </a:cubicBezTo>
                  <a:cubicBezTo>
                    <a:pt x="19949" y="181"/>
                    <a:pt x="19889" y="124"/>
                    <a:pt x="19819" y="75"/>
                  </a:cubicBezTo>
                  <a:cubicBezTo>
                    <a:pt x="19740" y="25"/>
                    <a:pt x="19654" y="0"/>
                    <a:pt x="1956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40" tIns="45720" rIns="91440" bIns="45720" anchor="ctr" anchorCtr="0">
              <a:norm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252D30"/>
                </a:buClr>
                <a:buSzPts val="800"/>
                <a:buFont typeface="Arial"/>
                <a:buNone/>
              </a:pPr>
              <a:endParaRPr sz="800" b="0" i="0" u="none" strike="noStrike" cap="none">
                <a:solidFill>
                  <a:srgbClr val="252D30"/>
                </a:solidFill>
                <a:cs typeface="+mn-ea"/>
                <a:sym typeface="+mn-lt"/>
              </a:endParaRPr>
            </a:p>
          </p:txBody>
        </p:sp>
      </p:grpSp>
      <p:sp>
        <p:nvSpPr>
          <p:cNvPr id="19" name="任意多边形: 形状 18">
            <a:extLst>
              <a:ext uri="{FF2B5EF4-FFF2-40B4-BE49-F238E27FC236}">
                <a16:creationId xmlns:a16="http://schemas.microsoft.com/office/drawing/2014/main" id="{AE3B44C9-E786-4BAD-9A0F-FACC4EF9220C}"/>
              </a:ext>
            </a:extLst>
          </p:cNvPr>
          <p:cNvSpPr/>
          <p:nvPr/>
        </p:nvSpPr>
        <p:spPr>
          <a:xfrm>
            <a:off x="5839231" y="2499039"/>
            <a:ext cx="23850" cy="329913"/>
          </a:xfrm>
          <a:custGeom>
            <a:avLst/>
            <a:gdLst/>
            <a:ahLst/>
            <a:cxnLst/>
            <a:rect l="l" t="t" r="r" b="b"/>
            <a:pathLst>
              <a:path w="21572" h="21596" extrusionOk="0">
                <a:moveTo>
                  <a:pt x="0" y="0"/>
                </a:moveTo>
                <a:lnTo>
                  <a:pt x="0" y="21596"/>
                </a:lnTo>
                <a:lnTo>
                  <a:pt x="9420" y="21596"/>
                </a:lnTo>
                <a:cubicBezTo>
                  <a:pt x="12945" y="21596"/>
                  <a:pt x="14707" y="21598"/>
                  <a:pt x="16579" y="21555"/>
                </a:cubicBezTo>
                <a:cubicBezTo>
                  <a:pt x="18628" y="21501"/>
                  <a:pt x="20261" y="21383"/>
                  <a:pt x="21007" y="21235"/>
                </a:cubicBezTo>
                <a:cubicBezTo>
                  <a:pt x="21600" y="21099"/>
                  <a:pt x="21572" y="20968"/>
                  <a:pt x="21572" y="20717"/>
                </a:cubicBezTo>
                <a:lnTo>
                  <a:pt x="21572" y="879"/>
                </a:lnTo>
                <a:cubicBezTo>
                  <a:pt x="21572" y="624"/>
                  <a:pt x="21600" y="497"/>
                  <a:pt x="21007" y="361"/>
                </a:cubicBezTo>
                <a:cubicBezTo>
                  <a:pt x="20261" y="213"/>
                  <a:pt x="18628" y="95"/>
                  <a:pt x="16579" y="41"/>
                </a:cubicBezTo>
                <a:cubicBezTo>
                  <a:pt x="14707" y="-2"/>
                  <a:pt x="12986" y="0"/>
                  <a:pt x="9514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spcFirstLastPara="1" wrap="square" lIns="91440" tIns="45720" rIns="91440" bIns="45720" anchor="ctr" anchorCtr="0">
            <a:norm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None/>
            </a:pPr>
            <a:endParaRPr sz="800" b="0" i="0" u="none" strike="noStrike" cap="none">
              <a:solidFill>
                <a:srgbClr val="252D30"/>
              </a:solidFill>
              <a:cs typeface="+mn-ea"/>
              <a:sym typeface="+mn-lt"/>
            </a:endParaRPr>
          </a:p>
        </p:txBody>
      </p:sp>
      <p:sp>
        <p:nvSpPr>
          <p:cNvPr id="20" name="任意多边形: 形状 19">
            <a:extLst>
              <a:ext uri="{FF2B5EF4-FFF2-40B4-BE49-F238E27FC236}">
                <a16:creationId xmlns:a16="http://schemas.microsoft.com/office/drawing/2014/main" id="{15756984-08BA-47A3-91A4-17488AF8B38C}"/>
              </a:ext>
            </a:extLst>
          </p:cNvPr>
          <p:cNvSpPr/>
          <p:nvPr/>
        </p:nvSpPr>
        <p:spPr>
          <a:xfrm>
            <a:off x="4376293" y="2211304"/>
            <a:ext cx="23327" cy="691273"/>
          </a:xfrm>
          <a:custGeom>
            <a:avLst/>
            <a:gdLst/>
            <a:ahLst/>
            <a:cxnLst/>
            <a:rect l="l" t="t" r="r" b="b"/>
            <a:pathLst>
              <a:path w="21571" h="21600" extrusionOk="0">
                <a:moveTo>
                  <a:pt x="12326" y="0"/>
                </a:moveTo>
                <a:cubicBezTo>
                  <a:pt x="8816" y="0"/>
                  <a:pt x="6993" y="3"/>
                  <a:pt x="5104" y="23"/>
                </a:cubicBezTo>
                <a:cubicBezTo>
                  <a:pt x="3009" y="49"/>
                  <a:pt x="1340" y="102"/>
                  <a:pt x="577" y="172"/>
                </a:cubicBezTo>
                <a:cubicBezTo>
                  <a:pt x="-29" y="237"/>
                  <a:pt x="0" y="300"/>
                  <a:pt x="0" y="420"/>
                </a:cubicBezTo>
                <a:lnTo>
                  <a:pt x="0" y="3023"/>
                </a:lnTo>
                <a:cubicBezTo>
                  <a:pt x="0" y="3145"/>
                  <a:pt x="-29" y="3206"/>
                  <a:pt x="577" y="3270"/>
                </a:cubicBezTo>
                <a:cubicBezTo>
                  <a:pt x="1340" y="3341"/>
                  <a:pt x="3009" y="3394"/>
                  <a:pt x="5104" y="3420"/>
                </a:cubicBezTo>
                <a:cubicBezTo>
                  <a:pt x="7018" y="3440"/>
                  <a:pt x="8778" y="3443"/>
                  <a:pt x="12326" y="3443"/>
                </a:cubicBezTo>
                <a:lnTo>
                  <a:pt x="21571" y="3443"/>
                </a:lnTo>
                <a:lnTo>
                  <a:pt x="21571" y="0"/>
                </a:lnTo>
                <a:lnTo>
                  <a:pt x="12326" y="0"/>
                </a:lnTo>
                <a:close/>
                <a:moveTo>
                  <a:pt x="12326" y="6632"/>
                </a:moveTo>
                <a:cubicBezTo>
                  <a:pt x="8816" y="6632"/>
                  <a:pt x="6993" y="6631"/>
                  <a:pt x="5104" y="6651"/>
                </a:cubicBezTo>
                <a:cubicBezTo>
                  <a:pt x="3009" y="6677"/>
                  <a:pt x="1340" y="6733"/>
                  <a:pt x="577" y="6804"/>
                </a:cubicBezTo>
                <a:cubicBezTo>
                  <a:pt x="-29" y="6869"/>
                  <a:pt x="0" y="6928"/>
                  <a:pt x="0" y="7048"/>
                </a:cubicBezTo>
                <a:lnTo>
                  <a:pt x="0" y="12814"/>
                </a:lnTo>
                <a:cubicBezTo>
                  <a:pt x="0" y="12936"/>
                  <a:pt x="-29" y="12997"/>
                  <a:pt x="577" y="13062"/>
                </a:cubicBezTo>
                <a:cubicBezTo>
                  <a:pt x="1340" y="13132"/>
                  <a:pt x="3009" y="13189"/>
                  <a:pt x="5104" y="13214"/>
                </a:cubicBezTo>
                <a:cubicBezTo>
                  <a:pt x="7018" y="13235"/>
                  <a:pt x="8778" y="13234"/>
                  <a:pt x="12326" y="13234"/>
                </a:cubicBezTo>
                <a:lnTo>
                  <a:pt x="21571" y="13234"/>
                </a:lnTo>
                <a:lnTo>
                  <a:pt x="21571" y="6632"/>
                </a:lnTo>
                <a:lnTo>
                  <a:pt x="12326" y="6632"/>
                </a:lnTo>
                <a:close/>
                <a:moveTo>
                  <a:pt x="12326" y="14994"/>
                </a:moveTo>
                <a:cubicBezTo>
                  <a:pt x="8816" y="14994"/>
                  <a:pt x="6993" y="14997"/>
                  <a:pt x="5104" y="15017"/>
                </a:cubicBezTo>
                <a:cubicBezTo>
                  <a:pt x="3009" y="15043"/>
                  <a:pt x="1340" y="15096"/>
                  <a:pt x="577" y="15167"/>
                </a:cubicBezTo>
                <a:cubicBezTo>
                  <a:pt x="-29" y="15232"/>
                  <a:pt x="0" y="15294"/>
                  <a:pt x="0" y="15414"/>
                </a:cubicBezTo>
                <a:lnTo>
                  <a:pt x="0" y="21180"/>
                </a:lnTo>
                <a:cubicBezTo>
                  <a:pt x="0" y="21302"/>
                  <a:pt x="-29" y="21363"/>
                  <a:pt x="577" y="21428"/>
                </a:cubicBezTo>
                <a:cubicBezTo>
                  <a:pt x="1340" y="21498"/>
                  <a:pt x="3009" y="21551"/>
                  <a:pt x="5104" y="21577"/>
                </a:cubicBezTo>
                <a:cubicBezTo>
                  <a:pt x="7018" y="21598"/>
                  <a:pt x="8778" y="21600"/>
                  <a:pt x="12326" y="21600"/>
                </a:cubicBezTo>
                <a:lnTo>
                  <a:pt x="21571" y="21600"/>
                </a:lnTo>
                <a:lnTo>
                  <a:pt x="21571" y="14994"/>
                </a:lnTo>
                <a:lnTo>
                  <a:pt x="12326" y="1499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spcFirstLastPara="1" wrap="square" lIns="91440" tIns="45720" rIns="91440" bIns="45720" anchor="ctr" anchorCtr="0">
            <a:norm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None/>
            </a:pPr>
            <a:endParaRPr sz="800" b="0" i="0" u="none" strike="noStrike" cap="none">
              <a:solidFill>
                <a:srgbClr val="252D30"/>
              </a:solidFill>
              <a:cs typeface="+mn-ea"/>
              <a:sym typeface="+mn-lt"/>
            </a:endParaRPr>
          </a:p>
        </p:txBody>
      </p:sp>
      <p:sp>
        <p:nvSpPr>
          <p:cNvPr id="21" name="任意多边形: 形状 20">
            <a:extLst>
              <a:ext uri="{FF2B5EF4-FFF2-40B4-BE49-F238E27FC236}">
                <a16:creationId xmlns:a16="http://schemas.microsoft.com/office/drawing/2014/main" id="{5B6E8340-5C54-42C9-AF95-047FF9223CEB}"/>
              </a:ext>
            </a:extLst>
          </p:cNvPr>
          <p:cNvSpPr/>
          <p:nvPr/>
        </p:nvSpPr>
        <p:spPr>
          <a:xfrm>
            <a:off x="4388381" y="1805674"/>
            <a:ext cx="1462107" cy="2963057"/>
          </a:xfrm>
          <a:custGeom>
            <a:avLst/>
            <a:gdLst/>
            <a:ahLst/>
            <a:cxnLst/>
            <a:rect l="l" t="t" r="r" b="b"/>
            <a:pathLst>
              <a:path w="21600" h="21600" extrusionOk="0">
                <a:moveTo>
                  <a:pt x="4862" y="0"/>
                </a:moveTo>
                <a:cubicBezTo>
                  <a:pt x="3463" y="0"/>
                  <a:pt x="2756" y="1"/>
                  <a:pt x="2009" y="118"/>
                </a:cubicBezTo>
                <a:cubicBezTo>
                  <a:pt x="1186" y="265"/>
                  <a:pt x="538" y="585"/>
                  <a:pt x="238" y="991"/>
                </a:cubicBezTo>
                <a:cubicBezTo>
                  <a:pt x="0" y="1362"/>
                  <a:pt x="0" y="1711"/>
                  <a:pt x="0" y="2399"/>
                </a:cubicBezTo>
                <a:lnTo>
                  <a:pt x="0" y="19190"/>
                </a:lnTo>
                <a:cubicBezTo>
                  <a:pt x="0" y="19888"/>
                  <a:pt x="0" y="20238"/>
                  <a:pt x="238" y="20609"/>
                </a:cubicBezTo>
                <a:cubicBezTo>
                  <a:pt x="538" y="21015"/>
                  <a:pt x="1186" y="21335"/>
                  <a:pt x="2009" y="21482"/>
                </a:cubicBezTo>
                <a:cubicBezTo>
                  <a:pt x="2761" y="21600"/>
                  <a:pt x="3468" y="21600"/>
                  <a:pt x="4862" y="21600"/>
                </a:cubicBezTo>
                <a:lnTo>
                  <a:pt x="16717" y="21600"/>
                </a:lnTo>
                <a:cubicBezTo>
                  <a:pt x="18133" y="21600"/>
                  <a:pt x="18840" y="21600"/>
                  <a:pt x="19592" y="21482"/>
                </a:cubicBezTo>
                <a:cubicBezTo>
                  <a:pt x="20415" y="21335"/>
                  <a:pt x="21062" y="21015"/>
                  <a:pt x="21362" y="20609"/>
                </a:cubicBezTo>
                <a:cubicBezTo>
                  <a:pt x="21600" y="20238"/>
                  <a:pt x="21600" y="19888"/>
                  <a:pt x="21600" y="19200"/>
                </a:cubicBezTo>
                <a:lnTo>
                  <a:pt x="21600" y="2410"/>
                </a:lnTo>
                <a:cubicBezTo>
                  <a:pt x="21600" y="1711"/>
                  <a:pt x="21600" y="1362"/>
                  <a:pt x="21362" y="991"/>
                </a:cubicBezTo>
                <a:cubicBezTo>
                  <a:pt x="21062" y="585"/>
                  <a:pt x="20415" y="265"/>
                  <a:pt x="19592" y="118"/>
                </a:cubicBezTo>
                <a:cubicBezTo>
                  <a:pt x="18840" y="0"/>
                  <a:pt x="18132" y="0"/>
                  <a:pt x="16738" y="0"/>
                </a:cubicBezTo>
                <a:lnTo>
                  <a:pt x="4862" y="0"/>
                </a:lnTo>
                <a:close/>
                <a:moveTo>
                  <a:pt x="4609" y="377"/>
                </a:moveTo>
                <a:lnTo>
                  <a:pt x="16991" y="377"/>
                </a:lnTo>
                <a:cubicBezTo>
                  <a:pt x="18073" y="377"/>
                  <a:pt x="18624" y="376"/>
                  <a:pt x="19208" y="468"/>
                </a:cubicBezTo>
                <a:cubicBezTo>
                  <a:pt x="19847" y="582"/>
                  <a:pt x="20351" y="831"/>
                  <a:pt x="20583" y="1146"/>
                </a:cubicBezTo>
                <a:cubicBezTo>
                  <a:pt x="20768" y="1434"/>
                  <a:pt x="20768" y="1706"/>
                  <a:pt x="20768" y="2249"/>
                </a:cubicBezTo>
                <a:lnTo>
                  <a:pt x="20768" y="19359"/>
                </a:lnTo>
                <a:cubicBezTo>
                  <a:pt x="20768" y="19893"/>
                  <a:pt x="20768" y="20165"/>
                  <a:pt x="20583" y="20453"/>
                </a:cubicBezTo>
                <a:cubicBezTo>
                  <a:pt x="20351" y="20768"/>
                  <a:pt x="19847" y="21017"/>
                  <a:pt x="19208" y="21132"/>
                </a:cubicBezTo>
                <a:cubicBezTo>
                  <a:pt x="18624" y="21223"/>
                  <a:pt x="18073" y="21223"/>
                  <a:pt x="16974" y="21223"/>
                </a:cubicBezTo>
                <a:lnTo>
                  <a:pt x="4609" y="21223"/>
                </a:lnTo>
                <a:cubicBezTo>
                  <a:pt x="3527" y="21223"/>
                  <a:pt x="2976" y="21223"/>
                  <a:pt x="2392" y="21132"/>
                </a:cubicBezTo>
                <a:cubicBezTo>
                  <a:pt x="1753" y="21017"/>
                  <a:pt x="1251" y="20768"/>
                  <a:pt x="1018" y="20453"/>
                </a:cubicBezTo>
                <a:cubicBezTo>
                  <a:pt x="833" y="20165"/>
                  <a:pt x="832" y="19893"/>
                  <a:pt x="832" y="19351"/>
                </a:cubicBezTo>
                <a:lnTo>
                  <a:pt x="832" y="2240"/>
                </a:lnTo>
                <a:cubicBezTo>
                  <a:pt x="832" y="1706"/>
                  <a:pt x="833" y="1434"/>
                  <a:pt x="1018" y="1146"/>
                </a:cubicBezTo>
                <a:cubicBezTo>
                  <a:pt x="1251" y="831"/>
                  <a:pt x="1753" y="582"/>
                  <a:pt x="2392" y="468"/>
                </a:cubicBezTo>
                <a:cubicBezTo>
                  <a:pt x="2973" y="377"/>
                  <a:pt x="3522" y="377"/>
                  <a:pt x="4609" y="377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spcFirstLastPara="1" wrap="square" lIns="91440" tIns="45720" rIns="91440" bIns="45720" anchor="ctr" anchorCtr="0">
            <a:norm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None/>
            </a:pPr>
            <a:endParaRPr sz="800" b="0" i="0" u="none" strike="noStrike" cap="none">
              <a:solidFill>
                <a:srgbClr val="252D30"/>
              </a:solidFill>
              <a:cs typeface="+mn-ea"/>
              <a:sym typeface="+mn-lt"/>
            </a:endParaRPr>
          </a:p>
        </p:txBody>
      </p:sp>
      <p:sp>
        <p:nvSpPr>
          <p:cNvPr id="22" name="任意多边形: 形状 21">
            <a:extLst>
              <a:ext uri="{FF2B5EF4-FFF2-40B4-BE49-F238E27FC236}">
                <a16:creationId xmlns:a16="http://schemas.microsoft.com/office/drawing/2014/main" id="{DCDA15D2-619E-4E7A-97B0-6450CCD0F684}"/>
              </a:ext>
            </a:extLst>
          </p:cNvPr>
          <p:cNvSpPr/>
          <p:nvPr/>
        </p:nvSpPr>
        <p:spPr>
          <a:xfrm>
            <a:off x="4410571" y="1827956"/>
            <a:ext cx="1417809" cy="2918382"/>
          </a:xfrm>
          <a:custGeom>
            <a:avLst/>
            <a:gdLst/>
            <a:ahLst/>
            <a:cxnLst/>
            <a:rect l="l" t="t" r="r" b="b"/>
            <a:pathLst>
              <a:path w="21600" h="21600" extrusionOk="0">
                <a:moveTo>
                  <a:pt x="4478" y="0"/>
                </a:moveTo>
                <a:cubicBezTo>
                  <a:pt x="3189" y="0"/>
                  <a:pt x="2539" y="1"/>
                  <a:pt x="1850" y="107"/>
                </a:cubicBezTo>
                <a:cubicBezTo>
                  <a:pt x="1093" y="241"/>
                  <a:pt x="495" y="531"/>
                  <a:pt x="219" y="899"/>
                </a:cubicBezTo>
                <a:cubicBezTo>
                  <a:pt x="0" y="1235"/>
                  <a:pt x="0" y="1552"/>
                  <a:pt x="0" y="2175"/>
                </a:cubicBezTo>
                <a:lnTo>
                  <a:pt x="0" y="19415"/>
                </a:lnTo>
                <a:cubicBezTo>
                  <a:pt x="0" y="20049"/>
                  <a:pt x="0" y="20365"/>
                  <a:pt x="219" y="20701"/>
                </a:cubicBezTo>
                <a:cubicBezTo>
                  <a:pt x="495" y="21069"/>
                  <a:pt x="1093" y="21359"/>
                  <a:pt x="1850" y="21493"/>
                </a:cubicBezTo>
                <a:cubicBezTo>
                  <a:pt x="2543" y="21600"/>
                  <a:pt x="3194" y="21600"/>
                  <a:pt x="4478" y="21600"/>
                </a:cubicBezTo>
                <a:lnTo>
                  <a:pt x="17103" y="21600"/>
                </a:lnTo>
                <a:cubicBezTo>
                  <a:pt x="18407" y="21600"/>
                  <a:pt x="19057" y="21600"/>
                  <a:pt x="19750" y="21493"/>
                </a:cubicBezTo>
                <a:cubicBezTo>
                  <a:pt x="20507" y="21359"/>
                  <a:pt x="21105" y="21069"/>
                  <a:pt x="21381" y="20701"/>
                </a:cubicBezTo>
                <a:cubicBezTo>
                  <a:pt x="21600" y="20365"/>
                  <a:pt x="21600" y="20048"/>
                  <a:pt x="21600" y="19425"/>
                </a:cubicBezTo>
                <a:lnTo>
                  <a:pt x="21600" y="2185"/>
                </a:lnTo>
                <a:cubicBezTo>
                  <a:pt x="21600" y="1551"/>
                  <a:pt x="21600" y="1235"/>
                  <a:pt x="21381" y="899"/>
                </a:cubicBezTo>
                <a:cubicBezTo>
                  <a:pt x="21105" y="531"/>
                  <a:pt x="20507" y="241"/>
                  <a:pt x="19750" y="107"/>
                </a:cubicBezTo>
                <a:cubicBezTo>
                  <a:pt x="19057" y="0"/>
                  <a:pt x="18406" y="0"/>
                  <a:pt x="17122" y="0"/>
                </a:cubicBezTo>
                <a:lnTo>
                  <a:pt x="4478" y="0"/>
                </a:lnTo>
                <a:close/>
                <a:moveTo>
                  <a:pt x="4068" y="499"/>
                </a:moveTo>
                <a:lnTo>
                  <a:pt x="5025" y="499"/>
                </a:lnTo>
                <a:cubicBezTo>
                  <a:pt x="5096" y="503"/>
                  <a:pt x="5163" y="515"/>
                  <a:pt x="5212" y="541"/>
                </a:cubicBezTo>
                <a:cubicBezTo>
                  <a:pt x="5257" y="565"/>
                  <a:pt x="5280" y="596"/>
                  <a:pt x="5285" y="628"/>
                </a:cubicBezTo>
                <a:cubicBezTo>
                  <a:pt x="5292" y="675"/>
                  <a:pt x="5300" y="719"/>
                  <a:pt x="5312" y="761"/>
                </a:cubicBezTo>
                <a:cubicBezTo>
                  <a:pt x="5325" y="807"/>
                  <a:pt x="5343" y="851"/>
                  <a:pt x="5369" y="893"/>
                </a:cubicBezTo>
                <a:cubicBezTo>
                  <a:pt x="5426" y="969"/>
                  <a:pt x="5516" y="1037"/>
                  <a:pt x="5631" y="1092"/>
                </a:cubicBezTo>
                <a:cubicBezTo>
                  <a:pt x="5746" y="1148"/>
                  <a:pt x="5886" y="1192"/>
                  <a:pt x="6042" y="1220"/>
                </a:cubicBezTo>
                <a:cubicBezTo>
                  <a:pt x="6185" y="1242"/>
                  <a:pt x="6324" y="1253"/>
                  <a:pt x="6494" y="1258"/>
                </a:cubicBezTo>
                <a:cubicBezTo>
                  <a:pt x="6664" y="1264"/>
                  <a:pt x="6866" y="1263"/>
                  <a:pt x="7135" y="1263"/>
                </a:cubicBezTo>
                <a:lnTo>
                  <a:pt x="14440" y="1263"/>
                </a:lnTo>
                <a:cubicBezTo>
                  <a:pt x="14708" y="1263"/>
                  <a:pt x="14910" y="1264"/>
                  <a:pt x="15080" y="1258"/>
                </a:cubicBezTo>
                <a:cubicBezTo>
                  <a:pt x="15251" y="1253"/>
                  <a:pt x="15390" y="1242"/>
                  <a:pt x="15533" y="1220"/>
                </a:cubicBezTo>
                <a:cubicBezTo>
                  <a:pt x="15689" y="1192"/>
                  <a:pt x="15829" y="1148"/>
                  <a:pt x="15944" y="1092"/>
                </a:cubicBezTo>
                <a:cubicBezTo>
                  <a:pt x="16058" y="1037"/>
                  <a:pt x="16148" y="969"/>
                  <a:pt x="16205" y="893"/>
                </a:cubicBezTo>
                <a:cubicBezTo>
                  <a:pt x="16232" y="851"/>
                  <a:pt x="16249" y="807"/>
                  <a:pt x="16262" y="761"/>
                </a:cubicBezTo>
                <a:cubicBezTo>
                  <a:pt x="16274" y="719"/>
                  <a:pt x="16282" y="675"/>
                  <a:pt x="16289" y="628"/>
                </a:cubicBezTo>
                <a:cubicBezTo>
                  <a:pt x="16294" y="596"/>
                  <a:pt x="16318" y="565"/>
                  <a:pt x="16362" y="541"/>
                </a:cubicBezTo>
                <a:cubicBezTo>
                  <a:pt x="16412" y="515"/>
                  <a:pt x="16480" y="503"/>
                  <a:pt x="16551" y="499"/>
                </a:cubicBezTo>
                <a:lnTo>
                  <a:pt x="17532" y="499"/>
                </a:lnTo>
                <a:cubicBezTo>
                  <a:pt x="18404" y="499"/>
                  <a:pt x="18846" y="499"/>
                  <a:pt x="19317" y="571"/>
                </a:cubicBezTo>
                <a:cubicBezTo>
                  <a:pt x="19831" y="662"/>
                  <a:pt x="20237" y="859"/>
                  <a:pt x="20424" y="1109"/>
                </a:cubicBezTo>
                <a:cubicBezTo>
                  <a:pt x="20573" y="1338"/>
                  <a:pt x="20573" y="1553"/>
                  <a:pt x="20573" y="1983"/>
                </a:cubicBezTo>
                <a:lnTo>
                  <a:pt x="20573" y="19623"/>
                </a:lnTo>
                <a:cubicBezTo>
                  <a:pt x="20573" y="20046"/>
                  <a:pt x="20573" y="20262"/>
                  <a:pt x="20424" y="20491"/>
                </a:cubicBezTo>
                <a:cubicBezTo>
                  <a:pt x="20237" y="20741"/>
                  <a:pt x="19831" y="20938"/>
                  <a:pt x="19317" y="21029"/>
                </a:cubicBezTo>
                <a:cubicBezTo>
                  <a:pt x="18846" y="21101"/>
                  <a:pt x="18403" y="21101"/>
                  <a:pt x="17517" y="21101"/>
                </a:cubicBezTo>
                <a:lnTo>
                  <a:pt x="4068" y="21101"/>
                </a:lnTo>
                <a:cubicBezTo>
                  <a:pt x="3196" y="21101"/>
                  <a:pt x="2754" y="21101"/>
                  <a:pt x="2283" y="21029"/>
                </a:cubicBezTo>
                <a:cubicBezTo>
                  <a:pt x="1769" y="20938"/>
                  <a:pt x="1363" y="20741"/>
                  <a:pt x="1176" y="20491"/>
                </a:cubicBezTo>
                <a:cubicBezTo>
                  <a:pt x="1027" y="20262"/>
                  <a:pt x="1027" y="20047"/>
                  <a:pt x="1027" y="19617"/>
                </a:cubicBezTo>
                <a:lnTo>
                  <a:pt x="1027" y="1977"/>
                </a:lnTo>
                <a:cubicBezTo>
                  <a:pt x="1027" y="1554"/>
                  <a:pt x="1027" y="1338"/>
                  <a:pt x="1176" y="1109"/>
                </a:cubicBezTo>
                <a:cubicBezTo>
                  <a:pt x="1363" y="859"/>
                  <a:pt x="1769" y="662"/>
                  <a:pt x="2283" y="571"/>
                </a:cubicBezTo>
                <a:cubicBezTo>
                  <a:pt x="2751" y="499"/>
                  <a:pt x="3195" y="499"/>
                  <a:pt x="4068" y="499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spcFirstLastPara="1" wrap="square" lIns="91440" tIns="45720" rIns="91440" bIns="45720" anchor="ctr" anchorCtr="0">
            <a:norm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None/>
            </a:pPr>
            <a:endParaRPr sz="800" b="0" i="0" u="none" strike="noStrike" cap="none">
              <a:solidFill>
                <a:srgbClr val="252D30"/>
              </a:solidFill>
              <a:cs typeface="+mn-ea"/>
              <a:sym typeface="+mn-lt"/>
            </a:endParaRPr>
          </a:p>
        </p:txBody>
      </p:sp>
      <p:sp>
        <p:nvSpPr>
          <p:cNvPr id="23" name="椭圆 22">
            <a:extLst>
              <a:ext uri="{FF2B5EF4-FFF2-40B4-BE49-F238E27FC236}">
                <a16:creationId xmlns:a16="http://schemas.microsoft.com/office/drawing/2014/main" id="{109C3386-8363-48C1-9A9C-BC605F03319D}"/>
              </a:ext>
            </a:extLst>
          </p:cNvPr>
          <p:cNvSpPr/>
          <p:nvPr/>
        </p:nvSpPr>
        <p:spPr>
          <a:xfrm>
            <a:off x="5251820" y="1900863"/>
            <a:ext cx="41796" cy="41795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spcFirstLastPara="1" wrap="square" lIns="91440" tIns="45720" rIns="91440" bIns="45720" anchor="ctr" anchorCtr="0">
            <a:normAutofit fontScale="25000" lnSpcReduction="20000"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None/>
            </a:pPr>
            <a:endParaRPr sz="800" b="0" i="0" u="none" strike="noStrike" cap="none">
              <a:solidFill>
                <a:srgbClr val="252D30"/>
              </a:solidFill>
              <a:cs typeface="+mn-ea"/>
              <a:sym typeface="+mn-lt"/>
            </a:endParaRPr>
          </a:p>
        </p:txBody>
      </p:sp>
      <p:sp>
        <p:nvSpPr>
          <p:cNvPr id="24" name="任意多边形: 形状 23">
            <a:extLst>
              <a:ext uri="{FF2B5EF4-FFF2-40B4-BE49-F238E27FC236}">
                <a16:creationId xmlns:a16="http://schemas.microsoft.com/office/drawing/2014/main" id="{3DD0EA5E-5476-4072-8D68-BCCE4072EAE9}"/>
              </a:ext>
            </a:extLst>
          </p:cNvPr>
          <p:cNvSpPr/>
          <p:nvPr/>
        </p:nvSpPr>
        <p:spPr>
          <a:xfrm>
            <a:off x="5028929" y="1909187"/>
            <a:ext cx="178599" cy="25203"/>
          </a:xfrm>
          <a:custGeom>
            <a:avLst/>
            <a:gdLst/>
            <a:ahLst/>
            <a:cxnLst/>
            <a:rect l="l" t="t" r="r" b="b"/>
            <a:pathLst>
              <a:path w="21600" h="21600" extrusionOk="0">
                <a:moveTo>
                  <a:pt x="1524" y="0"/>
                </a:moveTo>
                <a:cubicBezTo>
                  <a:pt x="1103" y="0"/>
                  <a:pt x="729" y="1260"/>
                  <a:pt x="453" y="3213"/>
                </a:cubicBezTo>
                <a:cubicBezTo>
                  <a:pt x="178" y="5166"/>
                  <a:pt x="0" y="7820"/>
                  <a:pt x="0" y="10800"/>
                </a:cubicBezTo>
                <a:cubicBezTo>
                  <a:pt x="0" y="16761"/>
                  <a:pt x="683" y="21600"/>
                  <a:pt x="1524" y="21600"/>
                </a:cubicBezTo>
                <a:cubicBezTo>
                  <a:pt x="1961" y="21600"/>
                  <a:pt x="2397" y="21600"/>
                  <a:pt x="2834" y="21600"/>
                </a:cubicBezTo>
                <a:cubicBezTo>
                  <a:pt x="5336" y="21600"/>
                  <a:pt x="7838" y="21600"/>
                  <a:pt x="10340" y="21600"/>
                </a:cubicBezTo>
                <a:cubicBezTo>
                  <a:pt x="10533" y="21600"/>
                  <a:pt x="10727" y="21600"/>
                  <a:pt x="10920" y="21600"/>
                </a:cubicBezTo>
                <a:lnTo>
                  <a:pt x="20076" y="21600"/>
                </a:lnTo>
                <a:cubicBezTo>
                  <a:pt x="20497" y="21600"/>
                  <a:pt x="20871" y="20340"/>
                  <a:pt x="21147" y="18387"/>
                </a:cubicBezTo>
                <a:cubicBezTo>
                  <a:pt x="21422" y="16434"/>
                  <a:pt x="21600" y="13780"/>
                  <a:pt x="21600" y="10800"/>
                </a:cubicBezTo>
                <a:cubicBezTo>
                  <a:pt x="21600" y="4839"/>
                  <a:pt x="20917" y="0"/>
                  <a:pt x="20076" y="0"/>
                </a:cubicBezTo>
                <a:cubicBezTo>
                  <a:pt x="19639" y="0"/>
                  <a:pt x="19203" y="0"/>
                  <a:pt x="18766" y="0"/>
                </a:cubicBezTo>
                <a:cubicBezTo>
                  <a:pt x="16264" y="0"/>
                  <a:pt x="13762" y="0"/>
                  <a:pt x="11260" y="0"/>
                </a:cubicBezTo>
                <a:lnTo>
                  <a:pt x="1524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spcFirstLastPara="1" wrap="square" lIns="91440" tIns="45720" rIns="91440" bIns="45720" anchor="ctr" anchorCtr="0">
            <a:normAutofit fontScale="25000" lnSpcReduction="20000"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800"/>
              <a:buFont typeface="Arial"/>
              <a:buNone/>
            </a:pPr>
            <a:endParaRPr sz="800" b="0" i="0" u="none" strike="noStrike" cap="none">
              <a:solidFill>
                <a:srgbClr val="252D30"/>
              </a:solidFill>
              <a:cs typeface="+mn-ea"/>
              <a:sym typeface="+mn-lt"/>
            </a:endParaRPr>
          </a:p>
        </p:txBody>
      </p:sp>
      <p:sp>
        <p:nvSpPr>
          <p:cNvPr id="25" name="任意多边形: 形状 24">
            <a:extLst>
              <a:ext uri="{FF2B5EF4-FFF2-40B4-BE49-F238E27FC236}">
                <a16:creationId xmlns:a16="http://schemas.microsoft.com/office/drawing/2014/main" id="{E33B7E42-0753-4981-A157-FCB18F70E148}"/>
              </a:ext>
            </a:extLst>
          </p:cNvPr>
          <p:cNvSpPr/>
          <p:nvPr/>
        </p:nvSpPr>
        <p:spPr>
          <a:xfrm>
            <a:off x="4542036" y="2043826"/>
            <a:ext cx="1153574" cy="2566698"/>
          </a:xfrm>
          <a:custGeom>
            <a:avLst/>
            <a:gdLst/>
            <a:ahLst/>
            <a:cxnLst/>
            <a:rect l="l" t="t" r="r" b="b"/>
            <a:pathLst>
              <a:path w="21600" h="21600" extrusionOk="0">
                <a:moveTo>
                  <a:pt x="2117" y="0"/>
                </a:moveTo>
                <a:cubicBezTo>
                  <a:pt x="1508" y="0"/>
                  <a:pt x="1199" y="0"/>
                  <a:pt x="874" y="47"/>
                </a:cubicBezTo>
                <a:cubicBezTo>
                  <a:pt x="516" y="105"/>
                  <a:pt x="234" y="232"/>
                  <a:pt x="104" y="393"/>
                </a:cubicBezTo>
                <a:cubicBezTo>
                  <a:pt x="0" y="540"/>
                  <a:pt x="0" y="679"/>
                  <a:pt x="0" y="951"/>
                </a:cubicBezTo>
                <a:lnTo>
                  <a:pt x="0" y="3080"/>
                </a:lnTo>
                <a:lnTo>
                  <a:pt x="21600" y="3080"/>
                </a:lnTo>
                <a:lnTo>
                  <a:pt x="21600" y="955"/>
                </a:lnTo>
                <a:cubicBezTo>
                  <a:pt x="21600" y="678"/>
                  <a:pt x="21600" y="540"/>
                  <a:pt x="21496" y="393"/>
                </a:cubicBezTo>
                <a:cubicBezTo>
                  <a:pt x="21366" y="232"/>
                  <a:pt x="21084" y="105"/>
                  <a:pt x="20726" y="47"/>
                </a:cubicBezTo>
                <a:cubicBezTo>
                  <a:pt x="20399" y="0"/>
                  <a:pt x="20093" y="0"/>
                  <a:pt x="19486" y="0"/>
                </a:cubicBezTo>
                <a:lnTo>
                  <a:pt x="2126" y="0"/>
                </a:lnTo>
                <a:lnTo>
                  <a:pt x="2117" y="0"/>
                </a:lnTo>
                <a:close/>
                <a:moveTo>
                  <a:pt x="0" y="4419"/>
                </a:moveTo>
                <a:lnTo>
                  <a:pt x="0" y="17820"/>
                </a:lnTo>
                <a:lnTo>
                  <a:pt x="21600" y="17820"/>
                </a:lnTo>
                <a:lnTo>
                  <a:pt x="21600" y="4419"/>
                </a:lnTo>
                <a:lnTo>
                  <a:pt x="0" y="4419"/>
                </a:lnTo>
                <a:close/>
                <a:moveTo>
                  <a:pt x="0" y="19159"/>
                </a:moveTo>
                <a:lnTo>
                  <a:pt x="0" y="20645"/>
                </a:lnTo>
                <a:cubicBezTo>
                  <a:pt x="0" y="20922"/>
                  <a:pt x="0" y="21060"/>
                  <a:pt x="104" y="21207"/>
                </a:cubicBezTo>
                <a:cubicBezTo>
                  <a:pt x="234" y="21368"/>
                  <a:pt x="516" y="21495"/>
                  <a:pt x="874" y="21553"/>
                </a:cubicBezTo>
                <a:cubicBezTo>
                  <a:pt x="1201" y="21600"/>
                  <a:pt x="1510" y="21600"/>
                  <a:pt x="2117" y="21600"/>
                </a:cubicBezTo>
                <a:lnTo>
                  <a:pt x="19474" y="21600"/>
                </a:lnTo>
                <a:cubicBezTo>
                  <a:pt x="20090" y="21600"/>
                  <a:pt x="20399" y="21600"/>
                  <a:pt x="20726" y="21553"/>
                </a:cubicBezTo>
                <a:cubicBezTo>
                  <a:pt x="21084" y="21495"/>
                  <a:pt x="21366" y="21368"/>
                  <a:pt x="21496" y="21207"/>
                </a:cubicBezTo>
                <a:cubicBezTo>
                  <a:pt x="21600" y="21060"/>
                  <a:pt x="21600" y="20921"/>
                  <a:pt x="21600" y="20649"/>
                </a:cubicBezTo>
                <a:lnTo>
                  <a:pt x="21600" y="19159"/>
                </a:lnTo>
                <a:lnTo>
                  <a:pt x="0" y="19159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91440" tIns="45720" rIns="91440" bIns="45720" anchor="ctr" anchorCtr="0">
            <a:norm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52D30"/>
              </a:buClr>
              <a:buSzPts val="800"/>
              <a:buFont typeface="Arial"/>
              <a:buNone/>
            </a:pPr>
            <a:endParaRPr sz="800" b="0" i="0" u="none" strike="noStrike" cap="none">
              <a:solidFill>
                <a:srgbClr val="252D30"/>
              </a:solidFill>
              <a:cs typeface="+mn-ea"/>
              <a:sym typeface="+mn-lt"/>
            </a:endParaRP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2F1A5F14-1B76-4C5E-9FB7-09161C5846BC}"/>
              </a:ext>
            </a:extLst>
          </p:cNvPr>
          <p:cNvSpPr txBox="1"/>
          <p:nvPr/>
        </p:nvSpPr>
        <p:spPr>
          <a:xfrm>
            <a:off x="4849169" y="2708055"/>
            <a:ext cx="541035" cy="1238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40" tIns="45720" rIns="91440" bIns="45720" anchor="t" anchorCtr="0">
            <a:norm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7500"/>
              <a:buFont typeface="Impact"/>
              <a:buNone/>
            </a:pPr>
            <a:r>
              <a:rPr lang="en-GB" sz="7500" b="0" i="0" u="none" strike="noStrike" cap="none" dirty="0">
                <a:solidFill>
                  <a:srgbClr val="FFFFFF"/>
                </a:solidFill>
                <a:cs typeface="+mn-ea"/>
                <a:sym typeface="+mn-lt"/>
              </a:rPr>
              <a:t>A</a:t>
            </a:r>
            <a:endParaRPr sz="500" b="0" i="0" u="none" strike="noStrike" cap="none" dirty="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27" name="椭圆 26">
            <a:extLst>
              <a:ext uri="{FF2B5EF4-FFF2-40B4-BE49-F238E27FC236}">
                <a16:creationId xmlns:a16="http://schemas.microsoft.com/office/drawing/2014/main" id="{F051F36B-7559-437A-ADFE-FF2548F98AB9}"/>
              </a:ext>
            </a:extLst>
          </p:cNvPr>
          <p:cNvSpPr/>
          <p:nvPr/>
        </p:nvSpPr>
        <p:spPr>
          <a:xfrm>
            <a:off x="4881562" y="4576077"/>
            <a:ext cx="476250" cy="476250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txBody>
          <a:bodyPr spcFirstLastPara="1" wrap="square" lIns="91440" tIns="45720" rIns="91440" bIns="45720" anchor="ctr" anchorCtr="0">
            <a:norm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52D30"/>
              </a:buClr>
              <a:buSzPts val="800"/>
              <a:buFont typeface="Arial"/>
              <a:buNone/>
            </a:pPr>
            <a:endParaRPr sz="800" b="0" i="0" u="none" strike="noStrike" cap="none">
              <a:solidFill>
                <a:srgbClr val="252D30"/>
              </a:solidFill>
              <a:cs typeface="+mn-ea"/>
              <a:sym typeface="+mn-lt"/>
            </a:endParaRPr>
          </a:p>
        </p:txBody>
      </p:sp>
      <p:sp>
        <p:nvSpPr>
          <p:cNvPr id="28" name="任意多边形: 形状 27">
            <a:extLst>
              <a:ext uri="{FF2B5EF4-FFF2-40B4-BE49-F238E27FC236}">
                <a16:creationId xmlns:a16="http://schemas.microsoft.com/office/drawing/2014/main" id="{F2C52214-83F2-45D4-93DA-1A6980E0C8BC}"/>
              </a:ext>
            </a:extLst>
          </p:cNvPr>
          <p:cNvSpPr/>
          <p:nvPr/>
        </p:nvSpPr>
        <p:spPr>
          <a:xfrm>
            <a:off x="5000228" y="4694733"/>
            <a:ext cx="239340" cy="238946"/>
          </a:xfrm>
          <a:custGeom>
            <a:avLst/>
            <a:gdLst/>
            <a:ahLst/>
            <a:cxnLst/>
            <a:rect l="l" t="t" r="r" b="b"/>
            <a:pathLst>
              <a:path w="21550" h="21550" extrusionOk="0">
                <a:moveTo>
                  <a:pt x="2438" y="0"/>
                </a:moveTo>
                <a:cubicBezTo>
                  <a:pt x="2323" y="0"/>
                  <a:pt x="2207" y="25"/>
                  <a:pt x="2101" y="75"/>
                </a:cubicBezTo>
                <a:cubicBezTo>
                  <a:pt x="1912" y="173"/>
                  <a:pt x="1777" y="308"/>
                  <a:pt x="1511" y="574"/>
                </a:cubicBezTo>
                <a:lnTo>
                  <a:pt x="576" y="1510"/>
                </a:lnTo>
                <a:cubicBezTo>
                  <a:pt x="307" y="1781"/>
                  <a:pt x="172" y="1915"/>
                  <a:pt x="75" y="2104"/>
                </a:cubicBezTo>
                <a:cubicBezTo>
                  <a:pt x="-25" y="2318"/>
                  <a:pt x="-25" y="2566"/>
                  <a:pt x="75" y="2780"/>
                </a:cubicBezTo>
                <a:cubicBezTo>
                  <a:pt x="172" y="2969"/>
                  <a:pt x="307" y="3104"/>
                  <a:pt x="573" y="3370"/>
                </a:cubicBezTo>
                <a:lnTo>
                  <a:pt x="7983" y="10793"/>
                </a:lnTo>
                <a:lnTo>
                  <a:pt x="614" y="18175"/>
                </a:lnTo>
                <a:cubicBezTo>
                  <a:pt x="344" y="18445"/>
                  <a:pt x="208" y="18579"/>
                  <a:pt x="110" y="18768"/>
                </a:cubicBezTo>
                <a:cubicBezTo>
                  <a:pt x="11" y="18982"/>
                  <a:pt x="11" y="19230"/>
                  <a:pt x="110" y="19444"/>
                </a:cubicBezTo>
                <a:cubicBezTo>
                  <a:pt x="208" y="19633"/>
                  <a:pt x="343" y="19768"/>
                  <a:pt x="608" y="20034"/>
                </a:cubicBezTo>
                <a:lnTo>
                  <a:pt x="1545" y="20971"/>
                </a:lnTo>
                <a:cubicBezTo>
                  <a:pt x="1815" y="21241"/>
                  <a:pt x="1949" y="21377"/>
                  <a:pt x="2138" y="21475"/>
                </a:cubicBezTo>
                <a:cubicBezTo>
                  <a:pt x="2352" y="21575"/>
                  <a:pt x="2599" y="21575"/>
                  <a:pt x="2813" y="21475"/>
                </a:cubicBezTo>
                <a:cubicBezTo>
                  <a:pt x="3001" y="21377"/>
                  <a:pt x="3136" y="21241"/>
                  <a:pt x="3402" y="20975"/>
                </a:cubicBezTo>
                <a:lnTo>
                  <a:pt x="10775" y="13589"/>
                </a:lnTo>
                <a:lnTo>
                  <a:pt x="18145" y="20971"/>
                </a:lnTo>
                <a:cubicBezTo>
                  <a:pt x="18414" y="21241"/>
                  <a:pt x="18549" y="21377"/>
                  <a:pt x="18737" y="21475"/>
                </a:cubicBezTo>
                <a:cubicBezTo>
                  <a:pt x="18951" y="21575"/>
                  <a:pt x="19198" y="21575"/>
                  <a:pt x="19412" y="21475"/>
                </a:cubicBezTo>
                <a:cubicBezTo>
                  <a:pt x="19601" y="21377"/>
                  <a:pt x="19736" y="21241"/>
                  <a:pt x="20001" y="20975"/>
                </a:cubicBezTo>
                <a:lnTo>
                  <a:pt x="20936" y="20038"/>
                </a:lnTo>
                <a:cubicBezTo>
                  <a:pt x="21206" y="19768"/>
                  <a:pt x="21340" y="19633"/>
                  <a:pt x="21438" y="19444"/>
                </a:cubicBezTo>
                <a:cubicBezTo>
                  <a:pt x="21538" y="19230"/>
                  <a:pt x="21538" y="18982"/>
                  <a:pt x="21438" y="18768"/>
                </a:cubicBezTo>
                <a:cubicBezTo>
                  <a:pt x="21340" y="18579"/>
                  <a:pt x="21205" y="18444"/>
                  <a:pt x="20940" y="18178"/>
                </a:cubicBezTo>
                <a:lnTo>
                  <a:pt x="13567" y="10793"/>
                </a:lnTo>
                <a:lnTo>
                  <a:pt x="20974" y="3373"/>
                </a:lnTo>
                <a:cubicBezTo>
                  <a:pt x="21243" y="3103"/>
                  <a:pt x="21378" y="2969"/>
                  <a:pt x="21475" y="2780"/>
                </a:cubicBezTo>
                <a:cubicBezTo>
                  <a:pt x="21575" y="2566"/>
                  <a:pt x="21575" y="2318"/>
                  <a:pt x="21475" y="2104"/>
                </a:cubicBezTo>
                <a:cubicBezTo>
                  <a:pt x="21377" y="1915"/>
                  <a:pt x="21243" y="1780"/>
                  <a:pt x="20977" y="1514"/>
                </a:cubicBezTo>
                <a:lnTo>
                  <a:pt x="20042" y="577"/>
                </a:lnTo>
                <a:cubicBezTo>
                  <a:pt x="19772" y="307"/>
                  <a:pt x="19636" y="173"/>
                  <a:pt x="19448" y="75"/>
                </a:cubicBezTo>
                <a:cubicBezTo>
                  <a:pt x="19234" y="-25"/>
                  <a:pt x="18989" y="-25"/>
                  <a:pt x="18775" y="75"/>
                </a:cubicBezTo>
                <a:cubicBezTo>
                  <a:pt x="18586" y="173"/>
                  <a:pt x="18451" y="308"/>
                  <a:pt x="18186" y="574"/>
                </a:cubicBezTo>
                <a:lnTo>
                  <a:pt x="10775" y="7997"/>
                </a:lnTo>
                <a:lnTo>
                  <a:pt x="3368" y="577"/>
                </a:lnTo>
                <a:cubicBezTo>
                  <a:pt x="3098" y="307"/>
                  <a:pt x="2964" y="173"/>
                  <a:pt x="2775" y="75"/>
                </a:cubicBezTo>
                <a:cubicBezTo>
                  <a:pt x="2668" y="25"/>
                  <a:pt x="2553" y="0"/>
                  <a:pt x="2438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91440" tIns="45720" rIns="91440" bIns="45720" anchor="ctr" anchorCtr="0">
            <a:norm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52D30"/>
              </a:buClr>
              <a:buSzPts val="800"/>
              <a:buFont typeface="Arial"/>
              <a:buNone/>
            </a:pPr>
            <a:endParaRPr sz="800" b="0" i="0" u="none" strike="noStrike" cap="none">
              <a:solidFill>
                <a:srgbClr val="252D30"/>
              </a:solidFill>
              <a:cs typeface="+mn-ea"/>
              <a:sym typeface="+mn-lt"/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3F9B22AF-7850-4DE4-8966-1463A8FCD3BE}"/>
              </a:ext>
            </a:extLst>
          </p:cNvPr>
          <p:cNvSpPr/>
          <p:nvPr/>
        </p:nvSpPr>
        <p:spPr bwMode="auto">
          <a:xfrm>
            <a:off x="673101" y="2586413"/>
            <a:ext cx="3149600" cy="7919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</a:t>
            </a:r>
            <a:r>
              <a:rPr lang="en-US" altLang="zh-CN" sz="1100">
                <a:cs typeface="+mn-ea"/>
                <a:sym typeface="+mn-lt"/>
              </a:rPr>
              <a:t>to retai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n </a:t>
            </a:r>
            <a:r>
              <a:rPr lang="en-US" altLang="zh-CN" sz="1100" dirty="0">
                <a:cs typeface="+mn-ea"/>
                <a:sym typeface="+mn-lt"/>
              </a:rPr>
              <a:t>text.</a:t>
            </a: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E8A6F94C-7525-43C5-B2D9-FD32630682F1}"/>
              </a:ext>
            </a:extLst>
          </p:cNvPr>
          <p:cNvSpPr txBox="1"/>
          <p:nvPr/>
        </p:nvSpPr>
        <p:spPr bwMode="auto">
          <a:xfrm>
            <a:off x="679863" y="1909187"/>
            <a:ext cx="3142838" cy="55610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>
                <a:solidFill>
                  <a:schemeClr val="bg1"/>
                </a:solidFill>
                <a:cs typeface="+mn-ea"/>
                <a:sym typeface="+mn-lt"/>
              </a:rPr>
              <a:t>Text h</a:t>
            </a:r>
            <a:r>
              <a:rPr lang="en-US" altLang="zh-CN" sz="100" b="1">
                <a:solidFill>
                  <a:schemeClr val="bg1"/>
                </a:solidFill>
                <a:cs typeface="+mn-ea"/>
                <a:sym typeface="+mn-lt"/>
              </a:rPr>
              <a:t> </a:t>
            </a:r>
            <a:r>
              <a:rPr lang="en-US" altLang="zh-CN" b="1">
                <a:solidFill>
                  <a:schemeClr val="bg1"/>
                </a:solidFill>
                <a:cs typeface="+mn-ea"/>
                <a:sym typeface="+mn-lt"/>
              </a:rPr>
              <a:t>ere</a:t>
            </a:r>
            <a:endParaRPr lang="en-US" altLang="zh-CN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1" name="任意多边形: 形状 10">
            <a:extLst>
              <a:ext uri="{FF2B5EF4-FFF2-40B4-BE49-F238E27FC236}">
                <a16:creationId xmlns:a16="http://schemas.microsoft.com/office/drawing/2014/main" id="{C7F94ACC-D4D3-490C-B943-E5AD5BF9C8AE}"/>
              </a:ext>
            </a:extLst>
          </p:cNvPr>
          <p:cNvSpPr/>
          <p:nvPr/>
        </p:nvSpPr>
        <p:spPr bwMode="auto">
          <a:xfrm>
            <a:off x="1994408" y="1334821"/>
            <a:ext cx="513749" cy="514228"/>
          </a:xfrm>
          <a:custGeom>
            <a:avLst/>
            <a:gdLst>
              <a:gd name="connsiteX0" fmla="*/ 451337 w 606157"/>
              <a:gd name="connsiteY0" fmla="*/ 147905 h 606722"/>
              <a:gd name="connsiteX1" fmla="*/ 569477 w 606157"/>
              <a:gd name="connsiteY1" fmla="*/ 147905 h 606722"/>
              <a:gd name="connsiteX2" fmla="*/ 606157 w 606157"/>
              <a:gd name="connsiteY2" fmla="*/ 186562 h 606722"/>
              <a:gd name="connsiteX3" fmla="*/ 606157 w 606157"/>
              <a:gd name="connsiteY3" fmla="*/ 363939 h 606722"/>
              <a:gd name="connsiteX4" fmla="*/ 584434 w 606157"/>
              <a:gd name="connsiteY4" fmla="*/ 385711 h 606722"/>
              <a:gd name="connsiteX5" fmla="*/ 557904 w 606157"/>
              <a:gd name="connsiteY5" fmla="*/ 385711 h 606722"/>
              <a:gd name="connsiteX6" fmla="*/ 549980 w 606157"/>
              <a:gd name="connsiteY6" fmla="*/ 548781 h 606722"/>
              <a:gd name="connsiteX7" fmla="*/ 489085 w 606157"/>
              <a:gd name="connsiteY7" fmla="*/ 606722 h 606722"/>
              <a:gd name="connsiteX8" fmla="*/ 426854 w 606157"/>
              <a:gd name="connsiteY8" fmla="*/ 547537 h 606722"/>
              <a:gd name="connsiteX9" fmla="*/ 420711 w 606157"/>
              <a:gd name="connsiteY9" fmla="*/ 420814 h 606722"/>
              <a:gd name="connsiteX10" fmla="*/ 461219 w 606157"/>
              <a:gd name="connsiteY10" fmla="*/ 363228 h 606722"/>
              <a:gd name="connsiteX11" fmla="*/ 461219 w 606157"/>
              <a:gd name="connsiteY11" fmla="*/ 185762 h 606722"/>
              <a:gd name="connsiteX12" fmla="*/ 451337 w 606157"/>
              <a:gd name="connsiteY12" fmla="*/ 147905 h 606722"/>
              <a:gd name="connsiteX13" fmla="*/ 38457 w 606157"/>
              <a:gd name="connsiteY13" fmla="*/ 147552 h 606722"/>
              <a:gd name="connsiteX14" fmla="*/ 155074 w 606157"/>
              <a:gd name="connsiteY14" fmla="*/ 147552 h 606722"/>
              <a:gd name="connsiteX15" fmla="*/ 145014 w 606157"/>
              <a:gd name="connsiteY15" fmla="*/ 185766 h 606722"/>
              <a:gd name="connsiteX16" fmla="*/ 145014 w 606157"/>
              <a:gd name="connsiteY16" fmla="*/ 363239 h 606722"/>
              <a:gd name="connsiteX17" fmla="*/ 187210 w 606157"/>
              <a:gd name="connsiteY17" fmla="*/ 421360 h 606722"/>
              <a:gd name="connsiteX18" fmla="*/ 181068 w 606157"/>
              <a:gd name="connsiteY18" fmla="*/ 548444 h 606722"/>
              <a:gd name="connsiteX19" fmla="*/ 120178 w 606157"/>
              <a:gd name="connsiteY19" fmla="*/ 606298 h 606722"/>
              <a:gd name="connsiteX20" fmla="*/ 57952 w 606157"/>
              <a:gd name="connsiteY20" fmla="*/ 547200 h 606722"/>
              <a:gd name="connsiteX21" fmla="*/ 50029 w 606157"/>
              <a:gd name="connsiteY21" fmla="*/ 385279 h 606722"/>
              <a:gd name="connsiteX22" fmla="*/ 21810 w 606157"/>
              <a:gd name="connsiteY22" fmla="*/ 385279 h 606722"/>
              <a:gd name="connsiteX23" fmla="*/ 0 w 606157"/>
              <a:gd name="connsiteY23" fmla="*/ 363595 h 606722"/>
              <a:gd name="connsiteX24" fmla="*/ 0 w 606157"/>
              <a:gd name="connsiteY24" fmla="*/ 186122 h 606722"/>
              <a:gd name="connsiteX25" fmla="*/ 38457 w 606157"/>
              <a:gd name="connsiteY25" fmla="*/ 147552 h 606722"/>
              <a:gd name="connsiteX26" fmla="*/ 222975 w 606157"/>
              <a:gd name="connsiteY26" fmla="*/ 147058 h 606722"/>
              <a:gd name="connsiteX27" fmla="*/ 282512 w 606157"/>
              <a:gd name="connsiteY27" fmla="*/ 147058 h 606722"/>
              <a:gd name="connsiteX28" fmla="*/ 270498 w 606157"/>
              <a:gd name="connsiteY28" fmla="*/ 159057 h 606722"/>
              <a:gd name="connsiteX29" fmla="*/ 270498 w 606157"/>
              <a:gd name="connsiteY29" fmla="*/ 169278 h 606722"/>
              <a:gd name="connsiteX30" fmla="*/ 283224 w 606157"/>
              <a:gd name="connsiteY30" fmla="*/ 181988 h 606722"/>
              <a:gd name="connsiteX31" fmla="*/ 273345 w 606157"/>
              <a:gd name="connsiteY31" fmla="*/ 292199 h 606722"/>
              <a:gd name="connsiteX32" fmla="*/ 276193 w 606157"/>
              <a:gd name="connsiteY32" fmla="*/ 302953 h 606722"/>
              <a:gd name="connsiteX33" fmla="*/ 297196 w 606157"/>
              <a:gd name="connsiteY33" fmla="*/ 332550 h 606722"/>
              <a:gd name="connsiteX34" fmla="*/ 303070 w 606157"/>
              <a:gd name="connsiteY34" fmla="*/ 335572 h 606722"/>
              <a:gd name="connsiteX35" fmla="*/ 309032 w 606157"/>
              <a:gd name="connsiteY35" fmla="*/ 332550 h 606722"/>
              <a:gd name="connsiteX36" fmla="*/ 329946 w 606157"/>
              <a:gd name="connsiteY36" fmla="*/ 302953 h 606722"/>
              <a:gd name="connsiteX37" fmla="*/ 332883 w 606157"/>
              <a:gd name="connsiteY37" fmla="*/ 292199 h 606722"/>
              <a:gd name="connsiteX38" fmla="*/ 323004 w 606157"/>
              <a:gd name="connsiteY38" fmla="*/ 181988 h 606722"/>
              <a:gd name="connsiteX39" fmla="*/ 335641 w 606157"/>
              <a:gd name="connsiteY39" fmla="*/ 169278 h 606722"/>
              <a:gd name="connsiteX40" fmla="*/ 335641 w 606157"/>
              <a:gd name="connsiteY40" fmla="*/ 159057 h 606722"/>
              <a:gd name="connsiteX41" fmla="*/ 323627 w 606157"/>
              <a:gd name="connsiteY41" fmla="*/ 147058 h 606722"/>
              <a:gd name="connsiteX42" fmla="*/ 385033 w 606157"/>
              <a:gd name="connsiteY42" fmla="*/ 147058 h 606722"/>
              <a:gd name="connsiteX43" fmla="*/ 385033 w 606157"/>
              <a:gd name="connsiteY43" fmla="*/ 147147 h 606722"/>
              <a:gd name="connsiteX44" fmla="*/ 421699 w 606157"/>
              <a:gd name="connsiteY44" fmla="*/ 185721 h 606722"/>
              <a:gd name="connsiteX45" fmla="*/ 421699 w 606157"/>
              <a:gd name="connsiteY45" fmla="*/ 363214 h 606722"/>
              <a:gd name="connsiteX46" fmla="*/ 399895 w 606157"/>
              <a:gd name="connsiteY46" fmla="*/ 384901 h 606722"/>
              <a:gd name="connsiteX47" fmla="*/ 373375 w 606157"/>
              <a:gd name="connsiteY47" fmla="*/ 384901 h 606722"/>
              <a:gd name="connsiteX48" fmla="*/ 371506 w 606157"/>
              <a:gd name="connsiteY48" fmla="*/ 424363 h 606722"/>
              <a:gd name="connsiteX49" fmla="*/ 365455 w 606157"/>
              <a:gd name="connsiteY49" fmla="*/ 548084 h 606722"/>
              <a:gd name="connsiteX50" fmla="*/ 304582 w 606157"/>
              <a:gd name="connsiteY50" fmla="*/ 605945 h 606722"/>
              <a:gd name="connsiteX51" fmla="*/ 242464 w 606157"/>
              <a:gd name="connsiteY51" fmla="*/ 546840 h 606722"/>
              <a:gd name="connsiteX52" fmla="*/ 236502 w 606157"/>
              <a:gd name="connsiteY52" fmla="*/ 424363 h 606722"/>
              <a:gd name="connsiteX53" fmla="*/ 234544 w 606157"/>
              <a:gd name="connsiteY53" fmla="*/ 384901 h 606722"/>
              <a:gd name="connsiteX54" fmla="*/ 206244 w 606157"/>
              <a:gd name="connsiteY54" fmla="*/ 384901 h 606722"/>
              <a:gd name="connsiteX55" fmla="*/ 184529 w 606157"/>
              <a:gd name="connsiteY55" fmla="*/ 363214 h 606722"/>
              <a:gd name="connsiteX56" fmla="*/ 184529 w 606157"/>
              <a:gd name="connsiteY56" fmla="*/ 185721 h 606722"/>
              <a:gd name="connsiteX57" fmla="*/ 222975 w 606157"/>
              <a:gd name="connsiteY57" fmla="*/ 147058 h 606722"/>
              <a:gd name="connsiteX58" fmla="*/ 488454 w 606157"/>
              <a:gd name="connsiteY58" fmla="*/ 706 h 606722"/>
              <a:gd name="connsiteX59" fmla="*/ 550481 w 606157"/>
              <a:gd name="connsiteY59" fmla="*/ 62663 h 606722"/>
              <a:gd name="connsiteX60" fmla="*/ 488454 w 606157"/>
              <a:gd name="connsiteY60" fmla="*/ 124620 h 606722"/>
              <a:gd name="connsiteX61" fmla="*/ 426427 w 606157"/>
              <a:gd name="connsiteY61" fmla="*/ 62663 h 606722"/>
              <a:gd name="connsiteX62" fmla="*/ 488454 w 606157"/>
              <a:gd name="connsiteY62" fmla="*/ 706 h 606722"/>
              <a:gd name="connsiteX63" fmla="*/ 119538 w 606157"/>
              <a:gd name="connsiteY63" fmla="*/ 353 h 606722"/>
              <a:gd name="connsiteX64" fmla="*/ 181565 w 606157"/>
              <a:gd name="connsiteY64" fmla="*/ 62310 h 606722"/>
              <a:gd name="connsiteX65" fmla="*/ 119538 w 606157"/>
              <a:gd name="connsiteY65" fmla="*/ 124267 h 606722"/>
              <a:gd name="connsiteX66" fmla="*/ 57511 w 606157"/>
              <a:gd name="connsiteY66" fmla="*/ 62310 h 606722"/>
              <a:gd name="connsiteX67" fmla="*/ 119538 w 606157"/>
              <a:gd name="connsiteY67" fmla="*/ 353 h 606722"/>
              <a:gd name="connsiteX68" fmla="*/ 303961 w 606157"/>
              <a:gd name="connsiteY68" fmla="*/ 0 h 606722"/>
              <a:gd name="connsiteX69" fmla="*/ 366024 w 606157"/>
              <a:gd name="connsiteY69" fmla="*/ 61957 h 606722"/>
              <a:gd name="connsiteX70" fmla="*/ 303961 w 606157"/>
              <a:gd name="connsiteY70" fmla="*/ 123914 h 606722"/>
              <a:gd name="connsiteX71" fmla="*/ 241898 w 606157"/>
              <a:gd name="connsiteY71" fmla="*/ 61957 h 606722"/>
              <a:gd name="connsiteX72" fmla="*/ 303961 w 606157"/>
              <a:gd name="connsiteY72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</a:cxnLst>
            <a:rect l="l" t="t" r="r" b="b"/>
            <a:pathLst>
              <a:path w="606157" h="606722">
                <a:moveTo>
                  <a:pt x="451337" y="147905"/>
                </a:moveTo>
                <a:lnTo>
                  <a:pt x="569477" y="147905"/>
                </a:lnTo>
                <a:cubicBezTo>
                  <a:pt x="589954" y="148971"/>
                  <a:pt x="606157" y="165856"/>
                  <a:pt x="606157" y="186562"/>
                </a:cubicBezTo>
                <a:lnTo>
                  <a:pt x="606157" y="363939"/>
                </a:lnTo>
                <a:cubicBezTo>
                  <a:pt x="606157" y="375936"/>
                  <a:pt x="596453" y="385711"/>
                  <a:pt x="584434" y="385711"/>
                </a:cubicBezTo>
                <a:lnTo>
                  <a:pt x="557904" y="385711"/>
                </a:lnTo>
                <a:lnTo>
                  <a:pt x="549980" y="548781"/>
                </a:lnTo>
                <a:cubicBezTo>
                  <a:pt x="548378" y="581217"/>
                  <a:pt x="521580" y="606722"/>
                  <a:pt x="489085" y="606722"/>
                </a:cubicBezTo>
                <a:cubicBezTo>
                  <a:pt x="455877" y="606722"/>
                  <a:pt x="428456" y="580684"/>
                  <a:pt x="426854" y="547537"/>
                </a:cubicBezTo>
                <a:lnTo>
                  <a:pt x="420711" y="420814"/>
                </a:lnTo>
                <a:cubicBezTo>
                  <a:pt x="444482" y="412194"/>
                  <a:pt x="461219" y="389355"/>
                  <a:pt x="461219" y="363228"/>
                </a:cubicBezTo>
                <a:lnTo>
                  <a:pt x="461219" y="185762"/>
                </a:lnTo>
                <a:cubicBezTo>
                  <a:pt x="461219" y="172077"/>
                  <a:pt x="457658" y="159102"/>
                  <a:pt x="451337" y="147905"/>
                </a:cubicBezTo>
                <a:close/>
                <a:moveTo>
                  <a:pt x="38457" y="147552"/>
                </a:moveTo>
                <a:lnTo>
                  <a:pt x="155074" y="147552"/>
                </a:lnTo>
                <a:cubicBezTo>
                  <a:pt x="148664" y="158839"/>
                  <a:pt x="145014" y="171902"/>
                  <a:pt x="145014" y="185766"/>
                </a:cubicBezTo>
                <a:lnTo>
                  <a:pt x="145014" y="363239"/>
                </a:lnTo>
                <a:cubicBezTo>
                  <a:pt x="145014" y="389811"/>
                  <a:pt x="162284" y="413184"/>
                  <a:pt x="187210" y="421360"/>
                </a:cubicBezTo>
                <a:lnTo>
                  <a:pt x="181068" y="548444"/>
                </a:lnTo>
                <a:cubicBezTo>
                  <a:pt x="179465" y="580881"/>
                  <a:pt x="152670" y="606298"/>
                  <a:pt x="120178" y="606298"/>
                </a:cubicBezTo>
                <a:cubicBezTo>
                  <a:pt x="86973" y="606298"/>
                  <a:pt x="59555" y="580348"/>
                  <a:pt x="57952" y="547200"/>
                </a:cubicBezTo>
                <a:lnTo>
                  <a:pt x="50029" y="385279"/>
                </a:lnTo>
                <a:lnTo>
                  <a:pt x="21810" y="385279"/>
                </a:lnTo>
                <a:cubicBezTo>
                  <a:pt x="9792" y="385279"/>
                  <a:pt x="0" y="375592"/>
                  <a:pt x="0" y="363595"/>
                </a:cubicBezTo>
                <a:lnTo>
                  <a:pt x="0" y="186122"/>
                </a:lnTo>
                <a:cubicBezTo>
                  <a:pt x="0" y="164882"/>
                  <a:pt x="17181" y="147641"/>
                  <a:pt x="38457" y="147552"/>
                </a:cubicBezTo>
                <a:close/>
                <a:moveTo>
                  <a:pt x="222975" y="147058"/>
                </a:moveTo>
                <a:lnTo>
                  <a:pt x="282512" y="147058"/>
                </a:lnTo>
                <a:lnTo>
                  <a:pt x="270498" y="159057"/>
                </a:lnTo>
                <a:cubicBezTo>
                  <a:pt x="267739" y="161901"/>
                  <a:pt x="267739" y="166523"/>
                  <a:pt x="270498" y="169278"/>
                </a:cubicBezTo>
                <a:lnTo>
                  <a:pt x="283224" y="181988"/>
                </a:lnTo>
                <a:lnTo>
                  <a:pt x="273345" y="292199"/>
                </a:lnTo>
                <a:cubicBezTo>
                  <a:pt x="272989" y="296021"/>
                  <a:pt x="274057" y="299754"/>
                  <a:pt x="276193" y="302953"/>
                </a:cubicBezTo>
                <a:lnTo>
                  <a:pt x="297196" y="332550"/>
                </a:lnTo>
                <a:cubicBezTo>
                  <a:pt x="298531" y="334417"/>
                  <a:pt x="300756" y="335572"/>
                  <a:pt x="303070" y="335572"/>
                </a:cubicBezTo>
                <a:cubicBezTo>
                  <a:pt x="305472" y="335572"/>
                  <a:pt x="307608" y="334417"/>
                  <a:pt x="309032" y="332550"/>
                </a:cubicBezTo>
                <a:lnTo>
                  <a:pt x="329946" y="302953"/>
                </a:lnTo>
                <a:cubicBezTo>
                  <a:pt x="332171" y="299754"/>
                  <a:pt x="333239" y="296021"/>
                  <a:pt x="332883" y="292199"/>
                </a:cubicBezTo>
                <a:lnTo>
                  <a:pt x="323004" y="181988"/>
                </a:lnTo>
                <a:lnTo>
                  <a:pt x="335641" y="169278"/>
                </a:lnTo>
                <a:cubicBezTo>
                  <a:pt x="338489" y="166523"/>
                  <a:pt x="338489" y="161901"/>
                  <a:pt x="335641" y="159057"/>
                </a:cubicBezTo>
                <a:lnTo>
                  <a:pt x="323627" y="147058"/>
                </a:lnTo>
                <a:lnTo>
                  <a:pt x="385033" y="147058"/>
                </a:lnTo>
                <a:lnTo>
                  <a:pt x="385033" y="147147"/>
                </a:lnTo>
                <a:cubicBezTo>
                  <a:pt x="405413" y="148214"/>
                  <a:pt x="421699" y="165101"/>
                  <a:pt x="421699" y="185721"/>
                </a:cubicBezTo>
                <a:lnTo>
                  <a:pt x="421699" y="363214"/>
                </a:lnTo>
                <a:cubicBezTo>
                  <a:pt x="421699" y="375213"/>
                  <a:pt x="411910" y="384901"/>
                  <a:pt x="399895" y="384901"/>
                </a:cubicBezTo>
                <a:lnTo>
                  <a:pt x="373375" y="384901"/>
                </a:lnTo>
                <a:lnTo>
                  <a:pt x="371506" y="424363"/>
                </a:lnTo>
                <a:lnTo>
                  <a:pt x="365455" y="548084"/>
                </a:lnTo>
                <a:cubicBezTo>
                  <a:pt x="363853" y="580525"/>
                  <a:pt x="337154" y="605945"/>
                  <a:pt x="304582" y="605945"/>
                </a:cubicBezTo>
                <a:cubicBezTo>
                  <a:pt x="271388" y="605945"/>
                  <a:pt x="244066" y="579903"/>
                  <a:pt x="242464" y="546840"/>
                </a:cubicBezTo>
                <a:lnTo>
                  <a:pt x="236502" y="424363"/>
                </a:lnTo>
                <a:lnTo>
                  <a:pt x="234544" y="384901"/>
                </a:lnTo>
                <a:lnTo>
                  <a:pt x="206244" y="384901"/>
                </a:lnTo>
                <a:cubicBezTo>
                  <a:pt x="194229" y="384901"/>
                  <a:pt x="184529" y="375213"/>
                  <a:pt x="184529" y="363214"/>
                </a:cubicBezTo>
                <a:lnTo>
                  <a:pt x="184529" y="185721"/>
                </a:lnTo>
                <a:cubicBezTo>
                  <a:pt x="184529" y="164479"/>
                  <a:pt x="201705" y="147236"/>
                  <a:pt x="222975" y="147058"/>
                </a:cubicBezTo>
                <a:close/>
                <a:moveTo>
                  <a:pt x="488454" y="706"/>
                </a:moveTo>
                <a:cubicBezTo>
                  <a:pt x="522711" y="706"/>
                  <a:pt x="550481" y="28445"/>
                  <a:pt x="550481" y="62663"/>
                </a:cubicBezTo>
                <a:cubicBezTo>
                  <a:pt x="550481" y="96881"/>
                  <a:pt x="522711" y="124620"/>
                  <a:pt x="488454" y="124620"/>
                </a:cubicBezTo>
                <a:cubicBezTo>
                  <a:pt x="454197" y="124620"/>
                  <a:pt x="426427" y="96881"/>
                  <a:pt x="426427" y="62663"/>
                </a:cubicBezTo>
                <a:cubicBezTo>
                  <a:pt x="426427" y="28445"/>
                  <a:pt x="454197" y="706"/>
                  <a:pt x="488454" y="706"/>
                </a:cubicBezTo>
                <a:close/>
                <a:moveTo>
                  <a:pt x="119538" y="353"/>
                </a:moveTo>
                <a:cubicBezTo>
                  <a:pt x="153795" y="353"/>
                  <a:pt x="181565" y="28092"/>
                  <a:pt x="181565" y="62310"/>
                </a:cubicBezTo>
                <a:cubicBezTo>
                  <a:pt x="181565" y="96528"/>
                  <a:pt x="153795" y="124267"/>
                  <a:pt x="119538" y="124267"/>
                </a:cubicBezTo>
                <a:cubicBezTo>
                  <a:pt x="85281" y="124267"/>
                  <a:pt x="57511" y="96528"/>
                  <a:pt x="57511" y="62310"/>
                </a:cubicBezTo>
                <a:cubicBezTo>
                  <a:pt x="57511" y="28092"/>
                  <a:pt x="85281" y="353"/>
                  <a:pt x="119538" y="353"/>
                </a:cubicBezTo>
                <a:close/>
                <a:moveTo>
                  <a:pt x="303961" y="0"/>
                </a:moveTo>
                <a:cubicBezTo>
                  <a:pt x="338237" y="0"/>
                  <a:pt x="366024" y="27739"/>
                  <a:pt x="366024" y="61957"/>
                </a:cubicBezTo>
                <a:cubicBezTo>
                  <a:pt x="366024" y="96175"/>
                  <a:pt x="338237" y="123914"/>
                  <a:pt x="303961" y="123914"/>
                </a:cubicBezTo>
                <a:cubicBezTo>
                  <a:pt x="269685" y="123914"/>
                  <a:pt x="241898" y="96175"/>
                  <a:pt x="241898" y="61957"/>
                </a:cubicBezTo>
                <a:cubicBezTo>
                  <a:pt x="241898" y="27739"/>
                  <a:pt x="269685" y="0"/>
                  <a:pt x="303961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F2B25C93-1780-4344-93B0-C1DC92243452}"/>
              </a:ext>
            </a:extLst>
          </p:cNvPr>
          <p:cNvSpPr/>
          <p:nvPr/>
        </p:nvSpPr>
        <p:spPr bwMode="auto">
          <a:xfrm>
            <a:off x="673101" y="3551425"/>
            <a:ext cx="3149600" cy="7919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</a:t>
            </a:r>
            <a:r>
              <a:rPr lang="en-US" altLang="zh-CN" sz="1100">
                <a:cs typeface="+mn-ea"/>
                <a:sym typeface="+mn-lt"/>
              </a:rPr>
              <a:t>to retai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n </a:t>
            </a:r>
            <a:r>
              <a:rPr lang="en-US" altLang="zh-CN" sz="1100" dirty="0">
                <a:cs typeface="+mn-ea"/>
                <a:sym typeface="+mn-lt"/>
              </a:rPr>
              <a:t>text.</a:t>
            </a: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7DD649F0-668C-4A47-ACD5-DF8618B76F18}"/>
              </a:ext>
            </a:extLst>
          </p:cNvPr>
          <p:cNvSpPr/>
          <p:nvPr/>
        </p:nvSpPr>
        <p:spPr bwMode="auto">
          <a:xfrm>
            <a:off x="673101" y="4516437"/>
            <a:ext cx="3149600" cy="7919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</a:t>
            </a:r>
            <a:r>
              <a:rPr lang="en-US" altLang="zh-CN" sz="1100">
                <a:cs typeface="+mn-ea"/>
                <a:sym typeface="+mn-lt"/>
              </a:rPr>
              <a:t>to retai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n </a:t>
            </a:r>
            <a:r>
              <a:rPr lang="en-US" altLang="zh-CN" sz="1100" dirty="0">
                <a:cs typeface="+mn-ea"/>
                <a:sym typeface="+mn-lt"/>
              </a:rPr>
              <a:t>text.</a:t>
            </a: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EDE9BA49-F6EB-4EB6-9E1C-E8484A5FC86D}"/>
              </a:ext>
            </a:extLst>
          </p:cNvPr>
          <p:cNvSpPr/>
          <p:nvPr/>
        </p:nvSpPr>
        <p:spPr bwMode="auto">
          <a:xfrm>
            <a:off x="8369299" y="2586413"/>
            <a:ext cx="3149600" cy="7919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</a:t>
            </a:r>
            <a:r>
              <a:rPr lang="en-US" altLang="zh-CN" sz="1100">
                <a:cs typeface="+mn-ea"/>
                <a:sym typeface="+mn-lt"/>
              </a:rPr>
              <a:t>to retai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n </a:t>
            </a:r>
            <a:r>
              <a:rPr lang="en-US" altLang="zh-CN" sz="1100" dirty="0">
                <a:cs typeface="+mn-ea"/>
                <a:sym typeface="+mn-lt"/>
              </a:rPr>
              <a:t>text.</a:t>
            </a: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AF4941B4-31B1-40B8-9B53-80BD6E1A9053}"/>
              </a:ext>
            </a:extLst>
          </p:cNvPr>
          <p:cNvSpPr txBox="1"/>
          <p:nvPr/>
        </p:nvSpPr>
        <p:spPr bwMode="auto">
          <a:xfrm>
            <a:off x="8376061" y="1909187"/>
            <a:ext cx="3142838" cy="5561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>
                <a:solidFill>
                  <a:schemeClr val="bg1"/>
                </a:solidFill>
                <a:cs typeface="+mn-ea"/>
                <a:sym typeface="+mn-lt"/>
              </a:rPr>
              <a:t>Text h</a:t>
            </a:r>
            <a:r>
              <a:rPr lang="en-US" altLang="zh-CN" sz="100" b="1">
                <a:solidFill>
                  <a:schemeClr val="bg1"/>
                </a:solidFill>
                <a:cs typeface="+mn-ea"/>
                <a:sym typeface="+mn-lt"/>
              </a:rPr>
              <a:t> </a:t>
            </a:r>
            <a:r>
              <a:rPr lang="en-US" altLang="zh-CN" b="1">
                <a:solidFill>
                  <a:schemeClr val="bg1"/>
                </a:solidFill>
                <a:cs typeface="+mn-ea"/>
                <a:sym typeface="+mn-lt"/>
              </a:rPr>
              <a:t>ere</a:t>
            </a:r>
            <a:endParaRPr lang="en-US" altLang="zh-CN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6" name="任意多边形: 形状 15">
            <a:extLst>
              <a:ext uri="{FF2B5EF4-FFF2-40B4-BE49-F238E27FC236}">
                <a16:creationId xmlns:a16="http://schemas.microsoft.com/office/drawing/2014/main" id="{3EFF67B0-5E41-4165-8641-4B836C9861F7}"/>
              </a:ext>
            </a:extLst>
          </p:cNvPr>
          <p:cNvSpPr/>
          <p:nvPr/>
        </p:nvSpPr>
        <p:spPr bwMode="auto">
          <a:xfrm>
            <a:off x="9690606" y="1334821"/>
            <a:ext cx="513749" cy="514228"/>
          </a:xfrm>
          <a:custGeom>
            <a:avLst/>
            <a:gdLst>
              <a:gd name="connsiteX0" fmla="*/ 451337 w 606157"/>
              <a:gd name="connsiteY0" fmla="*/ 147905 h 606722"/>
              <a:gd name="connsiteX1" fmla="*/ 569477 w 606157"/>
              <a:gd name="connsiteY1" fmla="*/ 147905 h 606722"/>
              <a:gd name="connsiteX2" fmla="*/ 606157 w 606157"/>
              <a:gd name="connsiteY2" fmla="*/ 186562 h 606722"/>
              <a:gd name="connsiteX3" fmla="*/ 606157 w 606157"/>
              <a:gd name="connsiteY3" fmla="*/ 363939 h 606722"/>
              <a:gd name="connsiteX4" fmla="*/ 584434 w 606157"/>
              <a:gd name="connsiteY4" fmla="*/ 385711 h 606722"/>
              <a:gd name="connsiteX5" fmla="*/ 557904 w 606157"/>
              <a:gd name="connsiteY5" fmla="*/ 385711 h 606722"/>
              <a:gd name="connsiteX6" fmla="*/ 549980 w 606157"/>
              <a:gd name="connsiteY6" fmla="*/ 548781 h 606722"/>
              <a:gd name="connsiteX7" fmla="*/ 489085 w 606157"/>
              <a:gd name="connsiteY7" fmla="*/ 606722 h 606722"/>
              <a:gd name="connsiteX8" fmla="*/ 426854 w 606157"/>
              <a:gd name="connsiteY8" fmla="*/ 547537 h 606722"/>
              <a:gd name="connsiteX9" fmla="*/ 420711 w 606157"/>
              <a:gd name="connsiteY9" fmla="*/ 420814 h 606722"/>
              <a:gd name="connsiteX10" fmla="*/ 461219 w 606157"/>
              <a:gd name="connsiteY10" fmla="*/ 363228 h 606722"/>
              <a:gd name="connsiteX11" fmla="*/ 461219 w 606157"/>
              <a:gd name="connsiteY11" fmla="*/ 185762 h 606722"/>
              <a:gd name="connsiteX12" fmla="*/ 451337 w 606157"/>
              <a:gd name="connsiteY12" fmla="*/ 147905 h 606722"/>
              <a:gd name="connsiteX13" fmla="*/ 38457 w 606157"/>
              <a:gd name="connsiteY13" fmla="*/ 147552 h 606722"/>
              <a:gd name="connsiteX14" fmla="*/ 155074 w 606157"/>
              <a:gd name="connsiteY14" fmla="*/ 147552 h 606722"/>
              <a:gd name="connsiteX15" fmla="*/ 145014 w 606157"/>
              <a:gd name="connsiteY15" fmla="*/ 185766 h 606722"/>
              <a:gd name="connsiteX16" fmla="*/ 145014 w 606157"/>
              <a:gd name="connsiteY16" fmla="*/ 363239 h 606722"/>
              <a:gd name="connsiteX17" fmla="*/ 187210 w 606157"/>
              <a:gd name="connsiteY17" fmla="*/ 421360 h 606722"/>
              <a:gd name="connsiteX18" fmla="*/ 181068 w 606157"/>
              <a:gd name="connsiteY18" fmla="*/ 548444 h 606722"/>
              <a:gd name="connsiteX19" fmla="*/ 120178 w 606157"/>
              <a:gd name="connsiteY19" fmla="*/ 606298 h 606722"/>
              <a:gd name="connsiteX20" fmla="*/ 57952 w 606157"/>
              <a:gd name="connsiteY20" fmla="*/ 547200 h 606722"/>
              <a:gd name="connsiteX21" fmla="*/ 50029 w 606157"/>
              <a:gd name="connsiteY21" fmla="*/ 385279 h 606722"/>
              <a:gd name="connsiteX22" fmla="*/ 21810 w 606157"/>
              <a:gd name="connsiteY22" fmla="*/ 385279 h 606722"/>
              <a:gd name="connsiteX23" fmla="*/ 0 w 606157"/>
              <a:gd name="connsiteY23" fmla="*/ 363595 h 606722"/>
              <a:gd name="connsiteX24" fmla="*/ 0 w 606157"/>
              <a:gd name="connsiteY24" fmla="*/ 186122 h 606722"/>
              <a:gd name="connsiteX25" fmla="*/ 38457 w 606157"/>
              <a:gd name="connsiteY25" fmla="*/ 147552 h 606722"/>
              <a:gd name="connsiteX26" fmla="*/ 222975 w 606157"/>
              <a:gd name="connsiteY26" fmla="*/ 147058 h 606722"/>
              <a:gd name="connsiteX27" fmla="*/ 282512 w 606157"/>
              <a:gd name="connsiteY27" fmla="*/ 147058 h 606722"/>
              <a:gd name="connsiteX28" fmla="*/ 270498 w 606157"/>
              <a:gd name="connsiteY28" fmla="*/ 159057 h 606722"/>
              <a:gd name="connsiteX29" fmla="*/ 270498 w 606157"/>
              <a:gd name="connsiteY29" fmla="*/ 169278 h 606722"/>
              <a:gd name="connsiteX30" fmla="*/ 283224 w 606157"/>
              <a:gd name="connsiteY30" fmla="*/ 181988 h 606722"/>
              <a:gd name="connsiteX31" fmla="*/ 273345 w 606157"/>
              <a:gd name="connsiteY31" fmla="*/ 292199 h 606722"/>
              <a:gd name="connsiteX32" fmla="*/ 276193 w 606157"/>
              <a:gd name="connsiteY32" fmla="*/ 302953 h 606722"/>
              <a:gd name="connsiteX33" fmla="*/ 297196 w 606157"/>
              <a:gd name="connsiteY33" fmla="*/ 332550 h 606722"/>
              <a:gd name="connsiteX34" fmla="*/ 303070 w 606157"/>
              <a:gd name="connsiteY34" fmla="*/ 335572 h 606722"/>
              <a:gd name="connsiteX35" fmla="*/ 309032 w 606157"/>
              <a:gd name="connsiteY35" fmla="*/ 332550 h 606722"/>
              <a:gd name="connsiteX36" fmla="*/ 329946 w 606157"/>
              <a:gd name="connsiteY36" fmla="*/ 302953 h 606722"/>
              <a:gd name="connsiteX37" fmla="*/ 332883 w 606157"/>
              <a:gd name="connsiteY37" fmla="*/ 292199 h 606722"/>
              <a:gd name="connsiteX38" fmla="*/ 323004 w 606157"/>
              <a:gd name="connsiteY38" fmla="*/ 181988 h 606722"/>
              <a:gd name="connsiteX39" fmla="*/ 335641 w 606157"/>
              <a:gd name="connsiteY39" fmla="*/ 169278 h 606722"/>
              <a:gd name="connsiteX40" fmla="*/ 335641 w 606157"/>
              <a:gd name="connsiteY40" fmla="*/ 159057 h 606722"/>
              <a:gd name="connsiteX41" fmla="*/ 323627 w 606157"/>
              <a:gd name="connsiteY41" fmla="*/ 147058 h 606722"/>
              <a:gd name="connsiteX42" fmla="*/ 385033 w 606157"/>
              <a:gd name="connsiteY42" fmla="*/ 147058 h 606722"/>
              <a:gd name="connsiteX43" fmla="*/ 385033 w 606157"/>
              <a:gd name="connsiteY43" fmla="*/ 147147 h 606722"/>
              <a:gd name="connsiteX44" fmla="*/ 421699 w 606157"/>
              <a:gd name="connsiteY44" fmla="*/ 185721 h 606722"/>
              <a:gd name="connsiteX45" fmla="*/ 421699 w 606157"/>
              <a:gd name="connsiteY45" fmla="*/ 363214 h 606722"/>
              <a:gd name="connsiteX46" fmla="*/ 399895 w 606157"/>
              <a:gd name="connsiteY46" fmla="*/ 384901 h 606722"/>
              <a:gd name="connsiteX47" fmla="*/ 373375 w 606157"/>
              <a:gd name="connsiteY47" fmla="*/ 384901 h 606722"/>
              <a:gd name="connsiteX48" fmla="*/ 371506 w 606157"/>
              <a:gd name="connsiteY48" fmla="*/ 424363 h 606722"/>
              <a:gd name="connsiteX49" fmla="*/ 365455 w 606157"/>
              <a:gd name="connsiteY49" fmla="*/ 548084 h 606722"/>
              <a:gd name="connsiteX50" fmla="*/ 304582 w 606157"/>
              <a:gd name="connsiteY50" fmla="*/ 605945 h 606722"/>
              <a:gd name="connsiteX51" fmla="*/ 242464 w 606157"/>
              <a:gd name="connsiteY51" fmla="*/ 546840 h 606722"/>
              <a:gd name="connsiteX52" fmla="*/ 236502 w 606157"/>
              <a:gd name="connsiteY52" fmla="*/ 424363 h 606722"/>
              <a:gd name="connsiteX53" fmla="*/ 234544 w 606157"/>
              <a:gd name="connsiteY53" fmla="*/ 384901 h 606722"/>
              <a:gd name="connsiteX54" fmla="*/ 206244 w 606157"/>
              <a:gd name="connsiteY54" fmla="*/ 384901 h 606722"/>
              <a:gd name="connsiteX55" fmla="*/ 184529 w 606157"/>
              <a:gd name="connsiteY55" fmla="*/ 363214 h 606722"/>
              <a:gd name="connsiteX56" fmla="*/ 184529 w 606157"/>
              <a:gd name="connsiteY56" fmla="*/ 185721 h 606722"/>
              <a:gd name="connsiteX57" fmla="*/ 222975 w 606157"/>
              <a:gd name="connsiteY57" fmla="*/ 147058 h 606722"/>
              <a:gd name="connsiteX58" fmla="*/ 488454 w 606157"/>
              <a:gd name="connsiteY58" fmla="*/ 706 h 606722"/>
              <a:gd name="connsiteX59" fmla="*/ 550481 w 606157"/>
              <a:gd name="connsiteY59" fmla="*/ 62663 h 606722"/>
              <a:gd name="connsiteX60" fmla="*/ 488454 w 606157"/>
              <a:gd name="connsiteY60" fmla="*/ 124620 h 606722"/>
              <a:gd name="connsiteX61" fmla="*/ 426427 w 606157"/>
              <a:gd name="connsiteY61" fmla="*/ 62663 h 606722"/>
              <a:gd name="connsiteX62" fmla="*/ 488454 w 606157"/>
              <a:gd name="connsiteY62" fmla="*/ 706 h 606722"/>
              <a:gd name="connsiteX63" fmla="*/ 119538 w 606157"/>
              <a:gd name="connsiteY63" fmla="*/ 353 h 606722"/>
              <a:gd name="connsiteX64" fmla="*/ 181565 w 606157"/>
              <a:gd name="connsiteY64" fmla="*/ 62310 h 606722"/>
              <a:gd name="connsiteX65" fmla="*/ 119538 w 606157"/>
              <a:gd name="connsiteY65" fmla="*/ 124267 h 606722"/>
              <a:gd name="connsiteX66" fmla="*/ 57511 w 606157"/>
              <a:gd name="connsiteY66" fmla="*/ 62310 h 606722"/>
              <a:gd name="connsiteX67" fmla="*/ 119538 w 606157"/>
              <a:gd name="connsiteY67" fmla="*/ 353 h 606722"/>
              <a:gd name="connsiteX68" fmla="*/ 303961 w 606157"/>
              <a:gd name="connsiteY68" fmla="*/ 0 h 606722"/>
              <a:gd name="connsiteX69" fmla="*/ 366024 w 606157"/>
              <a:gd name="connsiteY69" fmla="*/ 61957 h 606722"/>
              <a:gd name="connsiteX70" fmla="*/ 303961 w 606157"/>
              <a:gd name="connsiteY70" fmla="*/ 123914 h 606722"/>
              <a:gd name="connsiteX71" fmla="*/ 241898 w 606157"/>
              <a:gd name="connsiteY71" fmla="*/ 61957 h 606722"/>
              <a:gd name="connsiteX72" fmla="*/ 303961 w 606157"/>
              <a:gd name="connsiteY72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</a:cxnLst>
            <a:rect l="l" t="t" r="r" b="b"/>
            <a:pathLst>
              <a:path w="606157" h="606722">
                <a:moveTo>
                  <a:pt x="451337" y="147905"/>
                </a:moveTo>
                <a:lnTo>
                  <a:pt x="569477" y="147905"/>
                </a:lnTo>
                <a:cubicBezTo>
                  <a:pt x="589954" y="148971"/>
                  <a:pt x="606157" y="165856"/>
                  <a:pt x="606157" y="186562"/>
                </a:cubicBezTo>
                <a:lnTo>
                  <a:pt x="606157" y="363939"/>
                </a:lnTo>
                <a:cubicBezTo>
                  <a:pt x="606157" y="375936"/>
                  <a:pt x="596453" y="385711"/>
                  <a:pt x="584434" y="385711"/>
                </a:cubicBezTo>
                <a:lnTo>
                  <a:pt x="557904" y="385711"/>
                </a:lnTo>
                <a:lnTo>
                  <a:pt x="549980" y="548781"/>
                </a:lnTo>
                <a:cubicBezTo>
                  <a:pt x="548378" y="581217"/>
                  <a:pt x="521580" y="606722"/>
                  <a:pt x="489085" y="606722"/>
                </a:cubicBezTo>
                <a:cubicBezTo>
                  <a:pt x="455877" y="606722"/>
                  <a:pt x="428456" y="580684"/>
                  <a:pt x="426854" y="547537"/>
                </a:cubicBezTo>
                <a:lnTo>
                  <a:pt x="420711" y="420814"/>
                </a:lnTo>
                <a:cubicBezTo>
                  <a:pt x="444482" y="412194"/>
                  <a:pt x="461219" y="389355"/>
                  <a:pt x="461219" y="363228"/>
                </a:cubicBezTo>
                <a:lnTo>
                  <a:pt x="461219" y="185762"/>
                </a:lnTo>
                <a:cubicBezTo>
                  <a:pt x="461219" y="172077"/>
                  <a:pt x="457658" y="159102"/>
                  <a:pt x="451337" y="147905"/>
                </a:cubicBezTo>
                <a:close/>
                <a:moveTo>
                  <a:pt x="38457" y="147552"/>
                </a:moveTo>
                <a:lnTo>
                  <a:pt x="155074" y="147552"/>
                </a:lnTo>
                <a:cubicBezTo>
                  <a:pt x="148664" y="158839"/>
                  <a:pt x="145014" y="171902"/>
                  <a:pt x="145014" y="185766"/>
                </a:cubicBezTo>
                <a:lnTo>
                  <a:pt x="145014" y="363239"/>
                </a:lnTo>
                <a:cubicBezTo>
                  <a:pt x="145014" y="389811"/>
                  <a:pt x="162284" y="413184"/>
                  <a:pt x="187210" y="421360"/>
                </a:cubicBezTo>
                <a:lnTo>
                  <a:pt x="181068" y="548444"/>
                </a:lnTo>
                <a:cubicBezTo>
                  <a:pt x="179465" y="580881"/>
                  <a:pt x="152670" y="606298"/>
                  <a:pt x="120178" y="606298"/>
                </a:cubicBezTo>
                <a:cubicBezTo>
                  <a:pt x="86973" y="606298"/>
                  <a:pt x="59555" y="580348"/>
                  <a:pt x="57952" y="547200"/>
                </a:cubicBezTo>
                <a:lnTo>
                  <a:pt x="50029" y="385279"/>
                </a:lnTo>
                <a:lnTo>
                  <a:pt x="21810" y="385279"/>
                </a:lnTo>
                <a:cubicBezTo>
                  <a:pt x="9792" y="385279"/>
                  <a:pt x="0" y="375592"/>
                  <a:pt x="0" y="363595"/>
                </a:cubicBezTo>
                <a:lnTo>
                  <a:pt x="0" y="186122"/>
                </a:lnTo>
                <a:cubicBezTo>
                  <a:pt x="0" y="164882"/>
                  <a:pt x="17181" y="147641"/>
                  <a:pt x="38457" y="147552"/>
                </a:cubicBezTo>
                <a:close/>
                <a:moveTo>
                  <a:pt x="222975" y="147058"/>
                </a:moveTo>
                <a:lnTo>
                  <a:pt x="282512" y="147058"/>
                </a:lnTo>
                <a:lnTo>
                  <a:pt x="270498" y="159057"/>
                </a:lnTo>
                <a:cubicBezTo>
                  <a:pt x="267739" y="161901"/>
                  <a:pt x="267739" y="166523"/>
                  <a:pt x="270498" y="169278"/>
                </a:cubicBezTo>
                <a:lnTo>
                  <a:pt x="283224" y="181988"/>
                </a:lnTo>
                <a:lnTo>
                  <a:pt x="273345" y="292199"/>
                </a:lnTo>
                <a:cubicBezTo>
                  <a:pt x="272989" y="296021"/>
                  <a:pt x="274057" y="299754"/>
                  <a:pt x="276193" y="302953"/>
                </a:cubicBezTo>
                <a:lnTo>
                  <a:pt x="297196" y="332550"/>
                </a:lnTo>
                <a:cubicBezTo>
                  <a:pt x="298531" y="334417"/>
                  <a:pt x="300756" y="335572"/>
                  <a:pt x="303070" y="335572"/>
                </a:cubicBezTo>
                <a:cubicBezTo>
                  <a:pt x="305472" y="335572"/>
                  <a:pt x="307608" y="334417"/>
                  <a:pt x="309032" y="332550"/>
                </a:cubicBezTo>
                <a:lnTo>
                  <a:pt x="329946" y="302953"/>
                </a:lnTo>
                <a:cubicBezTo>
                  <a:pt x="332171" y="299754"/>
                  <a:pt x="333239" y="296021"/>
                  <a:pt x="332883" y="292199"/>
                </a:cubicBezTo>
                <a:lnTo>
                  <a:pt x="323004" y="181988"/>
                </a:lnTo>
                <a:lnTo>
                  <a:pt x="335641" y="169278"/>
                </a:lnTo>
                <a:cubicBezTo>
                  <a:pt x="338489" y="166523"/>
                  <a:pt x="338489" y="161901"/>
                  <a:pt x="335641" y="159057"/>
                </a:cubicBezTo>
                <a:lnTo>
                  <a:pt x="323627" y="147058"/>
                </a:lnTo>
                <a:lnTo>
                  <a:pt x="385033" y="147058"/>
                </a:lnTo>
                <a:lnTo>
                  <a:pt x="385033" y="147147"/>
                </a:lnTo>
                <a:cubicBezTo>
                  <a:pt x="405413" y="148214"/>
                  <a:pt x="421699" y="165101"/>
                  <a:pt x="421699" y="185721"/>
                </a:cubicBezTo>
                <a:lnTo>
                  <a:pt x="421699" y="363214"/>
                </a:lnTo>
                <a:cubicBezTo>
                  <a:pt x="421699" y="375213"/>
                  <a:pt x="411910" y="384901"/>
                  <a:pt x="399895" y="384901"/>
                </a:cubicBezTo>
                <a:lnTo>
                  <a:pt x="373375" y="384901"/>
                </a:lnTo>
                <a:lnTo>
                  <a:pt x="371506" y="424363"/>
                </a:lnTo>
                <a:lnTo>
                  <a:pt x="365455" y="548084"/>
                </a:lnTo>
                <a:cubicBezTo>
                  <a:pt x="363853" y="580525"/>
                  <a:pt x="337154" y="605945"/>
                  <a:pt x="304582" y="605945"/>
                </a:cubicBezTo>
                <a:cubicBezTo>
                  <a:pt x="271388" y="605945"/>
                  <a:pt x="244066" y="579903"/>
                  <a:pt x="242464" y="546840"/>
                </a:cubicBezTo>
                <a:lnTo>
                  <a:pt x="236502" y="424363"/>
                </a:lnTo>
                <a:lnTo>
                  <a:pt x="234544" y="384901"/>
                </a:lnTo>
                <a:lnTo>
                  <a:pt x="206244" y="384901"/>
                </a:lnTo>
                <a:cubicBezTo>
                  <a:pt x="194229" y="384901"/>
                  <a:pt x="184529" y="375213"/>
                  <a:pt x="184529" y="363214"/>
                </a:cubicBezTo>
                <a:lnTo>
                  <a:pt x="184529" y="185721"/>
                </a:lnTo>
                <a:cubicBezTo>
                  <a:pt x="184529" y="164479"/>
                  <a:pt x="201705" y="147236"/>
                  <a:pt x="222975" y="147058"/>
                </a:cubicBezTo>
                <a:close/>
                <a:moveTo>
                  <a:pt x="488454" y="706"/>
                </a:moveTo>
                <a:cubicBezTo>
                  <a:pt x="522711" y="706"/>
                  <a:pt x="550481" y="28445"/>
                  <a:pt x="550481" y="62663"/>
                </a:cubicBezTo>
                <a:cubicBezTo>
                  <a:pt x="550481" y="96881"/>
                  <a:pt x="522711" y="124620"/>
                  <a:pt x="488454" y="124620"/>
                </a:cubicBezTo>
                <a:cubicBezTo>
                  <a:pt x="454197" y="124620"/>
                  <a:pt x="426427" y="96881"/>
                  <a:pt x="426427" y="62663"/>
                </a:cubicBezTo>
                <a:cubicBezTo>
                  <a:pt x="426427" y="28445"/>
                  <a:pt x="454197" y="706"/>
                  <a:pt x="488454" y="706"/>
                </a:cubicBezTo>
                <a:close/>
                <a:moveTo>
                  <a:pt x="119538" y="353"/>
                </a:moveTo>
                <a:cubicBezTo>
                  <a:pt x="153795" y="353"/>
                  <a:pt x="181565" y="28092"/>
                  <a:pt x="181565" y="62310"/>
                </a:cubicBezTo>
                <a:cubicBezTo>
                  <a:pt x="181565" y="96528"/>
                  <a:pt x="153795" y="124267"/>
                  <a:pt x="119538" y="124267"/>
                </a:cubicBezTo>
                <a:cubicBezTo>
                  <a:pt x="85281" y="124267"/>
                  <a:pt x="57511" y="96528"/>
                  <a:pt x="57511" y="62310"/>
                </a:cubicBezTo>
                <a:cubicBezTo>
                  <a:pt x="57511" y="28092"/>
                  <a:pt x="85281" y="353"/>
                  <a:pt x="119538" y="353"/>
                </a:cubicBezTo>
                <a:close/>
                <a:moveTo>
                  <a:pt x="303961" y="0"/>
                </a:moveTo>
                <a:cubicBezTo>
                  <a:pt x="338237" y="0"/>
                  <a:pt x="366024" y="27739"/>
                  <a:pt x="366024" y="61957"/>
                </a:cubicBezTo>
                <a:cubicBezTo>
                  <a:pt x="366024" y="96175"/>
                  <a:pt x="338237" y="123914"/>
                  <a:pt x="303961" y="123914"/>
                </a:cubicBezTo>
                <a:cubicBezTo>
                  <a:pt x="269685" y="123914"/>
                  <a:pt x="241898" y="96175"/>
                  <a:pt x="241898" y="61957"/>
                </a:cubicBezTo>
                <a:cubicBezTo>
                  <a:pt x="241898" y="27739"/>
                  <a:pt x="269685" y="0"/>
                  <a:pt x="30396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2AC7C4B6-064D-47C4-B857-31A17F49B3C1}"/>
              </a:ext>
            </a:extLst>
          </p:cNvPr>
          <p:cNvSpPr/>
          <p:nvPr/>
        </p:nvSpPr>
        <p:spPr bwMode="auto">
          <a:xfrm>
            <a:off x="8369299" y="3551425"/>
            <a:ext cx="3149600" cy="7919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</a:t>
            </a:r>
            <a:r>
              <a:rPr lang="en-US" altLang="zh-CN" sz="1100">
                <a:cs typeface="+mn-ea"/>
                <a:sym typeface="+mn-lt"/>
              </a:rPr>
              <a:t>to retai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n </a:t>
            </a:r>
            <a:r>
              <a:rPr lang="en-US" altLang="zh-CN" sz="1100" dirty="0">
                <a:cs typeface="+mn-ea"/>
                <a:sym typeface="+mn-lt"/>
              </a:rPr>
              <a:t>text.</a:t>
            </a: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2E7D459D-D550-42D4-9964-874373E19B08}"/>
              </a:ext>
            </a:extLst>
          </p:cNvPr>
          <p:cNvSpPr/>
          <p:nvPr/>
        </p:nvSpPr>
        <p:spPr bwMode="auto">
          <a:xfrm>
            <a:off x="8369299" y="4516437"/>
            <a:ext cx="3149600" cy="7919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</a:t>
            </a:r>
            <a:r>
              <a:rPr lang="en-US" altLang="zh-CN" sz="1100">
                <a:cs typeface="+mn-ea"/>
                <a:sym typeface="+mn-lt"/>
              </a:rPr>
              <a:t>to retai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n </a:t>
            </a:r>
            <a:r>
              <a:rPr lang="en-US" altLang="zh-CN" sz="1100" dirty="0">
                <a:cs typeface="+mn-ea"/>
                <a:sym typeface="+mn-lt"/>
              </a:rPr>
              <a:t>text.</a:t>
            </a: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</p:txBody>
      </p:sp>
    </p:spTree>
    <p:extLst>
      <p:ext uri="{BB962C8B-B14F-4D97-AF65-F5344CB8AC3E}">
        <p14:creationId xmlns:p14="http://schemas.microsoft.com/office/powerpoint/2010/main" val="18428700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512149" y="2951599"/>
            <a:ext cx="5572087" cy="895350"/>
          </a:xfrm>
        </p:spPr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保持良好卫生和健康习惯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5512149" y="3846949"/>
            <a:ext cx="5572087" cy="1015623"/>
          </a:xfrm>
        </p:spPr>
        <p:txBody>
          <a:bodyPr/>
          <a:lstStyle/>
          <a:p>
            <a:pPr lvl="0"/>
            <a:r>
              <a:rPr lang="en-US" altLang="zh-CN">
                <a:cs typeface="+mn-ea"/>
                <a:sym typeface="+mn-lt"/>
              </a:rPr>
              <a:t>Supporting text  here.</a:t>
            </a:r>
          </a:p>
          <a:p>
            <a:pPr lvl="0"/>
            <a:r>
              <a:rPr lang="en-US" altLang="zh-CN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653575" y="238681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cs typeface="+mn-ea"/>
                <a:sym typeface="+mn-lt"/>
              </a:rPr>
              <a:t>/</a:t>
            </a:r>
            <a:r>
              <a:rPr lang="en-US" altLang="zh-CN" sz="100" spc="100" dirty="0">
                <a:solidFill>
                  <a:schemeClr val="bg1"/>
                </a:solidFill>
                <a:cs typeface="+mn-ea"/>
                <a:sym typeface="+mn-lt"/>
              </a:rPr>
              <a:t> </a:t>
            </a:r>
            <a:r>
              <a:rPr lang="en-US" altLang="zh-CN" spc="100" dirty="0">
                <a:solidFill>
                  <a:schemeClr val="bg1"/>
                </a:solidFill>
                <a:cs typeface="+mn-ea"/>
                <a:sym typeface="+mn-lt"/>
              </a:rPr>
              <a:t>04</a:t>
            </a:r>
            <a:endParaRPr lang="zh-CN" altLang="en-US" spc="1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6463805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保持良好卫生和健康习惯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6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28" name="菱形 27">
            <a:extLst>
              <a:ext uri="{FF2B5EF4-FFF2-40B4-BE49-F238E27FC236}">
                <a16:creationId xmlns:a16="http://schemas.microsoft.com/office/drawing/2014/main" id="{368909A5-4EB2-446D-A9B0-2E79933FD126}"/>
              </a:ext>
            </a:extLst>
          </p:cNvPr>
          <p:cNvSpPr/>
          <p:nvPr/>
        </p:nvSpPr>
        <p:spPr bwMode="auto">
          <a:xfrm>
            <a:off x="4154676" y="1682282"/>
            <a:ext cx="3958986" cy="3873346"/>
          </a:xfrm>
          <a:prstGeom prst="diamond">
            <a:avLst/>
          </a:prstGeom>
          <a:solidFill>
            <a:schemeClr val="bg1">
              <a:lumMod val="85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9" name="菱形 28">
            <a:extLst>
              <a:ext uri="{FF2B5EF4-FFF2-40B4-BE49-F238E27FC236}">
                <a16:creationId xmlns:a16="http://schemas.microsoft.com/office/drawing/2014/main" id="{01D04DFA-8EFD-4C25-9552-5553F6FA295E}"/>
              </a:ext>
            </a:extLst>
          </p:cNvPr>
          <p:cNvSpPr/>
          <p:nvPr/>
        </p:nvSpPr>
        <p:spPr bwMode="auto">
          <a:xfrm>
            <a:off x="4591327" y="2051167"/>
            <a:ext cx="3189878" cy="3120877"/>
          </a:xfrm>
          <a:prstGeom prst="diamond">
            <a:avLst/>
          </a:prstGeom>
          <a:solidFill>
            <a:schemeClr val="bg1">
              <a:lumMod val="95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7" name="菱形 6">
            <a:extLst>
              <a:ext uri="{FF2B5EF4-FFF2-40B4-BE49-F238E27FC236}">
                <a16:creationId xmlns:a16="http://schemas.microsoft.com/office/drawing/2014/main" id="{6C81129F-37F1-4F7C-8C0C-8CE0D10E8B79}"/>
              </a:ext>
            </a:extLst>
          </p:cNvPr>
          <p:cNvSpPr/>
          <p:nvPr/>
        </p:nvSpPr>
        <p:spPr bwMode="auto">
          <a:xfrm>
            <a:off x="5000438" y="2433127"/>
            <a:ext cx="2371656" cy="2371655"/>
          </a:xfrm>
          <a:prstGeom prst="diamond">
            <a:avLst/>
          </a:prstGeom>
          <a:solidFill>
            <a:schemeClr val="accent1"/>
          </a:solidFill>
          <a:ln w="5080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  <a:r>
              <a:rPr lang="en-US" sz="2000" b="1" i="1">
                <a:solidFill>
                  <a:schemeClr val="bg1"/>
                </a:solidFill>
                <a:cs typeface="+mn-ea"/>
                <a:sym typeface="+mn-lt"/>
              </a:rPr>
              <a:t>T</a:t>
            </a:r>
            <a:r>
              <a:rPr lang="en-US" sz="100" b="1" i="1">
                <a:solidFill>
                  <a:schemeClr val="bg1"/>
                </a:solidFill>
                <a:cs typeface="+mn-ea"/>
                <a:sym typeface="+mn-lt"/>
              </a:rPr>
              <a:t> </a:t>
            </a:r>
            <a:r>
              <a:rPr lang="en-US" sz="2000" b="1" i="1">
                <a:solidFill>
                  <a:schemeClr val="bg1"/>
                </a:solidFill>
                <a:cs typeface="+mn-ea"/>
                <a:sym typeface="+mn-lt"/>
              </a:rPr>
              <a:t>ext</a:t>
            </a:r>
            <a:endParaRPr sz="2000" b="1" i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6" name="椭圆 25">
            <a:extLst>
              <a:ext uri="{FF2B5EF4-FFF2-40B4-BE49-F238E27FC236}">
                <a16:creationId xmlns:a16="http://schemas.microsoft.com/office/drawing/2014/main" id="{1C7D525B-B78F-47E9-A055-3A36BFE351A4}"/>
              </a:ext>
            </a:extLst>
          </p:cNvPr>
          <p:cNvSpPr/>
          <p:nvPr/>
        </p:nvSpPr>
        <p:spPr>
          <a:xfrm>
            <a:off x="5782752" y="1494311"/>
            <a:ext cx="807027" cy="807027"/>
          </a:xfrm>
          <a:prstGeom prst="ellipse">
            <a:avLst/>
          </a:prstGeom>
          <a:solidFill>
            <a:schemeClr val="accent2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en-US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27" name="任意多边形: 形状 26">
            <a:extLst>
              <a:ext uri="{FF2B5EF4-FFF2-40B4-BE49-F238E27FC236}">
                <a16:creationId xmlns:a16="http://schemas.microsoft.com/office/drawing/2014/main" id="{74C9B234-EC94-4A9D-BC1C-690A48220442}"/>
              </a:ext>
            </a:extLst>
          </p:cNvPr>
          <p:cNvSpPr/>
          <p:nvPr/>
        </p:nvSpPr>
        <p:spPr bwMode="auto">
          <a:xfrm>
            <a:off x="5975169" y="1751649"/>
            <a:ext cx="422192" cy="292350"/>
          </a:xfrm>
          <a:custGeom>
            <a:avLst/>
            <a:gdLst>
              <a:gd name="connsiteX0" fmla="*/ 408547 w 608274"/>
              <a:gd name="connsiteY0" fmla="*/ 293099 h 421205"/>
              <a:gd name="connsiteX1" fmla="*/ 408547 w 608274"/>
              <a:gd name="connsiteY1" fmla="*/ 372763 h 421205"/>
              <a:gd name="connsiteX2" fmla="*/ 447040 w 608274"/>
              <a:gd name="connsiteY2" fmla="*/ 372763 h 421205"/>
              <a:gd name="connsiteX3" fmla="*/ 447040 w 608274"/>
              <a:gd name="connsiteY3" fmla="*/ 293099 h 421205"/>
              <a:gd name="connsiteX4" fmla="*/ 161233 w 608274"/>
              <a:gd name="connsiteY4" fmla="*/ 293099 h 421205"/>
              <a:gd name="connsiteX5" fmla="*/ 161233 w 608274"/>
              <a:gd name="connsiteY5" fmla="*/ 372763 h 421205"/>
              <a:gd name="connsiteX6" fmla="*/ 199726 w 608274"/>
              <a:gd name="connsiteY6" fmla="*/ 372763 h 421205"/>
              <a:gd name="connsiteX7" fmla="*/ 199726 w 608274"/>
              <a:gd name="connsiteY7" fmla="*/ 293099 h 421205"/>
              <a:gd name="connsiteX8" fmla="*/ 532906 w 608274"/>
              <a:gd name="connsiteY8" fmla="*/ 290447 h 421205"/>
              <a:gd name="connsiteX9" fmla="*/ 532906 w 608274"/>
              <a:gd name="connsiteY9" fmla="*/ 373212 h 421205"/>
              <a:gd name="connsiteX10" fmla="*/ 574097 w 608274"/>
              <a:gd name="connsiteY10" fmla="*/ 373212 h 421205"/>
              <a:gd name="connsiteX11" fmla="*/ 574097 w 608274"/>
              <a:gd name="connsiteY11" fmla="*/ 290447 h 421205"/>
              <a:gd name="connsiteX12" fmla="*/ 34034 w 608274"/>
              <a:gd name="connsiteY12" fmla="*/ 290447 h 421205"/>
              <a:gd name="connsiteX13" fmla="*/ 34034 w 608274"/>
              <a:gd name="connsiteY13" fmla="*/ 373212 h 421205"/>
              <a:gd name="connsiteX14" fmla="*/ 75298 w 608274"/>
              <a:gd name="connsiteY14" fmla="*/ 373212 h 421205"/>
              <a:gd name="connsiteX15" fmla="*/ 75298 w 608274"/>
              <a:gd name="connsiteY15" fmla="*/ 290447 h 421205"/>
              <a:gd name="connsiteX16" fmla="*/ 408547 w 608274"/>
              <a:gd name="connsiteY16" fmla="*/ 194325 h 421205"/>
              <a:gd name="connsiteX17" fmla="*/ 408547 w 608274"/>
              <a:gd name="connsiteY17" fmla="*/ 273989 h 421205"/>
              <a:gd name="connsiteX18" fmla="*/ 447040 w 608274"/>
              <a:gd name="connsiteY18" fmla="*/ 273989 h 421205"/>
              <a:gd name="connsiteX19" fmla="*/ 447040 w 608274"/>
              <a:gd name="connsiteY19" fmla="*/ 194325 h 421205"/>
              <a:gd name="connsiteX20" fmla="*/ 326109 w 608274"/>
              <a:gd name="connsiteY20" fmla="*/ 194325 h 421205"/>
              <a:gd name="connsiteX21" fmla="*/ 326109 w 608274"/>
              <a:gd name="connsiteY21" fmla="*/ 273989 h 421205"/>
              <a:gd name="connsiteX22" fmla="*/ 364602 w 608274"/>
              <a:gd name="connsiteY22" fmla="*/ 273989 h 421205"/>
              <a:gd name="connsiteX23" fmla="*/ 364602 w 608274"/>
              <a:gd name="connsiteY23" fmla="*/ 194325 h 421205"/>
              <a:gd name="connsiteX24" fmla="*/ 243671 w 608274"/>
              <a:gd name="connsiteY24" fmla="*/ 194325 h 421205"/>
              <a:gd name="connsiteX25" fmla="*/ 243671 w 608274"/>
              <a:gd name="connsiteY25" fmla="*/ 273989 h 421205"/>
              <a:gd name="connsiteX26" fmla="*/ 282164 w 608274"/>
              <a:gd name="connsiteY26" fmla="*/ 273989 h 421205"/>
              <a:gd name="connsiteX27" fmla="*/ 282164 w 608274"/>
              <a:gd name="connsiteY27" fmla="*/ 194325 h 421205"/>
              <a:gd name="connsiteX28" fmla="*/ 161233 w 608274"/>
              <a:gd name="connsiteY28" fmla="*/ 194325 h 421205"/>
              <a:gd name="connsiteX29" fmla="*/ 161233 w 608274"/>
              <a:gd name="connsiteY29" fmla="*/ 273989 h 421205"/>
              <a:gd name="connsiteX30" fmla="*/ 199726 w 608274"/>
              <a:gd name="connsiteY30" fmla="*/ 273989 h 421205"/>
              <a:gd name="connsiteX31" fmla="*/ 199726 w 608274"/>
              <a:gd name="connsiteY31" fmla="*/ 194325 h 421205"/>
              <a:gd name="connsiteX32" fmla="*/ 532906 w 608274"/>
              <a:gd name="connsiteY32" fmla="*/ 183352 h 421205"/>
              <a:gd name="connsiteX33" fmla="*/ 532906 w 608274"/>
              <a:gd name="connsiteY33" fmla="*/ 266228 h 421205"/>
              <a:gd name="connsiteX34" fmla="*/ 574097 w 608274"/>
              <a:gd name="connsiteY34" fmla="*/ 266228 h 421205"/>
              <a:gd name="connsiteX35" fmla="*/ 574097 w 608274"/>
              <a:gd name="connsiteY35" fmla="*/ 183352 h 421205"/>
              <a:gd name="connsiteX36" fmla="*/ 34034 w 608274"/>
              <a:gd name="connsiteY36" fmla="*/ 183352 h 421205"/>
              <a:gd name="connsiteX37" fmla="*/ 34034 w 608274"/>
              <a:gd name="connsiteY37" fmla="*/ 266228 h 421205"/>
              <a:gd name="connsiteX38" fmla="*/ 75298 w 608274"/>
              <a:gd name="connsiteY38" fmla="*/ 266228 h 421205"/>
              <a:gd name="connsiteX39" fmla="*/ 75298 w 608274"/>
              <a:gd name="connsiteY39" fmla="*/ 183352 h 421205"/>
              <a:gd name="connsiteX40" fmla="*/ 500732 w 608274"/>
              <a:gd name="connsiteY40" fmla="*/ 144024 h 421205"/>
              <a:gd name="connsiteX41" fmla="*/ 608274 w 608274"/>
              <a:gd name="connsiteY41" fmla="*/ 144024 h 421205"/>
              <a:gd name="connsiteX42" fmla="*/ 608274 w 608274"/>
              <a:gd name="connsiteY42" fmla="*/ 421205 h 421205"/>
              <a:gd name="connsiteX43" fmla="*/ 500732 w 608274"/>
              <a:gd name="connsiteY43" fmla="*/ 421205 h 421205"/>
              <a:gd name="connsiteX44" fmla="*/ 0 w 608274"/>
              <a:gd name="connsiteY44" fmla="*/ 144024 h 421205"/>
              <a:gd name="connsiteX45" fmla="*/ 107330 w 608274"/>
              <a:gd name="connsiteY45" fmla="*/ 144024 h 421205"/>
              <a:gd name="connsiteX46" fmla="*/ 107330 w 608274"/>
              <a:gd name="connsiteY46" fmla="*/ 421205 h 421205"/>
              <a:gd name="connsiteX47" fmla="*/ 0 w 608274"/>
              <a:gd name="connsiteY47" fmla="*/ 421205 h 421205"/>
              <a:gd name="connsiteX48" fmla="*/ 408547 w 608274"/>
              <a:gd name="connsiteY48" fmla="*/ 95552 h 421205"/>
              <a:gd name="connsiteX49" fmla="*/ 408547 w 608274"/>
              <a:gd name="connsiteY49" fmla="*/ 175104 h 421205"/>
              <a:gd name="connsiteX50" fmla="*/ 447040 w 608274"/>
              <a:gd name="connsiteY50" fmla="*/ 175104 h 421205"/>
              <a:gd name="connsiteX51" fmla="*/ 447040 w 608274"/>
              <a:gd name="connsiteY51" fmla="*/ 95552 h 421205"/>
              <a:gd name="connsiteX52" fmla="*/ 326109 w 608274"/>
              <a:gd name="connsiteY52" fmla="*/ 95552 h 421205"/>
              <a:gd name="connsiteX53" fmla="*/ 326109 w 608274"/>
              <a:gd name="connsiteY53" fmla="*/ 175104 h 421205"/>
              <a:gd name="connsiteX54" fmla="*/ 364602 w 608274"/>
              <a:gd name="connsiteY54" fmla="*/ 175104 h 421205"/>
              <a:gd name="connsiteX55" fmla="*/ 364602 w 608274"/>
              <a:gd name="connsiteY55" fmla="*/ 95552 h 421205"/>
              <a:gd name="connsiteX56" fmla="*/ 243671 w 608274"/>
              <a:gd name="connsiteY56" fmla="*/ 95552 h 421205"/>
              <a:gd name="connsiteX57" fmla="*/ 243671 w 608274"/>
              <a:gd name="connsiteY57" fmla="*/ 175104 h 421205"/>
              <a:gd name="connsiteX58" fmla="*/ 282164 w 608274"/>
              <a:gd name="connsiteY58" fmla="*/ 175104 h 421205"/>
              <a:gd name="connsiteX59" fmla="*/ 282164 w 608274"/>
              <a:gd name="connsiteY59" fmla="*/ 95552 h 421205"/>
              <a:gd name="connsiteX60" fmla="*/ 161233 w 608274"/>
              <a:gd name="connsiteY60" fmla="*/ 95552 h 421205"/>
              <a:gd name="connsiteX61" fmla="*/ 161233 w 608274"/>
              <a:gd name="connsiteY61" fmla="*/ 175104 h 421205"/>
              <a:gd name="connsiteX62" fmla="*/ 199726 w 608274"/>
              <a:gd name="connsiteY62" fmla="*/ 175104 h 421205"/>
              <a:gd name="connsiteX63" fmla="*/ 199726 w 608274"/>
              <a:gd name="connsiteY63" fmla="*/ 95552 h 421205"/>
              <a:gd name="connsiteX64" fmla="*/ 304081 w 608274"/>
              <a:gd name="connsiteY64" fmla="*/ 0 h 421205"/>
              <a:gd name="connsiteX65" fmla="*/ 398868 w 608274"/>
              <a:gd name="connsiteY65" fmla="*/ 24666 h 421205"/>
              <a:gd name="connsiteX66" fmla="*/ 398868 w 608274"/>
              <a:gd name="connsiteY66" fmla="*/ 56220 h 421205"/>
              <a:gd name="connsiteX67" fmla="*/ 475187 w 608274"/>
              <a:gd name="connsiteY67" fmla="*/ 56220 h 421205"/>
              <a:gd name="connsiteX68" fmla="*/ 475187 w 608274"/>
              <a:gd name="connsiteY68" fmla="*/ 421205 h 421205"/>
              <a:gd name="connsiteX69" fmla="*/ 373280 w 608274"/>
              <a:gd name="connsiteY69" fmla="*/ 421205 h 421205"/>
              <a:gd name="connsiteX70" fmla="*/ 373280 w 608274"/>
              <a:gd name="connsiteY70" fmla="*/ 306876 h 421205"/>
              <a:gd name="connsiteX71" fmla="*/ 316430 w 608274"/>
              <a:gd name="connsiteY71" fmla="*/ 306876 h 421205"/>
              <a:gd name="connsiteX72" fmla="*/ 316430 w 608274"/>
              <a:gd name="connsiteY72" fmla="*/ 421205 h 421205"/>
              <a:gd name="connsiteX73" fmla="*/ 291732 w 608274"/>
              <a:gd name="connsiteY73" fmla="*/ 421205 h 421205"/>
              <a:gd name="connsiteX74" fmla="*/ 291732 w 608274"/>
              <a:gd name="connsiteY74" fmla="*/ 306876 h 421205"/>
              <a:gd name="connsiteX75" fmla="*/ 234993 w 608274"/>
              <a:gd name="connsiteY75" fmla="*/ 306876 h 421205"/>
              <a:gd name="connsiteX76" fmla="*/ 234993 w 608274"/>
              <a:gd name="connsiteY76" fmla="*/ 421205 h 421205"/>
              <a:gd name="connsiteX77" fmla="*/ 133086 w 608274"/>
              <a:gd name="connsiteY77" fmla="*/ 421205 h 421205"/>
              <a:gd name="connsiteX78" fmla="*/ 133086 w 608274"/>
              <a:gd name="connsiteY78" fmla="*/ 56220 h 421205"/>
              <a:gd name="connsiteX79" fmla="*/ 209294 w 608274"/>
              <a:gd name="connsiteY79" fmla="*/ 56220 h 421205"/>
              <a:gd name="connsiteX80" fmla="*/ 209294 w 608274"/>
              <a:gd name="connsiteY80" fmla="*/ 24666 h 421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</a:cxnLst>
            <a:rect l="l" t="t" r="r" b="b"/>
            <a:pathLst>
              <a:path w="608274" h="421205">
                <a:moveTo>
                  <a:pt x="408547" y="293099"/>
                </a:moveTo>
                <a:lnTo>
                  <a:pt x="408547" y="372763"/>
                </a:lnTo>
                <a:lnTo>
                  <a:pt x="447040" y="372763"/>
                </a:lnTo>
                <a:lnTo>
                  <a:pt x="447040" y="293099"/>
                </a:lnTo>
                <a:close/>
                <a:moveTo>
                  <a:pt x="161233" y="293099"/>
                </a:moveTo>
                <a:lnTo>
                  <a:pt x="161233" y="372763"/>
                </a:lnTo>
                <a:lnTo>
                  <a:pt x="199726" y="372763"/>
                </a:lnTo>
                <a:lnTo>
                  <a:pt x="199726" y="293099"/>
                </a:lnTo>
                <a:close/>
                <a:moveTo>
                  <a:pt x="532906" y="290447"/>
                </a:moveTo>
                <a:lnTo>
                  <a:pt x="532906" y="373212"/>
                </a:lnTo>
                <a:lnTo>
                  <a:pt x="574097" y="373212"/>
                </a:lnTo>
                <a:lnTo>
                  <a:pt x="574097" y="290447"/>
                </a:lnTo>
                <a:close/>
                <a:moveTo>
                  <a:pt x="34034" y="290447"/>
                </a:moveTo>
                <a:lnTo>
                  <a:pt x="34034" y="373212"/>
                </a:lnTo>
                <a:lnTo>
                  <a:pt x="75298" y="373212"/>
                </a:lnTo>
                <a:lnTo>
                  <a:pt x="75298" y="290447"/>
                </a:lnTo>
                <a:close/>
                <a:moveTo>
                  <a:pt x="408547" y="194325"/>
                </a:moveTo>
                <a:lnTo>
                  <a:pt x="408547" y="273989"/>
                </a:lnTo>
                <a:lnTo>
                  <a:pt x="447040" y="273989"/>
                </a:lnTo>
                <a:lnTo>
                  <a:pt x="447040" y="194325"/>
                </a:lnTo>
                <a:close/>
                <a:moveTo>
                  <a:pt x="326109" y="194325"/>
                </a:moveTo>
                <a:lnTo>
                  <a:pt x="326109" y="273989"/>
                </a:lnTo>
                <a:lnTo>
                  <a:pt x="364602" y="273989"/>
                </a:lnTo>
                <a:lnTo>
                  <a:pt x="364602" y="194325"/>
                </a:lnTo>
                <a:close/>
                <a:moveTo>
                  <a:pt x="243671" y="194325"/>
                </a:moveTo>
                <a:lnTo>
                  <a:pt x="243671" y="273989"/>
                </a:lnTo>
                <a:lnTo>
                  <a:pt x="282164" y="273989"/>
                </a:lnTo>
                <a:lnTo>
                  <a:pt x="282164" y="194325"/>
                </a:lnTo>
                <a:close/>
                <a:moveTo>
                  <a:pt x="161233" y="194325"/>
                </a:moveTo>
                <a:lnTo>
                  <a:pt x="161233" y="273989"/>
                </a:lnTo>
                <a:lnTo>
                  <a:pt x="199726" y="273989"/>
                </a:lnTo>
                <a:lnTo>
                  <a:pt x="199726" y="194325"/>
                </a:lnTo>
                <a:close/>
                <a:moveTo>
                  <a:pt x="532906" y="183352"/>
                </a:moveTo>
                <a:lnTo>
                  <a:pt x="532906" y="266228"/>
                </a:lnTo>
                <a:lnTo>
                  <a:pt x="574097" y="266228"/>
                </a:lnTo>
                <a:lnTo>
                  <a:pt x="574097" y="183352"/>
                </a:lnTo>
                <a:close/>
                <a:moveTo>
                  <a:pt x="34034" y="183352"/>
                </a:moveTo>
                <a:lnTo>
                  <a:pt x="34034" y="266228"/>
                </a:lnTo>
                <a:lnTo>
                  <a:pt x="75298" y="266228"/>
                </a:lnTo>
                <a:lnTo>
                  <a:pt x="75298" y="183352"/>
                </a:lnTo>
                <a:close/>
                <a:moveTo>
                  <a:pt x="500732" y="144024"/>
                </a:moveTo>
                <a:lnTo>
                  <a:pt x="608274" y="144024"/>
                </a:lnTo>
                <a:lnTo>
                  <a:pt x="608274" y="421205"/>
                </a:lnTo>
                <a:lnTo>
                  <a:pt x="500732" y="421205"/>
                </a:lnTo>
                <a:close/>
                <a:moveTo>
                  <a:pt x="0" y="144024"/>
                </a:moveTo>
                <a:lnTo>
                  <a:pt x="107330" y="144024"/>
                </a:lnTo>
                <a:lnTo>
                  <a:pt x="107330" y="421205"/>
                </a:lnTo>
                <a:lnTo>
                  <a:pt x="0" y="421205"/>
                </a:lnTo>
                <a:close/>
                <a:moveTo>
                  <a:pt x="408547" y="95552"/>
                </a:moveTo>
                <a:lnTo>
                  <a:pt x="408547" y="175104"/>
                </a:lnTo>
                <a:lnTo>
                  <a:pt x="447040" y="175104"/>
                </a:lnTo>
                <a:lnTo>
                  <a:pt x="447040" y="95552"/>
                </a:lnTo>
                <a:close/>
                <a:moveTo>
                  <a:pt x="326109" y="95552"/>
                </a:moveTo>
                <a:lnTo>
                  <a:pt x="326109" y="175104"/>
                </a:lnTo>
                <a:lnTo>
                  <a:pt x="364602" y="175104"/>
                </a:lnTo>
                <a:lnTo>
                  <a:pt x="364602" y="95552"/>
                </a:lnTo>
                <a:close/>
                <a:moveTo>
                  <a:pt x="243671" y="95552"/>
                </a:moveTo>
                <a:lnTo>
                  <a:pt x="243671" y="175104"/>
                </a:lnTo>
                <a:lnTo>
                  <a:pt x="282164" y="175104"/>
                </a:lnTo>
                <a:lnTo>
                  <a:pt x="282164" y="95552"/>
                </a:lnTo>
                <a:close/>
                <a:moveTo>
                  <a:pt x="161233" y="95552"/>
                </a:moveTo>
                <a:lnTo>
                  <a:pt x="161233" y="175104"/>
                </a:lnTo>
                <a:lnTo>
                  <a:pt x="199726" y="175104"/>
                </a:lnTo>
                <a:lnTo>
                  <a:pt x="199726" y="95552"/>
                </a:lnTo>
                <a:close/>
                <a:moveTo>
                  <a:pt x="304081" y="0"/>
                </a:moveTo>
                <a:lnTo>
                  <a:pt x="398868" y="24666"/>
                </a:lnTo>
                <a:lnTo>
                  <a:pt x="398868" y="56220"/>
                </a:lnTo>
                <a:lnTo>
                  <a:pt x="475187" y="56220"/>
                </a:lnTo>
                <a:lnTo>
                  <a:pt x="475187" y="421205"/>
                </a:lnTo>
                <a:lnTo>
                  <a:pt x="373280" y="421205"/>
                </a:lnTo>
                <a:lnTo>
                  <a:pt x="373280" y="306876"/>
                </a:lnTo>
                <a:lnTo>
                  <a:pt x="316430" y="306876"/>
                </a:lnTo>
                <a:lnTo>
                  <a:pt x="316430" y="421205"/>
                </a:lnTo>
                <a:lnTo>
                  <a:pt x="291732" y="421205"/>
                </a:lnTo>
                <a:lnTo>
                  <a:pt x="291732" y="306876"/>
                </a:lnTo>
                <a:lnTo>
                  <a:pt x="234993" y="306876"/>
                </a:lnTo>
                <a:lnTo>
                  <a:pt x="234993" y="421205"/>
                </a:lnTo>
                <a:lnTo>
                  <a:pt x="133086" y="421205"/>
                </a:lnTo>
                <a:lnTo>
                  <a:pt x="133086" y="56220"/>
                </a:lnTo>
                <a:lnTo>
                  <a:pt x="209294" y="56220"/>
                </a:lnTo>
                <a:lnTo>
                  <a:pt x="209294" y="2466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24" name="椭圆 23">
            <a:extLst>
              <a:ext uri="{FF2B5EF4-FFF2-40B4-BE49-F238E27FC236}">
                <a16:creationId xmlns:a16="http://schemas.microsoft.com/office/drawing/2014/main" id="{50C24CFE-F581-4751-AEA2-848F197211B8}"/>
              </a:ext>
            </a:extLst>
          </p:cNvPr>
          <p:cNvSpPr/>
          <p:nvPr/>
        </p:nvSpPr>
        <p:spPr>
          <a:xfrm>
            <a:off x="7621077" y="3215440"/>
            <a:ext cx="807027" cy="807027"/>
          </a:xfrm>
          <a:prstGeom prst="ellipse">
            <a:avLst/>
          </a:prstGeom>
          <a:solidFill>
            <a:schemeClr val="accent2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en-US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25" name="任意多边形: 形状 24">
            <a:extLst>
              <a:ext uri="{FF2B5EF4-FFF2-40B4-BE49-F238E27FC236}">
                <a16:creationId xmlns:a16="http://schemas.microsoft.com/office/drawing/2014/main" id="{EA741144-6536-4D21-A96C-F0CB58BA7C9E}"/>
              </a:ext>
            </a:extLst>
          </p:cNvPr>
          <p:cNvSpPr/>
          <p:nvPr/>
        </p:nvSpPr>
        <p:spPr bwMode="auto">
          <a:xfrm>
            <a:off x="7813494" y="3472778"/>
            <a:ext cx="422192" cy="292350"/>
          </a:xfrm>
          <a:custGeom>
            <a:avLst/>
            <a:gdLst>
              <a:gd name="connsiteX0" fmla="*/ 408547 w 608274"/>
              <a:gd name="connsiteY0" fmla="*/ 293099 h 421205"/>
              <a:gd name="connsiteX1" fmla="*/ 408547 w 608274"/>
              <a:gd name="connsiteY1" fmla="*/ 372763 h 421205"/>
              <a:gd name="connsiteX2" fmla="*/ 447040 w 608274"/>
              <a:gd name="connsiteY2" fmla="*/ 372763 h 421205"/>
              <a:gd name="connsiteX3" fmla="*/ 447040 w 608274"/>
              <a:gd name="connsiteY3" fmla="*/ 293099 h 421205"/>
              <a:gd name="connsiteX4" fmla="*/ 161233 w 608274"/>
              <a:gd name="connsiteY4" fmla="*/ 293099 h 421205"/>
              <a:gd name="connsiteX5" fmla="*/ 161233 w 608274"/>
              <a:gd name="connsiteY5" fmla="*/ 372763 h 421205"/>
              <a:gd name="connsiteX6" fmla="*/ 199726 w 608274"/>
              <a:gd name="connsiteY6" fmla="*/ 372763 h 421205"/>
              <a:gd name="connsiteX7" fmla="*/ 199726 w 608274"/>
              <a:gd name="connsiteY7" fmla="*/ 293099 h 421205"/>
              <a:gd name="connsiteX8" fmla="*/ 532906 w 608274"/>
              <a:gd name="connsiteY8" fmla="*/ 290447 h 421205"/>
              <a:gd name="connsiteX9" fmla="*/ 532906 w 608274"/>
              <a:gd name="connsiteY9" fmla="*/ 373212 h 421205"/>
              <a:gd name="connsiteX10" fmla="*/ 574097 w 608274"/>
              <a:gd name="connsiteY10" fmla="*/ 373212 h 421205"/>
              <a:gd name="connsiteX11" fmla="*/ 574097 w 608274"/>
              <a:gd name="connsiteY11" fmla="*/ 290447 h 421205"/>
              <a:gd name="connsiteX12" fmla="*/ 34034 w 608274"/>
              <a:gd name="connsiteY12" fmla="*/ 290447 h 421205"/>
              <a:gd name="connsiteX13" fmla="*/ 34034 w 608274"/>
              <a:gd name="connsiteY13" fmla="*/ 373212 h 421205"/>
              <a:gd name="connsiteX14" fmla="*/ 75298 w 608274"/>
              <a:gd name="connsiteY14" fmla="*/ 373212 h 421205"/>
              <a:gd name="connsiteX15" fmla="*/ 75298 w 608274"/>
              <a:gd name="connsiteY15" fmla="*/ 290447 h 421205"/>
              <a:gd name="connsiteX16" fmla="*/ 408547 w 608274"/>
              <a:gd name="connsiteY16" fmla="*/ 194325 h 421205"/>
              <a:gd name="connsiteX17" fmla="*/ 408547 w 608274"/>
              <a:gd name="connsiteY17" fmla="*/ 273989 h 421205"/>
              <a:gd name="connsiteX18" fmla="*/ 447040 w 608274"/>
              <a:gd name="connsiteY18" fmla="*/ 273989 h 421205"/>
              <a:gd name="connsiteX19" fmla="*/ 447040 w 608274"/>
              <a:gd name="connsiteY19" fmla="*/ 194325 h 421205"/>
              <a:gd name="connsiteX20" fmla="*/ 326109 w 608274"/>
              <a:gd name="connsiteY20" fmla="*/ 194325 h 421205"/>
              <a:gd name="connsiteX21" fmla="*/ 326109 w 608274"/>
              <a:gd name="connsiteY21" fmla="*/ 273989 h 421205"/>
              <a:gd name="connsiteX22" fmla="*/ 364602 w 608274"/>
              <a:gd name="connsiteY22" fmla="*/ 273989 h 421205"/>
              <a:gd name="connsiteX23" fmla="*/ 364602 w 608274"/>
              <a:gd name="connsiteY23" fmla="*/ 194325 h 421205"/>
              <a:gd name="connsiteX24" fmla="*/ 243671 w 608274"/>
              <a:gd name="connsiteY24" fmla="*/ 194325 h 421205"/>
              <a:gd name="connsiteX25" fmla="*/ 243671 w 608274"/>
              <a:gd name="connsiteY25" fmla="*/ 273989 h 421205"/>
              <a:gd name="connsiteX26" fmla="*/ 282164 w 608274"/>
              <a:gd name="connsiteY26" fmla="*/ 273989 h 421205"/>
              <a:gd name="connsiteX27" fmla="*/ 282164 w 608274"/>
              <a:gd name="connsiteY27" fmla="*/ 194325 h 421205"/>
              <a:gd name="connsiteX28" fmla="*/ 161233 w 608274"/>
              <a:gd name="connsiteY28" fmla="*/ 194325 h 421205"/>
              <a:gd name="connsiteX29" fmla="*/ 161233 w 608274"/>
              <a:gd name="connsiteY29" fmla="*/ 273989 h 421205"/>
              <a:gd name="connsiteX30" fmla="*/ 199726 w 608274"/>
              <a:gd name="connsiteY30" fmla="*/ 273989 h 421205"/>
              <a:gd name="connsiteX31" fmla="*/ 199726 w 608274"/>
              <a:gd name="connsiteY31" fmla="*/ 194325 h 421205"/>
              <a:gd name="connsiteX32" fmla="*/ 532906 w 608274"/>
              <a:gd name="connsiteY32" fmla="*/ 183352 h 421205"/>
              <a:gd name="connsiteX33" fmla="*/ 532906 w 608274"/>
              <a:gd name="connsiteY33" fmla="*/ 266228 h 421205"/>
              <a:gd name="connsiteX34" fmla="*/ 574097 w 608274"/>
              <a:gd name="connsiteY34" fmla="*/ 266228 h 421205"/>
              <a:gd name="connsiteX35" fmla="*/ 574097 w 608274"/>
              <a:gd name="connsiteY35" fmla="*/ 183352 h 421205"/>
              <a:gd name="connsiteX36" fmla="*/ 34034 w 608274"/>
              <a:gd name="connsiteY36" fmla="*/ 183352 h 421205"/>
              <a:gd name="connsiteX37" fmla="*/ 34034 w 608274"/>
              <a:gd name="connsiteY37" fmla="*/ 266228 h 421205"/>
              <a:gd name="connsiteX38" fmla="*/ 75298 w 608274"/>
              <a:gd name="connsiteY38" fmla="*/ 266228 h 421205"/>
              <a:gd name="connsiteX39" fmla="*/ 75298 w 608274"/>
              <a:gd name="connsiteY39" fmla="*/ 183352 h 421205"/>
              <a:gd name="connsiteX40" fmla="*/ 500732 w 608274"/>
              <a:gd name="connsiteY40" fmla="*/ 144024 h 421205"/>
              <a:gd name="connsiteX41" fmla="*/ 608274 w 608274"/>
              <a:gd name="connsiteY41" fmla="*/ 144024 h 421205"/>
              <a:gd name="connsiteX42" fmla="*/ 608274 w 608274"/>
              <a:gd name="connsiteY42" fmla="*/ 421205 h 421205"/>
              <a:gd name="connsiteX43" fmla="*/ 500732 w 608274"/>
              <a:gd name="connsiteY43" fmla="*/ 421205 h 421205"/>
              <a:gd name="connsiteX44" fmla="*/ 0 w 608274"/>
              <a:gd name="connsiteY44" fmla="*/ 144024 h 421205"/>
              <a:gd name="connsiteX45" fmla="*/ 107330 w 608274"/>
              <a:gd name="connsiteY45" fmla="*/ 144024 h 421205"/>
              <a:gd name="connsiteX46" fmla="*/ 107330 w 608274"/>
              <a:gd name="connsiteY46" fmla="*/ 421205 h 421205"/>
              <a:gd name="connsiteX47" fmla="*/ 0 w 608274"/>
              <a:gd name="connsiteY47" fmla="*/ 421205 h 421205"/>
              <a:gd name="connsiteX48" fmla="*/ 408547 w 608274"/>
              <a:gd name="connsiteY48" fmla="*/ 95552 h 421205"/>
              <a:gd name="connsiteX49" fmla="*/ 408547 w 608274"/>
              <a:gd name="connsiteY49" fmla="*/ 175104 h 421205"/>
              <a:gd name="connsiteX50" fmla="*/ 447040 w 608274"/>
              <a:gd name="connsiteY50" fmla="*/ 175104 h 421205"/>
              <a:gd name="connsiteX51" fmla="*/ 447040 w 608274"/>
              <a:gd name="connsiteY51" fmla="*/ 95552 h 421205"/>
              <a:gd name="connsiteX52" fmla="*/ 326109 w 608274"/>
              <a:gd name="connsiteY52" fmla="*/ 95552 h 421205"/>
              <a:gd name="connsiteX53" fmla="*/ 326109 w 608274"/>
              <a:gd name="connsiteY53" fmla="*/ 175104 h 421205"/>
              <a:gd name="connsiteX54" fmla="*/ 364602 w 608274"/>
              <a:gd name="connsiteY54" fmla="*/ 175104 h 421205"/>
              <a:gd name="connsiteX55" fmla="*/ 364602 w 608274"/>
              <a:gd name="connsiteY55" fmla="*/ 95552 h 421205"/>
              <a:gd name="connsiteX56" fmla="*/ 243671 w 608274"/>
              <a:gd name="connsiteY56" fmla="*/ 95552 h 421205"/>
              <a:gd name="connsiteX57" fmla="*/ 243671 w 608274"/>
              <a:gd name="connsiteY57" fmla="*/ 175104 h 421205"/>
              <a:gd name="connsiteX58" fmla="*/ 282164 w 608274"/>
              <a:gd name="connsiteY58" fmla="*/ 175104 h 421205"/>
              <a:gd name="connsiteX59" fmla="*/ 282164 w 608274"/>
              <a:gd name="connsiteY59" fmla="*/ 95552 h 421205"/>
              <a:gd name="connsiteX60" fmla="*/ 161233 w 608274"/>
              <a:gd name="connsiteY60" fmla="*/ 95552 h 421205"/>
              <a:gd name="connsiteX61" fmla="*/ 161233 w 608274"/>
              <a:gd name="connsiteY61" fmla="*/ 175104 h 421205"/>
              <a:gd name="connsiteX62" fmla="*/ 199726 w 608274"/>
              <a:gd name="connsiteY62" fmla="*/ 175104 h 421205"/>
              <a:gd name="connsiteX63" fmla="*/ 199726 w 608274"/>
              <a:gd name="connsiteY63" fmla="*/ 95552 h 421205"/>
              <a:gd name="connsiteX64" fmla="*/ 304081 w 608274"/>
              <a:gd name="connsiteY64" fmla="*/ 0 h 421205"/>
              <a:gd name="connsiteX65" fmla="*/ 398868 w 608274"/>
              <a:gd name="connsiteY65" fmla="*/ 24666 h 421205"/>
              <a:gd name="connsiteX66" fmla="*/ 398868 w 608274"/>
              <a:gd name="connsiteY66" fmla="*/ 56220 h 421205"/>
              <a:gd name="connsiteX67" fmla="*/ 475187 w 608274"/>
              <a:gd name="connsiteY67" fmla="*/ 56220 h 421205"/>
              <a:gd name="connsiteX68" fmla="*/ 475187 w 608274"/>
              <a:gd name="connsiteY68" fmla="*/ 421205 h 421205"/>
              <a:gd name="connsiteX69" fmla="*/ 373280 w 608274"/>
              <a:gd name="connsiteY69" fmla="*/ 421205 h 421205"/>
              <a:gd name="connsiteX70" fmla="*/ 373280 w 608274"/>
              <a:gd name="connsiteY70" fmla="*/ 306876 h 421205"/>
              <a:gd name="connsiteX71" fmla="*/ 316430 w 608274"/>
              <a:gd name="connsiteY71" fmla="*/ 306876 h 421205"/>
              <a:gd name="connsiteX72" fmla="*/ 316430 w 608274"/>
              <a:gd name="connsiteY72" fmla="*/ 421205 h 421205"/>
              <a:gd name="connsiteX73" fmla="*/ 291732 w 608274"/>
              <a:gd name="connsiteY73" fmla="*/ 421205 h 421205"/>
              <a:gd name="connsiteX74" fmla="*/ 291732 w 608274"/>
              <a:gd name="connsiteY74" fmla="*/ 306876 h 421205"/>
              <a:gd name="connsiteX75" fmla="*/ 234993 w 608274"/>
              <a:gd name="connsiteY75" fmla="*/ 306876 h 421205"/>
              <a:gd name="connsiteX76" fmla="*/ 234993 w 608274"/>
              <a:gd name="connsiteY76" fmla="*/ 421205 h 421205"/>
              <a:gd name="connsiteX77" fmla="*/ 133086 w 608274"/>
              <a:gd name="connsiteY77" fmla="*/ 421205 h 421205"/>
              <a:gd name="connsiteX78" fmla="*/ 133086 w 608274"/>
              <a:gd name="connsiteY78" fmla="*/ 56220 h 421205"/>
              <a:gd name="connsiteX79" fmla="*/ 209294 w 608274"/>
              <a:gd name="connsiteY79" fmla="*/ 56220 h 421205"/>
              <a:gd name="connsiteX80" fmla="*/ 209294 w 608274"/>
              <a:gd name="connsiteY80" fmla="*/ 24666 h 421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</a:cxnLst>
            <a:rect l="l" t="t" r="r" b="b"/>
            <a:pathLst>
              <a:path w="608274" h="421205">
                <a:moveTo>
                  <a:pt x="408547" y="293099"/>
                </a:moveTo>
                <a:lnTo>
                  <a:pt x="408547" y="372763"/>
                </a:lnTo>
                <a:lnTo>
                  <a:pt x="447040" y="372763"/>
                </a:lnTo>
                <a:lnTo>
                  <a:pt x="447040" y="293099"/>
                </a:lnTo>
                <a:close/>
                <a:moveTo>
                  <a:pt x="161233" y="293099"/>
                </a:moveTo>
                <a:lnTo>
                  <a:pt x="161233" y="372763"/>
                </a:lnTo>
                <a:lnTo>
                  <a:pt x="199726" y="372763"/>
                </a:lnTo>
                <a:lnTo>
                  <a:pt x="199726" y="293099"/>
                </a:lnTo>
                <a:close/>
                <a:moveTo>
                  <a:pt x="532906" y="290447"/>
                </a:moveTo>
                <a:lnTo>
                  <a:pt x="532906" y="373212"/>
                </a:lnTo>
                <a:lnTo>
                  <a:pt x="574097" y="373212"/>
                </a:lnTo>
                <a:lnTo>
                  <a:pt x="574097" y="290447"/>
                </a:lnTo>
                <a:close/>
                <a:moveTo>
                  <a:pt x="34034" y="290447"/>
                </a:moveTo>
                <a:lnTo>
                  <a:pt x="34034" y="373212"/>
                </a:lnTo>
                <a:lnTo>
                  <a:pt x="75298" y="373212"/>
                </a:lnTo>
                <a:lnTo>
                  <a:pt x="75298" y="290447"/>
                </a:lnTo>
                <a:close/>
                <a:moveTo>
                  <a:pt x="408547" y="194325"/>
                </a:moveTo>
                <a:lnTo>
                  <a:pt x="408547" y="273989"/>
                </a:lnTo>
                <a:lnTo>
                  <a:pt x="447040" y="273989"/>
                </a:lnTo>
                <a:lnTo>
                  <a:pt x="447040" y="194325"/>
                </a:lnTo>
                <a:close/>
                <a:moveTo>
                  <a:pt x="326109" y="194325"/>
                </a:moveTo>
                <a:lnTo>
                  <a:pt x="326109" y="273989"/>
                </a:lnTo>
                <a:lnTo>
                  <a:pt x="364602" y="273989"/>
                </a:lnTo>
                <a:lnTo>
                  <a:pt x="364602" y="194325"/>
                </a:lnTo>
                <a:close/>
                <a:moveTo>
                  <a:pt x="243671" y="194325"/>
                </a:moveTo>
                <a:lnTo>
                  <a:pt x="243671" y="273989"/>
                </a:lnTo>
                <a:lnTo>
                  <a:pt x="282164" y="273989"/>
                </a:lnTo>
                <a:lnTo>
                  <a:pt x="282164" y="194325"/>
                </a:lnTo>
                <a:close/>
                <a:moveTo>
                  <a:pt x="161233" y="194325"/>
                </a:moveTo>
                <a:lnTo>
                  <a:pt x="161233" y="273989"/>
                </a:lnTo>
                <a:lnTo>
                  <a:pt x="199726" y="273989"/>
                </a:lnTo>
                <a:lnTo>
                  <a:pt x="199726" y="194325"/>
                </a:lnTo>
                <a:close/>
                <a:moveTo>
                  <a:pt x="532906" y="183352"/>
                </a:moveTo>
                <a:lnTo>
                  <a:pt x="532906" y="266228"/>
                </a:lnTo>
                <a:lnTo>
                  <a:pt x="574097" y="266228"/>
                </a:lnTo>
                <a:lnTo>
                  <a:pt x="574097" y="183352"/>
                </a:lnTo>
                <a:close/>
                <a:moveTo>
                  <a:pt x="34034" y="183352"/>
                </a:moveTo>
                <a:lnTo>
                  <a:pt x="34034" y="266228"/>
                </a:lnTo>
                <a:lnTo>
                  <a:pt x="75298" y="266228"/>
                </a:lnTo>
                <a:lnTo>
                  <a:pt x="75298" y="183352"/>
                </a:lnTo>
                <a:close/>
                <a:moveTo>
                  <a:pt x="500732" y="144024"/>
                </a:moveTo>
                <a:lnTo>
                  <a:pt x="608274" y="144024"/>
                </a:lnTo>
                <a:lnTo>
                  <a:pt x="608274" y="421205"/>
                </a:lnTo>
                <a:lnTo>
                  <a:pt x="500732" y="421205"/>
                </a:lnTo>
                <a:close/>
                <a:moveTo>
                  <a:pt x="0" y="144024"/>
                </a:moveTo>
                <a:lnTo>
                  <a:pt x="107330" y="144024"/>
                </a:lnTo>
                <a:lnTo>
                  <a:pt x="107330" y="421205"/>
                </a:lnTo>
                <a:lnTo>
                  <a:pt x="0" y="421205"/>
                </a:lnTo>
                <a:close/>
                <a:moveTo>
                  <a:pt x="408547" y="95552"/>
                </a:moveTo>
                <a:lnTo>
                  <a:pt x="408547" y="175104"/>
                </a:lnTo>
                <a:lnTo>
                  <a:pt x="447040" y="175104"/>
                </a:lnTo>
                <a:lnTo>
                  <a:pt x="447040" y="95552"/>
                </a:lnTo>
                <a:close/>
                <a:moveTo>
                  <a:pt x="326109" y="95552"/>
                </a:moveTo>
                <a:lnTo>
                  <a:pt x="326109" y="175104"/>
                </a:lnTo>
                <a:lnTo>
                  <a:pt x="364602" y="175104"/>
                </a:lnTo>
                <a:lnTo>
                  <a:pt x="364602" y="95552"/>
                </a:lnTo>
                <a:close/>
                <a:moveTo>
                  <a:pt x="243671" y="95552"/>
                </a:moveTo>
                <a:lnTo>
                  <a:pt x="243671" y="175104"/>
                </a:lnTo>
                <a:lnTo>
                  <a:pt x="282164" y="175104"/>
                </a:lnTo>
                <a:lnTo>
                  <a:pt x="282164" y="95552"/>
                </a:lnTo>
                <a:close/>
                <a:moveTo>
                  <a:pt x="161233" y="95552"/>
                </a:moveTo>
                <a:lnTo>
                  <a:pt x="161233" y="175104"/>
                </a:lnTo>
                <a:lnTo>
                  <a:pt x="199726" y="175104"/>
                </a:lnTo>
                <a:lnTo>
                  <a:pt x="199726" y="95552"/>
                </a:lnTo>
                <a:close/>
                <a:moveTo>
                  <a:pt x="304081" y="0"/>
                </a:moveTo>
                <a:lnTo>
                  <a:pt x="398868" y="24666"/>
                </a:lnTo>
                <a:lnTo>
                  <a:pt x="398868" y="56220"/>
                </a:lnTo>
                <a:lnTo>
                  <a:pt x="475187" y="56220"/>
                </a:lnTo>
                <a:lnTo>
                  <a:pt x="475187" y="421205"/>
                </a:lnTo>
                <a:lnTo>
                  <a:pt x="373280" y="421205"/>
                </a:lnTo>
                <a:lnTo>
                  <a:pt x="373280" y="306876"/>
                </a:lnTo>
                <a:lnTo>
                  <a:pt x="316430" y="306876"/>
                </a:lnTo>
                <a:lnTo>
                  <a:pt x="316430" y="421205"/>
                </a:lnTo>
                <a:lnTo>
                  <a:pt x="291732" y="421205"/>
                </a:lnTo>
                <a:lnTo>
                  <a:pt x="291732" y="306876"/>
                </a:lnTo>
                <a:lnTo>
                  <a:pt x="234993" y="306876"/>
                </a:lnTo>
                <a:lnTo>
                  <a:pt x="234993" y="421205"/>
                </a:lnTo>
                <a:lnTo>
                  <a:pt x="133086" y="421205"/>
                </a:lnTo>
                <a:lnTo>
                  <a:pt x="133086" y="56220"/>
                </a:lnTo>
                <a:lnTo>
                  <a:pt x="209294" y="56220"/>
                </a:lnTo>
                <a:lnTo>
                  <a:pt x="209294" y="2466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22" name="椭圆 21">
            <a:extLst>
              <a:ext uri="{FF2B5EF4-FFF2-40B4-BE49-F238E27FC236}">
                <a16:creationId xmlns:a16="http://schemas.microsoft.com/office/drawing/2014/main" id="{144EB962-B0EE-4113-93F1-9C70D34914A2}"/>
              </a:ext>
            </a:extLst>
          </p:cNvPr>
          <p:cNvSpPr/>
          <p:nvPr/>
        </p:nvSpPr>
        <p:spPr>
          <a:xfrm>
            <a:off x="3860954" y="3215440"/>
            <a:ext cx="807027" cy="807027"/>
          </a:xfrm>
          <a:prstGeom prst="ellipse">
            <a:avLst/>
          </a:prstGeom>
          <a:solidFill>
            <a:schemeClr val="accent2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en-US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23" name="任意多边形: 形状 22">
            <a:extLst>
              <a:ext uri="{FF2B5EF4-FFF2-40B4-BE49-F238E27FC236}">
                <a16:creationId xmlns:a16="http://schemas.microsoft.com/office/drawing/2014/main" id="{B6F04666-F303-4FAF-BC04-6913775FCAB5}"/>
              </a:ext>
            </a:extLst>
          </p:cNvPr>
          <p:cNvSpPr/>
          <p:nvPr/>
        </p:nvSpPr>
        <p:spPr bwMode="auto">
          <a:xfrm>
            <a:off x="4053371" y="3472778"/>
            <a:ext cx="422192" cy="292350"/>
          </a:xfrm>
          <a:custGeom>
            <a:avLst/>
            <a:gdLst>
              <a:gd name="connsiteX0" fmla="*/ 408547 w 608274"/>
              <a:gd name="connsiteY0" fmla="*/ 293099 h 421205"/>
              <a:gd name="connsiteX1" fmla="*/ 408547 w 608274"/>
              <a:gd name="connsiteY1" fmla="*/ 372763 h 421205"/>
              <a:gd name="connsiteX2" fmla="*/ 447040 w 608274"/>
              <a:gd name="connsiteY2" fmla="*/ 372763 h 421205"/>
              <a:gd name="connsiteX3" fmla="*/ 447040 w 608274"/>
              <a:gd name="connsiteY3" fmla="*/ 293099 h 421205"/>
              <a:gd name="connsiteX4" fmla="*/ 161233 w 608274"/>
              <a:gd name="connsiteY4" fmla="*/ 293099 h 421205"/>
              <a:gd name="connsiteX5" fmla="*/ 161233 w 608274"/>
              <a:gd name="connsiteY5" fmla="*/ 372763 h 421205"/>
              <a:gd name="connsiteX6" fmla="*/ 199726 w 608274"/>
              <a:gd name="connsiteY6" fmla="*/ 372763 h 421205"/>
              <a:gd name="connsiteX7" fmla="*/ 199726 w 608274"/>
              <a:gd name="connsiteY7" fmla="*/ 293099 h 421205"/>
              <a:gd name="connsiteX8" fmla="*/ 532906 w 608274"/>
              <a:gd name="connsiteY8" fmla="*/ 290447 h 421205"/>
              <a:gd name="connsiteX9" fmla="*/ 532906 w 608274"/>
              <a:gd name="connsiteY9" fmla="*/ 373212 h 421205"/>
              <a:gd name="connsiteX10" fmla="*/ 574097 w 608274"/>
              <a:gd name="connsiteY10" fmla="*/ 373212 h 421205"/>
              <a:gd name="connsiteX11" fmla="*/ 574097 w 608274"/>
              <a:gd name="connsiteY11" fmla="*/ 290447 h 421205"/>
              <a:gd name="connsiteX12" fmla="*/ 34034 w 608274"/>
              <a:gd name="connsiteY12" fmla="*/ 290447 h 421205"/>
              <a:gd name="connsiteX13" fmla="*/ 34034 w 608274"/>
              <a:gd name="connsiteY13" fmla="*/ 373212 h 421205"/>
              <a:gd name="connsiteX14" fmla="*/ 75298 w 608274"/>
              <a:gd name="connsiteY14" fmla="*/ 373212 h 421205"/>
              <a:gd name="connsiteX15" fmla="*/ 75298 w 608274"/>
              <a:gd name="connsiteY15" fmla="*/ 290447 h 421205"/>
              <a:gd name="connsiteX16" fmla="*/ 408547 w 608274"/>
              <a:gd name="connsiteY16" fmla="*/ 194325 h 421205"/>
              <a:gd name="connsiteX17" fmla="*/ 408547 w 608274"/>
              <a:gd name="connsiteY17" fmla="*/ 273989 h 421205"/>
              <a:gd name="connsiteX18" fmla="*/ 447040 w 608274"/>
              <a:gd name="connsiteY18" fmla="*/ 273989 h 421205"/>
              <a:gd name="connsiteX19" fmla="*/ 447040 w 608274"/>
              <a:gd name="connsiteY19" fmla="*/ 194325 h 421205"/>
              <a:gd name="connsiteX20" fmla="*/ 326109 w 608274"/>
              <a:gd name="connsiteY20" fmla="*/ 194325 h 421205"/>
              <a:gd name="connsiteX21" fmla="*/ 326109 w 608274"/>
              <a:gd name="connsiteY21" fmla="*/ 273989 h 421205"/>
              <a:gd name="connsiteX22" fmla="*/ 364602 w 608274"/>
              <a:gd name="connsiteY22" fmla="*/ 273989 h 421205"/>
              <a:gd name="connsiteX23" fmla="*/ 364602 w 608274"/>
              <a:gd name="connsiteY23" fmla="*/ 194325 h 421205"/>
              <a:gd name="connsiteX24" fmla="*/ 243671 w 608274"/>
              <a:gd name="connsiteY24" fmla="*/ 194325 h 421205"/>
              <a:gd name="connsiteX25" fmla="*/ 243671 w 608274"/>
              <a:gd name="connsiteY25" fmla="*/ 273989 h 421205"/>
              <a:gd name="connsiteX26" fmla="*/ 282164 w 608274"/>
              <a:gd name="connsiteY26" fmla="*/ 273989 h 421205"/>
              <a:gd name="connsiteX27" fmla="*/ 282164 w 608274"/>
              <a:gd name="connsiteY27" fmla="*/ 194325 h 421205"/>
              <a:gd name="connsiteX28" fmla="*/ 161233 w 608274"/>
              <a:gd name="connsiteY28" fmla="*/ 194325 h 421205"/>
              <a:gd name="connsiteX29" fmla="*/ 161233 w 608274"/>
              <a:gd name="connsiteY29" fmla="*/ 273989 h 421205"/>
              <a:gd name="connsiteX30" fmla="*/ 199726 w 608274"/>
              <a:gd name="connsiteY30" fmla="*/ 273989 h 421205"/>
              <a:gd name="connsiteX31" fmla="*/ 199726 w 608274"/>
              <a:gd name="connsiteY31" fmla="*/ 194325 h 421205"/>
              <a:gd name="connsiteX32" fmla="*/ 532906 w 608274"/>
              <a:gd name="connsiteY32" fmla="*/ 183352 h 421205"/>
              <a:gd name="connsiteX33" fmla="*/ 532906 w 608274"/>
              <a:gd name="connsiteY33" fmla="*/ 266228 h 421205"/>
              <a:gd name="connsiteX34" fmla="*/ 574097 w 608274"/>
              <a:gd name="connsiteY34" fmla="*/ 266228 h 421205"/>
              <a:gd name="connsiteX35" fmla="*/ 574097 w 608274"/>
              <a:gd name="connsiteY35" fmla="*/ 183352 h 421205"/>
              <a:gd name="connsiteX36" fmla="*/ 34034 w 608274"/>
              <a:gd name="connsiteY36" fmla="*/ 183352 h 421205"/>
              <a:gd name="connsiteX37" fmla="*/ 34034 w 608274"/>
              <a:gd name="connsiteY37" fmla="*/ 266228 h 421205"/>
              <a:gd name="connsiteX38" fmla="*/ 75298 w 608274"/>
              <a:gd name="connsiteY38" fmla="*/ 266228 h 421205"/>
              <a:gd name="connsiteX39" fmla="*/ 75298 w 608274"/>
              <a:gd name="connsiteY39" fmla="*/ 183352 h 421205"/>
              <a:gd name="connsiteX40" fmla="*/ 500732 w 608274"/>
              <a:gd name="connsiteY40" fmla="*/ 144024 h 421205"/>
              <a:gd name="connsiteX41" fmla="*/ 608274 w 608274"/>
              <a:gd name="connsiteY41" fmla="*/ 144024 h 421205"/>
              <a:gd name="connsiteX42" fmla="*/ 608274 w 608274"/>
              <a:gd name="connsiteY42" fmla="*/ 421205 h 421205"/>
              <a:gd name="connsiteX43" fmla="*/ 500732 w 608274"/>
              <a:gd name="connsiteY43" fmla="*/ 421205 h 421205"/>
              <a:gd name="connsiteX44" fmla="*/ 0 w 608274"/>
              <a:gd name="connsiteY44" fmla="*/ 144024 h 421205"/>
              <a:gd name="connsiteX45" fmla="*/ 107330 w 608274"/>
              <a:gd name="connsiteY45" fmla="*/ 144024 h 421205"/>
              <a:gd name="connsiteX46" fmla="*/ 107330 w 608274"/>
              <a:gd name="connsiteY46" fmla="*/ 421205 h 421205"/>
              <a:gd name="connsiteX47" fmla="*/ 0 w 608274"/>
              <a:gd name="connsiteY47" fmla="*/ 421205 h 421205"/>
              <a:gd name="connsiteX48" fmla="*/ 408547 w 608274"/>
              <a:gd name="connsiteY48" fmla="*/ 95552 h 421205"/>
              <a:gd name="connsiteX49" fmla="*/ 408547 w 608274"/>
              <a:gd name="connsiteY49" fmla="*/ 175104 h 421205"/>
              <a:gd name="connsiteX50" fmla="*/ 447040 w 608274"/>
              <a:gd name="connsiteY50" fmla="*/ 175104 h 421205"/>
              <a:gd name="connsiteX51" fmla="*/ 447040 w 608274"/>
              <a:gd name="connsiteY51" fmla="*/ 95552 h 421205"/>
              <a:gd name="connsiteX52" fmla="*/ 326109 w 608274"/>
              <a:gd name="connsiteY52" fmla="*/ 95552 h 421205"/>
              <a:gd name="connsiteX53" fmla="*/ 326109 w 608274"/>
              <a:gd name="connsiteY53" fmla="*/ 175104 h 421205"/>
              <a:gd name="connsiteX54" fmla="*/ 364602 w 608274"/>
              <a:gd name="connsiteY54" fmla="*/ 175104 h 421205"/>
              <a:gd name="connsiteX55" fmla="*/ 364602 w 608274"/>
              <a:gd name="connsiteY55" fmla="*/ 95552 h 421205"/>
              <a:gd name="connsiteX56" fmla="*/ 243671 w 608274"/>
              <a:gd name="connsiteY56" fmla="*/ 95552 h 421205"/>
              <a:gd name="connsiteX57" fmla="*/ 243671 w 608274"/>
              <a:gd name="connsiteY57" fmla="*/ 175104 h 421205"/>
              <a:gd name="connsiteX58" fmla="*/ 282164 w 608274"/>
              <a:gd name="connsiteY58" fmla="*/ 175104 h 421205"/>
              <a:gd name="connsiteX59" fmla="*/ 282164 w 608274"/>
              <a:gd name="connsiteY59" fmla="*/ 95552 h 421205"/>
              <a:gd name="connsiteX60" fmla="*/ 161233 w 608274"/>
              <a:gd name="connsiteY60" fmla="*/ 95552 h 421205"/>
              <a:gd name="connsiteX61" fmla="*/ 161233 w 608274"/>
              <a:gd name="connsiteY61" fmla="*/ 175104 h 421205"/>
              <a:gd name="connsiteX62" fmla="*/ 199726 w 608274"/>
              <a:gd name="connsiteY62" fmla="*/ 175104 h 421205"/>
              <a:gd name="connsiteX63" fmla="*/ 199726 w 608274"/>
              <a:gd name="connsiteY63" fmla="*/ 95552 h 421205"/>
              <a:gd name="connsiteX64" fmla="*/ 304081 w 608274"/>
              <a:gd name="connsiteY64" fmla="*/ 0 h 421205"/>
              <a:gd name="connsiteX65" fmla="*/ 398868 w 608274"/>
              <a:gd name="connsiteY65" fmla="*/ 24666 h 421205"/>
              <a:gd name="connsiteX66" fmla="*/ 398868 w 608274"/>
              <a:gd name="connsiteY66" fmla="*/ 56220 h 421205"/>
              <a:gd name="connsiteX67" fmla="*/ 475187 w 608274"/>
              <a:gd name="connsiteY67" fmla="*/ 56220 h 421205"/>
              <a:gd name="connsiteX68" fmla="*/ 475187 w 608274"/>
              <a:gd name="connsiteY68" fmla="*/ 421205 h 421205"/>
              <a:gd name="connsiteX69" fmla="*/ 373280 w 608274"/>
              <a:gd name="connsiteY69" fmla="*/ 421205 h 421205"/>
              <a:gd name="connsiteX70" fmla="*/ 373280 w 608274"/>
              <a:gd name="connsiteY70" fmla="*/ 306876 h 421205"/>
              <a:gd name="connsiteX71" fmla="*/ 316430 w 608274"/>
              <a:gd name="connsiteY71" fmla="*/ 306876 h 421205"/>
              <a:gd name="connsiteX72" fmla="*/ 316430 w 608274"/>
              <a:gd name="connsiteY72" fmla="*/ 421205 h 421205"/>
              <a:gd name="connsiteX73" fmla="*/ 291732 w 608274"/>
              <a:gd name="connsiteY73" fmla="*/ 421205 h 421205"/>
              <a:gd name="connsiteX74" fmla="*/ 291732 w 608274"/>
              <a:gd name="connsiteY74" fmla="*/ 306876 h 421205"/>
              <a:gd name="connsiteX75" fmla="*/ 234993 w 608274"/>
              <a:gd name="connsiteY75" fmla="*/ 306876 h 421205"/>
              <a:gd name="connsiteX76" fmla="*/ 234993 w 608274"/>
              <a:gd name="connsiteY76" fmla="*/ 421205 h 421205"/>
              <a:gd name="connsiteX77" fmla="*/ 133086 w 608274"/>
              <a:gd name="connsiteY77" fmla="*/ 421205 h 421205"/>
              <a:gd name="connsiteX78" fmla="*/ 133086 w 608274"/>
              <a:gd name="connsiteY78" fmla="*/ 56220 h 421205"/>
              <a:gd name="connsiteX79" fmla="*/ 209294 w 608274"/>
              <a:gd name="connsiteY79" fmla="*/ 56220 h 421205"/>
              <a:gd name="connsiteX80" fmla="*/ 209294 w 608274"/>
              <a:gd name="connsiteY80" fmla="*/ 24666 h 421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</a:cxnLst>
            <a:rect l="l" t="t" r="r" b="b"/>
            <a:pathLst>
              <a:path w="608274" h="421205">
                <a:moveTo>
                  <a:pt x="408547" y="293099"/>
                </a:moveTo>
                <a:lnTo>
                  <a:pt x="408547" y="372763"/>
                </a:lnTo>
                <a:lnTo>
                  <a:pt x="447040" y="372763"/>
                </a:lnTo>
                <a:lnTo>
                  <a:pt x="447040" y="293099"/>
                </a:lnTo>
                <a:close/>
                <a:moveTo>
                  <a:pt x="161233" y="293099"/>
                </a:moveTo>
                <a:lnTo>
                  <a:pt x="161233" y="372763"/>
                </a:lnTo>
                <a:lnTo>
                  <a:pt x="199726" y="372763"/>
                </a:lnTo>
                <a:lnTo>
                  <a:pt x="199726" y="293099"/>
                </a:lnTo>
                <a:close/>
                <a:moveTo>
                  <a:pt x="532906" y="290447"/>
                </a:moveTo>
                <a:lnTo>
                  <a:pt x="532906" y="373212"/>
                </a:lnTo>
                <a:lnTo>
                  <a:pt x="574097" y="373212"/>
                </a:lnTo>
                <a:lnTo>
                  <a:pt x="574097" y="290447"/>
                </a:lnTo>
                <a:close/>
                <a:moveTo>
                  <a:pt x="34034" y="290447"/>
                </a:moveTo>
                <a:lnTo>
                  <a:pt x="34034" y="373212"/>
                </a:lnTo>
                <a:lnTo>
                  <a:pt x="75298" y="373212"/>
                </a:lnTo>
                <a:lnTo>
                  <a:pt x="75298" y="290447"/>
                </a:lnTo>
                <a:close/>
                <a:moveTo>
                  <a:pt x="408547" y="194325"/>
                </a:moveTo>
                <a:lnTo>
                  <a:pt x="408547" y="273989"/>
                </a:lnTo>
                <a:lnTo>
                  <a:pt x="447040" y="273989"/>
                </a:lnTo>
                <a:lnTo>
                  <a:pt x="447040" y="194325"/>
                </a:lnTo>
                <a:close/>
                <a:moveTo>
                  <a:pt x="326109" y="194325"/>
                </a:moveTo>
                <a:lnTo>
                  <a:pt x="326109" y="273989"/>
                </a:lnTo>
                <a:lnTo>
                  <a:pt x="364602" y="273989"/>
                </a:lnTo>
                <a:lnTo>
                  <a:pt x="364602" y="194325"/>
                </a:lnTo>
                <a:close/>
                <a:moveTo>
                  <a:pt x="243671" y="194325"/>
                </a:moveTo>
                <a:lnTo>
                  <a:pt x="243671" y="273989"/>
                </a:lnTo>
                <a:lnTo>
                  <a:pt x="282164" y="273989"/>
                </a:lnTo>
                <a:lnTo>
                  <a:pt x="282164" y="194325"/>
                </a:lnTo>
                <a:close/>
                <a:moveTo>
                  <a:pt x="161233" y="194325"/>
                </a:moveTo>
                <a:lnTo>
                  <a:pt x="161233" y="273989"/>
                </a:lnTo>
                <a:lnTo>
                  <a:pt x="199726" y="273989"/>
                </a:lnTo>
                <a:lnTo>
                  <a:pt x="199726" y="194325"/>
                </a:lnTo>
                <a:close/>
                <a:moveTo>
                  <a:pt x="532906" y="183352"/>
                </a:moveTo>
                <a:lnTo>
                  <a:pt x="532906" y="266228"/>
                </a:lnTo>
                <a:lnTo>
                  <a:pt x="574097" y="266228"/>
                </a:lnTo>
                <a:lnTo>
                  <a:pt x="574097" y="183352"/>
                </a:lnTo>
                <a:close/>
                <a:moveTo>
                  <a:pt x="34034" y="183352"/>
                </a:moveTo>
                <a:lnTo>
                  <a:pt x="34034" y="266228"/>
                </a:lnTo>
                <a:lnTo>
                  <a:pt x="75298" y="266228"/>
                </a:lnTo>
                <a:lnTo>
                  <a:pt x="75298" y="183352"/>
                </a:lnTo>
                <a:close/>
                <a:moveTo>
                  <a:pt x="500732" y="144024"/>
                </a:moveTo>
                <a:lnTo>
                  <a:pt x="608274" y="144024"/>
                </a:lnTo>
                <a:lnTo>
                  <a:pt x="608274" y="421205"/>
                </a:lnTo>
                <a:lnTo>
                  <a:pt x="500732" y="421205"/>
                </a:lnTo>
                <a:close/>
                <a:moveTo>
                  <a:pt x="0" y="144024"/>
                </a:moveTo>
                <a:lnTo>
                  <a:pt x="107330" y="144024"/>
                </a:lnTo>
                <a:lnTo>
                  <a:pt x="107330" y="421205"/>
                </a:lnTo>
                <a:lnTo>
                  <a:pt x="0" y="421205"/>
                </a:lnTo>
                <a:close/>
                <a:moveTo>
                  <a:pt x="408547" y="95552"/>
                </a:moveTo>
                <a:lnTo>
                  <a:pt x="408547" y="175104"/>
                </a:lnTo>
                <a:lnTo>
                  <a:pt x="447040" y="175104"/>
                </a:lnTo>
                <a:lnTo>
                  <a:pt x="447040" y="95552"/>
                </a:lnTo>
                <a:close/>
                <a:moveTo>
                  <a:pt x="326109" y="95552"/>
                </a:moveTo>
                <a:lnTo>
                  <a:pt x="326109" y="175104"/>
                </a:lnTo>
                <a:lnTo>
                  <a:pt x="364602" y="175104"/>
                </a:lnTo>
                <a:lnTo>
                  <a:pt x="364602" y="95552"/>
                </a:lnTo>
                <a:close/>
                <a:moveTo>
                  <a:pt x="243671" y="95552"/>
                </a:moveTo>
                <a:lnTo>
                  <a:pt x="243671" y="175104"/>
                </a:lnTo>
                <a:lnTo>
                  <a:pt x="282164" y="175104"/>
                </a:lnTo>
                <a:lnTo>
                  <a:pt x="282164" y="95552"/>
                </a:lnTo>
                <a:close/>
                <a:moveTo>
                  <a:pt x="161233" y="95552"/>
                </a:moveTo>
                <a:lnTo>
                  <a:pt x="161233" y="175104"/>
                </a:lnTo>
                <a:lnTo>
                  <a:pt x="199726" y="175104"/>
                </a:lnTo>
                <a:lnTo>
                  <a:pt x="199726" y="95552"/>
                </a:lnTo>
                <a:close/>
                <a:moveTo>
                  <a:pt x="304081" y="0"/>
                </a:moveTo>
                <a:lnTo>
                  <a:pt x="398868" y="24666"/>
                </a:lnTo>
                <a:lnTo>
                  <a:pt x="398868" y="56220"/>
                </a:lnTo>
                <a:lnTo>
                  <a:pt x="475187" y="56220"/>
                </a:lnTo>
                <a:lnTo>
                  <a:pt x="475187" y="421205"/>
                </a:lnTo>
                <a:lnTo>
                  <a:pt x="373280" y="421205"/>
                </a:lnTo>
                <a:lnTo>
                  <a:pt x="373280" y="306876"/>
                </a:lnTo>
                <a:lnTo>
                  <a:pt x="316430" y="306876"/>
                </a:lnTo>
                <a:lnTo>
                  <a:pt x="316430" y="421205"/>
                </a:lnTo>
                <a:lnTo>
                  <a:pt x="291732" y="421205"/>
                </a:lnTo>
                <a:lnTo>
                  <a:pt x="291732" y="306876"/>
                </a:lnTo>
                <a:lnTo>
                  <a:pt x="234993" y="306876"/>
                </a:lnTo>
                <a:lnTo>
                  <a:pt x="234993" y="421205"/>
                </a:lnTo>
                <a:lnTo>
                  <a:pt x="133086" y="421205"/>
                </a:lnTo>
                <a:lnTo>
                  <a:pt x="133086" y="56220"/>
                </a:lnTo>
                <a:lnTo>
                  <a:pt x="209294" y="56220"/>
                </a:lnTo>
                <a:lnTo>
                  <a:pt x="209294" y="2466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20" name="椭圆 19">
            <a:extLst>
              <a:ext uri="{FF2B5EF4-FFF2-40B4-BE49-F238E27FC236}">
                <a16:creationId xmlns:a16="http://schemas.microsoft.com/office/drawing/2014/main" id="{0E781B5E-BA9B-4447-A6A5-88773DF8FA2A}"/>
              </a:ext>
            </a:extLst>
          </p:cNvPr>
          <p:cNvSpPr/>
          <p:nvPr/>
        </p:nvSpPr>
        <p:spPr>
          <a:xfrm>
            <a:off x="5730142" y="5117486"/>
            <a:ext cx="807027" cy="807027"/>
          </a:xfrm>
          <a:prstGeom prst="ellipse">
            <a:avLst/>
          </a:prstGeom>
          <a:solidFill>
            <a:schemeClr val="accent2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en-US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21" name="任意多边形: 形状 20">
            <a:extLst>
              <a:ext uri="{FF2B5EF4-FFF2-40B4-BE49-F238E27FC236}">
                <a16:creationId xmlns:a16="http://schemas.microsoft.com/office/drawing/2014/main" id="{3D8ECE53-EE9E-4CF0-A7CC-BD5FBC77AA92}"/>
              </a:ext>
            </a:extLst>
          </p:cNvPr>
          <p:cNvSpPr/>
          <p:nvPr/>
        </p:nvSpPr>
        <p:spPr bwMode="auto">
          <a:xfrm>
            <a:off x="5922559" y="5374824"/>
            <a:ext cx="422192" cy="292350"/>
          </a:xfrm>
          <a:custGeom>
            <a:avLst/>
            <a:gdLst>
              <a:gd name="connsiteX0" fmla="*/ 408547 w 608274"/>
              <a:gd name="connsiteY0" fmla="*/ 293099 h 421205"/>
              <a:gd name="connsiteX1" fmla="*/ 408547 w 608274"/>
              <a:gd name="connsiteY1" fmla="*/ 372763 h 421205"/>
              <a:gd name="connsiteX2" fmla="*/ 447040 w 608274"/>
              <a:gd name="connsiteY2" fmla="*/ 372763 h 421205"/>
              <a:gd name="connsiteX3" fmla="*/ 447040 w 608274"/>
              <a:gd name="connsiteY3" fmla="*/ 293099 h 421205"/>
              <a:gd name="connsiteX4" fmla="*/ 161233 w 608274"/>
              <a:gd name="connsiteY4" fmla="*/ 293099 h 421205"/>
              <a:gd name="connsiteX5" fmla="*/ 161233 w 608274"/>
              <a:gd name="connsiteY5" fmla="*/ 372763 h 421205"/>
              <a:gd name="connsiteX6" fmla="*/ 199726 w 608274"/>
              <a:gd name="connsiteY6" fmla="*/ 372763 h 421205"/>
              <a:gd name="connsiteX7" fmla="*/ 199726 w 608274"/>
              <a:gd name="connsiteY7" fmla="*/ 293099 h 421205"/>
              <a:gd name="connsiteX8" fmla="*/ 532906 w 608274"/>
              <a:gd name="connsiteY8" fmla="*/ 290447 h 421205"/>
              <a:gd name="connsiteX9" fmla="*/ 532906 w 608274"/>
              <a:gd name="connsiteY9" fmla="*/ 373212 h 421205"/>
              <a:gd name="connsiteX10" fmla="*/ 574097 w 608274"/>
              <a:gd name="connsiteY10" fmla="*/ 373212 h 421205"/>
              <a:gd name="connsiteX11" fmla="*/ 574097 w 608274"/>
              <a:gd name="connsiteY11" fmla="*/ 290447 h 421205"/>
              <a:gd name="connsiteX12" fmla="*/ 34034 w 608274"/>
              <a:gd name="connsiteY12" fmla="*/ 290447 h 421205"/>
              <a:gd name="connsiteX13" fmla="*/ 34034 w 608274"/>
              <a:gd name="connsiteY13" fmla="*/ 373212 h 421205"/>
              <a:gd name="connsiteX14" fmla="*/ 75298 w 608274"/>
              <a:gd name="connsiteY14" fmla="*/ 373212 h 421205"/>
              <a:gd name="connsiteX15" fmla="*/ 75298 w 608274"/>
              <a:gd name="connsiteY15" fmla="*/ 290447 h 421205"/>
              <a:gd name="connsiteX16" fmla="*/ 408547 w 608274"/>
              <a:gd name="connsiteY16" fmla="*/ 194325 h 421205"/>
              <a:gd name="connsiteX17" fmla="*/ 408547 w 608274"/>
              <a:gd name="connsiteY17" fmla="*/ 273989 h 421205"/>
              <a:gd name="connsiteX18" fmla="*/ 447040 w 608274"/>
              <a:gd name="connsiteY18" fmla="*/ 273989 h 421205"/>
              <a:gd name="connsiteX19" fmla="*/ 447040 w 608274"/>
              <a:gd name="connsiteY19" fmla="*/ 194325 h 421205"/>
              <a:gd name="connsiteX20" fmla="*/ 326109 w 608274"/>
              <a:gd name="connsiteY20" fmla="*/ 194325 h 421205"/>
              <a:gd name="connsiteX21" fmla="*/ 326109 w 608274"/>
              <a:gd name="connsiteY21" fmla="*/ 273989 h 421205"/>
              <a:gd name="connsiteX22" fmla="*/ 364602 w 608274"/>
              <a:gd name="connsiteY22" fmla="*/ 273989 h 421205"/>
              <a:gd name="connsiteX23" fmla="*/ 364602 w 608274"/>
              <a:gd name="connsiteY23" fmla="*/ 194325 h 421205"/>
              <a:gd name="connsiteX24" fmla="*/ 243671 w 608274"/>
              <a:gd name="connsiteY24" fmla="*/ 194325 h 421205"/>
              <a:gd name="connsiteX25" fmla="*/ 243671 w 608274"/>
              <a:gd name="connsiteY25" fmla="*/ 273989 h 421205"/>
              <a:gd name="connsiteX26" fmla="*/ 282164 w 608274"/>
              <a:gd name="connsiteY26" fmla="*/ 273989 h 421205"/>
              <a:gd name="connsiteX27" fmla="*/ 282164 w 608274"/>
              <a:gd name="connsiteY27" fmla="*/ 194325 h 421205"/>
              <a:gd name="connsiteX28" fmla="*/ 161233 w 608274"/>
              <a:gd name="connsiteY28" fmla="*/ 194325 h 421205"/>
              <a:gd name="connsiteX29" fmla="*/ 161233 w 608274"/>
              <a:gd name="connsiteY29" fmla="*/ 273989 h 421205"/>
              <a:gd name="connsiteX30" fmla="*/ 199726 w 608274"/>
              <a:gd name="connsiteY30" fmla="*/ 273989 h 421205"/>
              <a:gd name="connsiteX31" fmla="*/ 199726 w 608274"/>
              <a:gd name="connsiteY31" fmla="*/ 194325 h 421205"/>
              <a:gd name="connsiteX32" fmla="*/ 532906 w 608274"/>
              <a:gd name="connsiteY32" fmla="*/ 183352 h 421205"/>
              <a:gd name="connsiteX33" fmla="*/ 532906 w 608274"/>
              <a:gd name="connsiteY33" fmla="*/ 266228 h 421205"/>
              <a:gd name="connsiteX34" fmla="*/ 574097 w 608274"/>
              <a:gd name="connsiteY34" fmla="*/ 266228 h 421205"/>
              <a:gd name="connsiteX35" fmla="*/ 574097 w 608274"/>
              <a:gd name="connsiteY35" fmla="*/ 183352 h 421205"/>
              <a:gd name="connsiteX36" fmla="*/ 34034 w 608274"/>
              <a:gd name="connsiteY36" fmla="*/ 183352 h 421205"/>
              <a:gd name="connsiteX37" fmla="*/ 34034 w 608274"/>
              <a:gd name="connsiteY37" fmla="*/ 266228 h 421205"/>
              <a:gd name="connsiteX38" fmla="*/ 75298 w 608274"/>
              <a:gd name="connsiteY38" fmla="*/ 266228 h 421205"/>
              <a:gd name="connsiteX39" fmla="*/ 75298 w 608274"/>
              <a:gd name="connsiteY39" fmla="*/ 183352 h 421205"/>
              <a:gd name="connsiteX40" fmla="*/ 500732 w 608274"/>
              <a:gd name="connsiteY40" fmla="*/ 144024 h 421205"/>
              <a:gd name="connsiteX41" fmla="*/ 608274 w 608274"/>
              <a:gd name="connsiteY41" fmla="*/ 144024 h 421205"/>
              <a:gd name="connsiteX42" fmla="*/ 608274 w 608274"/>
              <a:gd name="connsiteY42" fmla="*/ 421205 h 421205"/>
              <a:gd name="connsiteX43" fmla="*/ 500732 w 608274"/>
              <a:gd name="connsiteY43" fmla="*/ 421205 h 421205"/>
              <a:gd name="connsiteX44" fmla="*/ 0 w 608274"/>
              <a:gd name="connsiteY44" fmla="*/ 144024 h 421205"/>
              <a:gd name="connsiteX45" fmla="*/ 107330 w 608274"/>
              <a:gd name="connsiteY45" fmla="*/ 144024 h 421205"/>
              <a:gd name="connsiteX46" fmla="*/ 107330 w 608274"/>
              <a:gd name="connsiteY46" fmla="*/ 421205 h 421205"/>
              <a:gd name="connsiteX47" fmla="*/ 0 w 608274"/>
              <a:gd name="connsiteY47" fmla="*/ 421205 h 421205"/>
              <a:gd name="connsiteX48" fmla="*/ 408547 w 608274"/>
              <a:gd name="connsiteY48" fmla="*/ 95552 h 421205"/>
              <a:gd name="connsiteX49" fmla="*/ 408547 w 608274"/>
              <a:gd name="connsiteY49" fmla="*/ 175104 h 421205"/>
              <a:gd name="connsiteX50" fmla="*/ 447040 w 608274"/>
              <a:gd name="connsiteY50" fmla="*/ 175104 h 421205"/>
              <a:gd name="connsiteX51" fmla="*/ 447040 w 608274"/>
              <a:gd name="connsiteY51" fmla="*/ 95552 h 421205"/>
              <a:gd name="connsiteX52" fmla="*/ 326109 w 608274"/>
              <a:gd name="connsiteY52" fmla="*/ 95552 h 421205"/>
              <a:gd name="connsiteX53" fmla="*/ 326109 w 608274"/>
              <a:gd name="connsiteY53" fmla="*/ 175104 h 421205"/>
              <a:gd name="connsiteX54" fmla="*/ 364602 w 608274"/>
              <a:gd name="connsiteY54" fmla="*/ 175104 h 421205"/>
              <a:gd name="connsiteX55" fmla="*/ 364602 w 608274"/>
              <a:gd name="connsiteY55" fmla="*/ 95552 h 421205"/>
              <a:gd name="connsiteX56" fmla="*/ 243671 w 608274"/>
              <a:gd name="connsiteY56" fmla="*/ 95552 h 421205"/>
              <a:gd name="connsiteX57" fmla="*/ 243671 w 608274"/>
              <a:gd name="connsiteY57" fmla="*/ 175104 h 421205"/>
              <a:gd name="connsiteX58" fmla="*/ 282164 w 608274"/>
              <a:gd name="connsiteY58" fmla="*/ 175104 h 421205"/>
              <a:gd name="connsiteX59" fmla="*/ 282164 w 608274"/>
              <a:gd name="connsiteY59" fmla="*/ 95552 h 421205"/>
              <a:gd name="connsiteX60" fmla="*/ 161233 w 608274"/>
              <a:gd name="connsiteY60" fmla="*/ 95552 h 421205"/>
              <a:gd name="connsiteX61" fmla="*/ 161233 w 608274"/>
              <a:gd name="connsiteY61" fmla="*/ 175104 h 421205"/>
              <a:gd name="connsiteX62" fmla="*/ 199726 w 608274"/>
              <a:gd name="connsiteY62" fmla="*/ 175104 h 421205"/>
              <a:gd name="connsiteX63" fmla="*/ 199726 w 608274"/>
              <a:gd name="connsiteY63" fmla="*/ 95552 h 421205"/>
              <a:gd name="connsiteX64" fmla="*/ 304081 w 608274"/>
              <a:gd name="connsiteY64" fmla="*/ 0 h 421205"/>
              <a:gd name="connsiteX65" fmla="*/ 398868 w 608274"/>
              <a:gd name="connsiteY65" fmla="*/ 24666 h 421205"/>
              <a:gd name="connsiteX66" fmla="*/ 398868 w 608274"/>
              <a:gd name="connsiteY66" fmla="*/ 56220 h 421205"/>
              <a:gd name="connsiteX67" fmla="*/ 475187 w 608274"/>
              <a:gd name="connsiteY67" fmla="*/ 56220 h 421205"/>
              <a:gd name="connsiteX68" fmla="*/ 475187 w 608274"/>
              <a:gd name="connsiteY68" fmla="*/ 421205 h 421205"/>
              <a:gd name="connsiteX69" fmla="*/ 373280 w 608274"/>
              <a:gd name="connsiteY69" fmla="*/ 421205 h 421205"/>
              <a:gd name="connsiteX70" fmla="*/ 373280 w 608274"/>
              <a:gd name="connsiteY70" fmla="*/ 306876 h 421205"/>
              <a:gd name="connsiteX71" fmla="*/ 316430 w 608274"/>
              <a:gd name="connsiteY71" fmla="*/ 306876 h 421205"/>
              <a:gd name="connsiteX72" fmla="*/ 316430 w 608274"/>
              <a:gd name="connsiteY72" fmla="*/ 421205 h 421205"/>
              <a:gd name="connsiteX73" fmla="*/ 291732 w 608274"/>
              <a:gd name="connsiteY73" fmla="*/ 421205 h 421205"/>
              <a:gd name="connsiteX74" fmla="*/ 291732 w 608274"/>
              <a:gd name="connsiteY74" fmla="*/ 306876 h 421205"/>
              <a:gd name="connsiteX75" fmla="*/ 234993 w 608274"/>
              <a:gd name="connsiteY75" fmla="*/ 306876 h 421205"/>
              <a:gd name="connsiteX76" fmla="*/ 234993 w 608274"/>
              <a:gd name="connsiteY76" fmla="*/ 421205 h 421205"/>
              <a:gd name="connsiteX77" fmla="*/ 133086 w 608274"/>
              <a:gd name="connsiteY77" fmla="*/ 421205 h 421205"/>
              <a:gd name="connsiteX78" fmla="*/ 133086 w 608274"/>
              <a:gd name="connsiteY78" fmla="*/ 56220 h 421205"/>
              <a:gd name="connsiteX79" fmla="*/ 209294 w 608274"/>
              <a:gd name="connsiteY79" fmla="*/ 56220 h 421205"/>
              <a:gd name="connsiteX80" fmla="*/ 209294 w 608274"/>
              <a:gd name="connsiteY80" fmla="*/ 24666 h 421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</a:cxnLst>
            <a:rect l="l" t="t" r="r" b="b"/>
            <a:pathLst>
              <a:path w="608274" h="421205">
                <a:moveTo>
                  <a:pt x="408547" y="293099"/>
                </a:moveTo>
                <a:lnTo>
                  <a:pt x="408547" y="372763"/>
                </a:lnTo>
                <a:lnTo>
                  <a:pt x="447040" y="372763"/>
                </a:lnTo>
                <a:lnTo>
                  <a:pt x="447040" y="293099"/>
                </a:lnTo>
                <a:close/>
                <a:moveTo>
                  <a:pt x="161233" y="293099"/>
                </a:moveTo>
                <a:lnTo>
                  <a:pt x="161233" y="372763"/>
                </a:lnTo>
                <a:lnTo>
                  <a:pt x="199726" y="372763"/>
                </a:lnTo>
                <a:lnTo>
                  <a:pt x="199726" y="293099"/>
                </a:lnTo>
                <a:close/>
                <a:moveTo>
                  <a:pt x="532906" y="290447"/>
                </a:moveTo>
                <a:lnTo>
                  <a:pt x="532906" y="373212"/>
                </a:lnTo>
                <a:lnTo>
                  <a:pt x="574097" y="373212"/>
                </a:lnTo>
                <a:lnTo>
                  <a:pt x="574097" y="290447"/>
                </a:lnTo>
                <a:close/>
                <a:moveTo>
                  <a:pt x="34034" y="290447"/>
                </a:moveTo>
                <a:lnTo>
                  <a:pt x="34034" y="373212"/>
                </a:lnTo>
                <a:lnTo>
                  <a:pt x="75298" y="373212"/>
                </a:lnTo>
                <a:lnTo>
                  <a:pt x="75298" y="290447"/>
                </a:lnTo>
                <a:close/>
                <a:moveTo>
                  <a:pt x="408547" y="194325"/>
                </a:moveTo>
                <a:lnTo>
                  <a:pt x="408547" y="273989"/>
                </a:lnTo>
                <a:lnTo>
                  <a:pt x="447040" y="273989"/>
                </a:lnTo>
                <a:lnTo>
                  <a:pt x="447040" y="194325"/>
                </a:lnTo>
                <a:close/>
                <a:moveTo>
                  <a:pt x="326109" y="194325"/>
                </a:moveTo>
                <a:lnTo>
                  <a:pt x="326109" y="273989"/>
                </a:lnTo>
                <a:lnTo>
                  <a:pt x="364602" y="273989"/>
                </a:lnTo>
                <a:lnTo>
                  <a:pt x="364602" y="194325"/>
                </a:lnTo>
                <a:close/>
                <a:moveTo>
                  <a:pt x="243671" y="194325"/>
                </a:moveTo>
                <a:lnTo>
                  <a:pt x="243671" y="273989"/>
                </a:lnTo>
                <a:lnTo>
                  <a:pt x="282164" y="273989"/>
                </a:lnTo>
                <a:lnTo>
                  <a:pt x="282164" y="194325"/>
                </a:lnTo>
                <a:close/>
                <a:moveTo>
                  <a:pt x="161233" y="194325"/>
                </a:moveTo>
                <a:lnTo>
                  <a:pt x="161233" y="273989"/>
                </a:lnTo>
                <a:lnTo>
                  <a:pt x="199726" y="273989"/>
                </a:lnTo>
                <a:lnTo>
                  <a:pt x="199726" y="194325"/>
                </a:lnTo>
                <a:close/>
                <a:moveTo>
                  <a:pt x="532906" y="183352"/>
                </a:moveTo>
                <a:lnTo>
                  <a:pt x="532906" y="266228"/>
                </a:lnTo>
                <a:lnTo>
                  <a:pt x="574097" y="266228"/>
                </a:lnTo>
                <a:lnTo>
                  <a:pt x="574097" y="183352"/>
                </a:lnTo>
                <a:close/>
                <a:moveTo>
                  <a:pt x="34034" y="183352"/>
                </a:moveTo>
                <a:lnTo>
                  <a:pt x="34034" y="266228"/>
                </a:lnTo>
                <a:lnTo>
                  <a:pt x="75298" y="266228"/>
                </a:lnTo>
                <a:lnTo>
                  <a:pt x="75298" y="183352"/>
                </a:lnTo>
                <a:close/>
                <a:moveTo>
                  <a:pt x="500732" y="144024"/>
                </a:moveTo>
                <a:lnTo>
                  <a:pt x="608274" y="144024"/>
                </a:lnTo>
                <a:lnTo>
                  <a:pt x="608274" y="421205"/>
                </a:lnTo>
                <a:lnTo>
                  <a:pt x="500732" y="421205"/>
                </a:lnTo>
                <a:close/>
                <a:moveTo>
                  <a:pt x="0" y="144024"/>
                </a:moveTo>
                <a:lnTo>
                  <a:pt x="107330" y="144024"/>
                </a:lnTo>
                <a:lnTo>
                  <a:pt x="107330" y="421205"/>
                </a:lnTo>
                <a:lnTo>
                  <a:pt x="0" y="421205"/>
                </a:lnTo>
                <a:close/>
                <a:moveTo>
                  <a:pt x="408547" y="95552"/>
                </a:moveTo>
                <a:lnTo>
                  <a:pt x="408547" y="175104"/>
                </a:lnTo>
                <a:lnTo>
                  <a:pt x="447040" y="175104"/>
                </a:lnTo>
                <a:lnTo>
                  <a:pt x="447040" y="95552"/>
                </a:lnTo>
                <a:close/>
                <a:moveTo>
                  <a:pt x="326109" y="95552"/>
                </a:moveTo>
                <a:lnTo>
                  <a:pt x="326109" y="175104"/>
                </a:lnTo>
                <a:lnTo>
                  <a:pt x="364602" y="175104"/>
                </a:lnTo>
                <a:lnTo>
                  <a:pt x="364602" y="95552"/>
                </a:lnTo>
                <a:close/>
                <a:moveTo>
                  <a:pt x="243671" y="95552"/>
                </a:moveTo>
                <a:lnTo>
                  <a:pt x="243671" y="175104"/>
                </a:lnTo>
                <a:lnTo>
                  <a:pt x="282164" y="175104"/>
                </a:lnTo>
                <a:lnTo>
                  <a:pt x="282164" y="95552"/>
                </a:lnTo>
                <a:close/>
                <a:moveTo>
                  <a:pt x="161233" y="95552"/>
                </a:moveTo>
                <a:lnTo>
                  <a:pt x="161233" y="175104"/>
                </a:lnTo>
                <a:lnTo>
                  <a:pt x="199726" y="175104"/>
                </a:lnTo>
                <a:lnTo>
                  <a:pt x="199726" y="95552"/>
                </a:lnTo>
                <a:close/>
                <a:moveTo>
                  <a:pt x="304081" y="0"/>
                </a:moveTo>
                <a:lnTo>
                  <a:pt x="398868" y="24666"/>
                </a:lnTo>
                <a:lnTo>
                  <a:pt x="398868" y="56220"/>
                </a:lnTo>
                <a:lnTo>
                  <a:pt x="475187" y="56220"/>
                </a:lnTo>
                <a:lnTo>
                  <a:pt x="475187" y="421205"/>
                </a:lnTo>
                <a:lnTo>
                  <a:pt x="373280" y="421205"/>
                </a:lnTo>
                <a:lnTo>
                  <a:pt x="373280" y="306876"/>
                </a:lnTo>
                <a:lnTo>
                  <a:pt x="316430" y="306876"/>
                </a:lnTo>
                <a:lnTo>
                  <a:pt x="316430" y="421205"/>
                </a:lnTo>
                <a:lnTo>
                  <a:pt x="291732" y="421205"/>
                </a:lnTo>
                <a:lnTo>
                  <a:pt x="291732" y="306876"/>
                </a:lnTo>
                <a:lnTo>
                  <a:pt x="234993" y="306876"/>
                </a:lnTo>
                <a:lnTo>
                  <a:pt x="234993" y="421205"/>
                </a:lnTo>
                <a:lnTo>
                  <a:pt x="133086" y="421205"/>
                </a:lnTo>
                <a:lnTo>
                  <a:pt x="133086" y="56220"/>
                </a:lnTo>
                <a:lnTo>
                  <a:pt x="209294" y="56220"/>
                </a:lnTo>
                <a:lnTo>
                  <a:pt x="209294" y="2466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D22F91B5-9432-4357-815C-9B58BAEAAA9E}"/>
              </a:ext>
            </a:extLst>
          </p:cNvPr>
          <p:cNvSpPr txBox="1"/>
          <p:nvPr/>
        </p:nvSpPr>
        <p:spPr bwMode="auto">
          <a:xfrm>
            <a:off x="6734748" y="1122028"/>
            <a:ext cx="3284341" cy="480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>
                <a:cs typeface="+mn-ea"/>
                <a:sym typeface="+mn-lt"/>
              </a:rPr>
              <a:t>Tex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b="1">
                <a:cs typeface="+mn-ea"/>
                <a:sym typeface="+mn-lt"/>
              </a:rPr>
              <a:t>t </a:t>
            </a:r>
            <a:r>
              <a:rPr lang="en-US" altLang="zh-CN" b="1" dirty="0">
                <a:cs typeface="+mn-ea"/>
                <a:sym typeface="+mn-lt"/>
              </a:rPr>
              <a:t>here</a:t>
            </a: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75B3CEE9-9272-4DB1-B57F-4FB388965E85}"/>
              </a:ext>
            </a:extLst>
          </p:cNvPr>
          <p:cNvSpPr/>
          <p:nvPr/>
        </p:nvSpPr>
        <p:spPr bwMode="auto">
          <a:xfrm>
            <a:off x="6734748" y="1602327"/>
            <a:ext cx="3284341" cy="8279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</a:t>
            </a:r>
            <a:r>
              <a:rPr lang="en-US" altLang="zh-CN" sz="1100">
                <a:cs typeface="+mn-ea"/>
                <a:sym typeface="+mn-lt"/>
              </a:rPr>
              <a:t>. Choose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 </a:t>
            </a:r>
            <a:r>
              <a:rPr lang="en-US" altLang="zh-CN" sz="1100" dirty="0">
                <a:cs typeface="+mn-ea"/>
                <a:sym typeface="+mn-lt"/>
              </a:rPr>
              <a:t>the only option to retain text.</a:t>
            </a:r>
          </a:p>
          <a:p>
            <a:pPr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… …</a:t>
            </a: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57E2F9E6-49C9-49B2-847D-230BE55B4C24}"/>
              </a:ext>
            </a:extLst>
          </p:cNvPr>
          <p:cNvSpPr txBox="1"/>
          <p:nvPr/>
        </p:nvSpPr>
        <p:spPr bwMode="auto">
          <a:xfrm>
            <a:off x="8407385" y="2992479"/>
            <a:ext cx="3113104" cy="480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>
                <a:cs typeface="+mn-ea"/>
                <a:sym typeface="+mn-lt"/>
              </a:rPr>
              <a:t>Tex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b="1">
                <a:cs typeface="+mn-ea"/>
                <a:sym typeface="+mn-lt"/>
              </a:rPr>
              <a:t>t </a:t>
            </a:r>
            <a:r>
              <a:rPr lang="en-US" altLang="zh-CN" b="1" dirty="0">
                <a:cs typeface="+mn-ea"/>
                <a:sym typeface="+mn-lt"/>
              </a:rPr>
              <a:t>here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8EF80461-6982-4DFD-91B7-C18BE5BD2E86}"/>
              </a:ext>
            </a:extLst>
          </p:cNvPr>
          <p:cNvSpPr/>
          <p:nvPr/>
        </p:nvSpPr>
        <p:spPr bwMode="auto">
          <a:xfrm>
            <a:off x="8407385" y="3472778"/>
            <a:ext cx="3113104" cy="8279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</a:t>
            </a:r>
            <a:r>
              <a:rPr lang="en-US" altLang="zh-CN" sz="1100">
                <a:cs typeface="+mn-ea"/>
                <a:sym typeface="+mn-lt"/>
              </a:rPr>
              <a:t>. Choose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 </a:t>
            </a:r>
            <a:r>
              <a:rPr lang="en-US" altLang="zh-CN" sz="1100" dirty="0">
                <a:cs typeface="+mn-ea"/>
                <a:sym typeface="+mn-lt"/>
              </a:rPr>
              <a:t>the only option to retain text.</a:t>
            </a:r>
          </a:p>
          <a:p>
            <a:pPr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… …</a:t>
            </a: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BCE966F1-AAE2-4CDD-8D4A-40D2A36BD5B7}"/>
              </a:ext>
            </a:extLst>
          </p:cNvPr>
          <p:cNvSpPr txBox="1"/>
          <p:nvPr/>
        </p:nvSpPr>
        <p:spPr bwMode="auto">
          <a:xfrm>
            <a:off x="662001" y="2992479"/>
            <a:ext cx="3113104" cy="480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>
                <a:cs typeface="+mn-ea"/>
                <a:sym typeface="+mn-lt"/>
              </a:rPr>
              <a:t>Tex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b="1">
                <a:cs typeface="+mn-ea"/>
                <a:sym typeface="+mn-lt"/>
              </a:rPr>
              <a:t>t </a:t>
            </a:r>
            <a:r>
              <a:rPr lang="en-US" altLang="zh-CN" b="1" dirty="0">
                <a:cs typeface="+mn-ea"/>
                <a:sym typeface="+mn-lt"/>
              </a:rPr>
              <a:t>here</a:t>
            </a: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FD6C07C4-B676-4371-B5B6-06FFE9330FEB}"/>
              </a:ext>
            </a:extLst>
          </p:cNvPr>
          <p:cNvSpPr/>
          <p:nvPr/>
        </p:nvSpPr>
        <p:spPr bwMode="auto">
          <a:xfrm>
            <a:off x="662001" y="3472778"/>
            <a:ext cx="3113104" cy="8279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</a:t>
            </a:r>
            <a:r>
              <a:rPr lang="en-US" altLang="zh-CN" sz="1100">
                <a:cs typeface="+mn-ea"/>
                <a:sym typeface="+mn-lt"/>
              </a:rPr>
              <a:t>. Choose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 </a:t>
            </a:r>
            <a:r>
              <a:rPr lang="en-US" altLang="zh-CN" sz="1100" dirty="0">
                <a:cs typeface="+mn-ea"/>
                <a:sym typeface="+mn-lt"/>
              </a:rPr>
              <a:t>the only option to retain text.</a:t>
            </a:r>
          </a:p>
          <a:p>
            <a:pPr algn="r"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… …</a:t>
            </a: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FEFA82EC-1699-47E2-9DD6-5BAB61799831}"/>
              </a:ext>
            </a:extLst>
          </p:cNvPr>
          <p:cNvSpPr txBox="1"/>
          <p:nvPr/>
        </p:nvSpPr>
        <p:spPr bwMode="auto">
          <a:xfrm>
            <a:off x="2515732" y="4835353"/>
            <a:ext cx="3113104" cy="480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>
                <a:cs typeface="+mn-ea"/>
                <a:sym typeface="+mn-lt"/>
              </a:rPr>
              <a:t>Tex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b="1">
                <a:cs typeface="+mn-ea"/>
                <a:sym typeface="+mn-lt"/>
              </a:rPr>
              <a:t>t </a:t>
            </a:r>
            <a:r>
              <a:rPr lang="en-US" altLang="zh-CN" b="1" dirty="0">
                <a:cs typeface="+mn-ea"/>
                <a:sym typeface="+mn-lt"/>
              </a:rPr>
              <a:t>here</a:t>
            </a: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87A7C444-102C-439D-897B-A693BD8A36F2}"/>
              </a:ext>
            </a:extLst>
          </p:cNvPr>
          <p:cNvSpPr/>
          <p:nvPr/>
        </p:nvSpPr>
        <p:spPr bwMode="auto">
          <a:xfrm>
            <a:off x="2515732" y="5315652"/>
            <a:ext cx="3113104" cy="8279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</a:t>
            </a:r>
            <a:r>
              <a:rPr lang="en-US" altLang="zh-CN" sz="1100">
                <a:cs typeface="+mn-ea"/>
                <a:sym typeface="+mn-lt"/>
              </a:rPr>
              <a:t>. Choose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 </a:t>
            </a:r>
            <a:r>
              <a:rPr lang="en-US" altLang="zh-CN" sz="1100" dirty="0">
                <a:cs typeface="+mn-ea"/>
                <a:sym typeface="+mn-lt"/>
              </a:rPr>
              <a:t>the only option to retain text.</a:t>
            </a:r>
          </a:p>
          <a:p>
            <a:pPr algn="r"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… …</a:t>
            </a:r>
          </a:p>
        </p:txBody>
      </p:sp>
    </p:spTree>
    <p:extLst>
      <p:ext uri="{BB962C8B-B14F-4D97-AF65-F5344CB8AC3E}">
        <p14:creationId xmlns:p14="http://schemas.microsoft.com/office/powerpoint/2010/main" val="177030296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保持良好卫生和健康习惯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7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6" name="任意多边形: 形状 5">
            <a:extLst>
              <a:ext uri="{FF2B5EF4-FFF2-40B4-BE49-F238E27FC236}">
                <a16:creationId xmlns:a16="http://schemas.microsoft.com/office/drawing/2014/main" id="{249D6EC0-7184-490B-BC35-94A1EA33C50B}"/>
              </a:ext>
            </a:extLst>
          </p:cNvPr>
          <p:cNvSpPr/>
          <p:nvPr/>
        </p:nvSpPr>
        <p:spPr bwMode="auto">
          <a:xfrm>
            <a:off x="674688" y="1716182"/>
            <a:ext cx="3494296" cy="3844736"/>
          </a:xfrm>
          <a:custGeom>
            <a:avLst/>
            <a:gdLst>
              <a:gd name="T0" fmla="*/ 283 w 2074"/>
              <a:gd name="T1" fmla="*/ 0 h 2282"/>
              <a:gd name="T2" fmla="*/ 1306 w 2074"/>
              <a:gd name="T3" fmla="*/ 0 h 2282"/>
              <a:gd name="T4" fmla="*/ 1350 w 2074"/>
              <a:gd name="T5" fmla="*/ 5 h 2282"/>
              <a:gd name="T6" fmla="*/ 1394 w 2074"/>
              <a:gd name="T7" fmla="*/ 17 h 2282"/>
              <a:gd name="T8" fmla="*/ 1434 w 2074"/>
              <a:gd name="T9" fmla="*/ 36 h 2282"/>
              <a:gd name="T10" fmla="*/ 1471 w 2074"/>
              <a:gd name="T11" fmla="*/ 61 h 2282"/>
              <a:gd name="T12" fmla="*/ 1503 w 2074"/>
              <a:gd name="T13" fmla="*/ 91 h 2282"/>
              <a:gd name="T14" fmla="*/ 1529 w 2074"/>
              <a:gd name="T15" fmla="*/ 129 h 2282"/>
              <a:gd name="T16" fmla="*/ 2040 w 2074"/>
              <a:gd name="T17" fmla="*/ 1010 h 2282"/>
              <a:gd name="T18" fmla="*/ 2058 w 2074"/>
              <a:gd name="T19" fmla="*/ 1052 h 2282"/>
              <a:gd name="T20" fmla="*/ 2070 w 2074"/>
              <a:gd name="T21" fmla="*/ 1096 h 2282"/>
              <a:gd name="T22" fmla="*/ 2074 w 2074"/>
              <a:gd name="T23" fmla="*/ 1139 h 2282"/>
              <a:gd name="T24" fmla="*/ 2070 w 2074"/>
              <a:gd name="T25" fmla="*/ 1185 h 2282"/>
              <a:gd name="T26" fmla="*/ 2058 w 2074"/>
              <a:gd name="T27" fmla="*/ 1227 h 2282"/>
              <a:gd name="T28" fmla="*/ 2040 w 2074"/>
              <a:gd name="T29" fmla="*/ 1269 h 2282"/>
              <a:gd name="T30" fmla="*/ 1529 w 2074"/>
              <a:gd name="T31" fmla="*/ 2152 h 2282"/>
              <a:gd name="T32" fmla="*/ 1503 w 2074"/>
              <a:gd name="T33" fmla="*/ 2189 h 2282"/>
              <a:gd name="T34" fmla="*/ 1471 w 2074"/>
              <a:gd name="T35" fmla="*/ 2221 h 2282"/>
              <a:gd name="T36" fmla="*/ 1434 w 2074"/>
              <a:gd name="T37" fmla="*/ 2247 h 2282"/>
              <a:gd name="T38" fmla="*/ 1394 w 2074"/>
              <a:gd name="T39" fmla="*/ 2265 h 2282"/>
              <a:gd name="T40" fmla="*/ 1350 w 2074"/>
              <a:gd name="T41" fmla="*/ 2277 h 2282"/>
              <a:gd name="T42" fmla="*/ 1306 w 2074"/>
              <a:gd name="T43" fmla="*/ 2282 h 2282"/>
              <a:gd name="T44" fmla="*/ 283 w 2074"/>
              <a:gd name="T45" fmla="*/ 2282 h 2282"/>
              <a:gd name="T46" fmla="*/ 238 w 2074"/>
              <a:gd name="T47" fmla="*/ 2277 h 2282"/>
              <a:gd name="T48" fmla="*/ 194 w 2074"/>
              <a:gd name="T49" fmla="*/ 2265 h 2282"/>
              <a:gd name="T50" fmla="*/ 154 w 2074"/>
              <a:gd name="T51" fmla="*/ 2247 h 2282"/>
              <a:gd name="T52" fmla="*/ 118 w 2074"/>
              <a:gd name="T53" fmla="*/ 2221 h 2282"/>
              <a:gd name="T54" fmla="*/ 86 w 2074"/>
              <a:gd name="T55" fmla="*/ 2189 h 2282"/>
              <a:gd name="T56" fmla="*/ 59 w 2074"/>
              <a:gd name="T57" fmla="*/ 2152 h 2282"/>
              <a:gd name="T58" fmla="*/ 0 w 2074"/>
              <a:gd name="T59" fmla="*/ 2049 h 2282"/>
              <a:gd name="T60" fmla="*/ 800 w 2074"/>
              <a:gd name="T61" fmla="*/ 2049 h 2282"/>
              <a:gd name="T62" fmla="*/ 844 w 2074"/>
              <a:gd name="T63" fmla="*/ 2044 h 2282"/>
              <a:gd name="T64" fmla="*/ 884 w 2074"/>
              <a:gd name="T65" fmla="*/ 2031 h 2282"/>
              <a:gd name="T66" fmla="*/ 921 w 2074"/>
              <a:gd name="T67" fmla="*/ 2010 h 2282"/>
              <a:gd name="T68" fmla="*/ 953 w 2074"/>
              <a:gd name="T69" fmla="*/ 1982 h 2282"/>
              <a:gd name="T70" fmla="*/ 979 w 2074"/>
              <a:gd name="T71" fmla="*/ 1946 h 2282"/>
              <a:gd name="T72" fmla="*/ 1385 w 2074"/>
              <a:gd name="T73" fmla="*/ 1242 h 2282"/>
              <a:gd name="T74" fmla="*/ 1402 w 2074"/>
              <a:gd name="T75" fmla="*/ 1204 h 2282"/>
              <a:gd name="T76" fmla="*/ 1411 w 2074"/>
              <a:gd name="T77" fmla="*/ 1161 h 2282"/>
              <a:gd name="T78" fmla="*/ 1411 w 2074"/>
              <a:gd name="T79" fmla="*/ 1118 h 2282"/>
              <a:gd name="T80" fmla="*/ 1402 w 2074"/>
              <a:gd name="T81" fmla="*/ 1077 h 2282"/>
              <a:gd name="T82" fmla="*/ 1385 w 2074"/>
              <a:gd name="T83" fmla="*/ 1037 h 2282"/>
              <a:gd name="T84" fmla="*/ 979 w 2074"/>
              <a:gd name="T85" fmla="*/ 334 h 2282"/>
              <a:gd name="T86" fmla="*/ 958 w 2074"/>
              <a:gd name="T87" fmla="*/ 306 h 2282"/>
              <a:gd name="T88" fmla="*/ 933 w 2074"/>
              <a:gd name="T89" fmla="*/ 280 h 2282"/>
              <a:gd name="T90" fmla="*/ 903 w 2074"/>
              <a:gd name="T91" fmla="*/ 260 h 2282"/>
              <a:gd name="T92" fmla="*/ 871 w 2074"/>
              <a:gd name="T93" fmla="*/ 245 h 2282"/>
              <a:gd name="T94" fmla="*/ 837 w 2074"/>
              <a:gd name="T95" fmla="*/ 237 h 2282"/>
              <a:gd name="T96" fmla="*/ 800 w 2074"/>
              <a:gd name="T97" fmla="*/ 233 h 2282"/>
              <a:gd name="T98" fmla="*/ 0 w 2074"/>
              <a:gd name="T99" fmla="*/ 233 h 2282"/>
              <a:gd name="T100" fmla="*/ 59 w 2074"/>
              <a:gd name="T101" fmla="*/ 130 h 2282"/>
              <a:gd name="T102" fmla="*/ 86 w 2074"/>
              <a:gd name="T103" fmla="*/ 93 h 2282"/>
              <a:gd name="T104" fmla="*/ 118 w 2074"/>
              <a:gd name="T105" fmla="*/ 61 h 2282"/>
              <a:gd name="T106" fmla="*/ 154 w 2074"/>
              <a:gd name="T107" fmla="*/ 36 h 2282"/>
              <a:gd name="T108" fmla="*/ 194 w 2074"/>
              <a:gd name="T109" fmla="*/ 17 h 2282"/>
              <a:gd name="T110" fmla="*/ 238 w 2074"/>
              <a:gd name="T111" fmla="*/ 5 h 2282"/>
              <a:gd name="T112" fmla="*/ 283 w 2074"/>
              <a:gd name="T113" fmla="*/ 0 h 22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074" h="2282">
                <a:moveTo>
                  <a:pt x="283" y="0"/>
                </a:moveTo>
                <a:lnTo>
                  <a:pt x="1306" y="0"/>
                </a:lnTo>
                <a:lnTo>
                  <a:pt x="1350" y="5"/>
                </a:lnTo>
                <a:lnTo>
                  <a:pt x="1394" y="17"/>
                </a:lnTo>
                <a:lnTo>
                  <a:pt x="1434" y="36"/>
                </a:lnTo>
                <a:lnTo>
                  <a:pt x="1471" y="61"/>
                </a:lnTo>
                <a:lnTo>
                  <a:pt x="1503" y="91"/>
                </a:lnTo>
                <a:lnTo>
                  <a:pt x="1529" y="129"/>
                </a:lnTo>
                <a:lnTo>
                  <a:pt x="2040" y="1010"/>
                </a:lnTo>
                <a:lnTo>
                  <a:pt x="2058" y="1052"/>
                </a:lnTo>
                <a:lnTo>
                  <a:pt x="2070" y="1096"/>
                </a:lnTo>
                <a:lnTo>
                  <a:pt x="2074" y="1139"/>
                </a:lnTo>
                <a:lnTo>
                  <a:pt x="2070" y="1185"/>
                </a:lnTo>
                <a:lnTo>
                  <a:pt x="2058" y="1227"/>
                </a:lnTo>
                <a:lnTo>
                  <a:pt x="2040" y="1269"/>
                </a:lnTo>
                <a:lnTo>
                  <a:pt x="1529" y="2152"/>
                </a:lnTo>
                <a:lnTo>
                  <a:pt x="1503" y="2189"/>
                </a:lnTo>
                <a:lnTo>
                  <a:pt x="1471" y="2221"/>
                </a:lnTo>
                <a:lnTo>
                  <a:pt x="1434" y="2247"/>
                </a:lnTo>
                <a:lnTo>
                  <a:pt x="1394" y="2265"/>
                </a:lnTo>
                <a:lnTo>
                  <a:pt x="1350" y="2277"/>
                </a:lnTo>
                <a:lnTo>
                  <a:pt x="1306" y="2282"/>
                </a:lnTo>
                <a:lnTo>
                  <a:pt x="283" y="2282"/>
                </a:lnTo>
                <a:lnTo>
                  <a:pt x="238" y="2277"/>
                </a:lnTo>
                <a:lnTo>
                  <a:pt x="194" y="2265"/>
                </a:lnTo>
                <a:lnTo>
                  <a:pt x="154" y="2247"/>
                </a:lnTo>
                <a:lnTo>
                  <a:pt x="118" y="2221"/>
                </a:lnTo>
                <a:lnTo>
                  <a:pt x="86" y="2189"/>
                </a:lnTo>
                <a:lnTo>
                  <a:pt x="59" y="2152"/>
                </a:lnTo>
                <a:lnTo>
                  <a:pt x="0" y="2049"/>
                </a:lnTo>
                <a:lnTo>
                  <a:pt x="800" y="2049"/>
                </a:lnTo>
                <a:lnTo>
                  <a:pt x="844" y="2044"/>
                </a:lnTo>
                <a:lnTo>
                  <a:pt x="884" y="2031"/>
                </a:lnTo>
                <a:lnTo>
                  <a:pt x="921" y="2010"/>
                </a:lnTo>
                <a:lnTo>
                  <a:pt x="953" y="1982"/>
                </a:lnTo>
                <a:lnTo>
                  <a:pt x="979" y="1946"/>
                </a:lnTo>
                <a:lnTo>
                  <a:pt x="1385" y="1242"/>
                </a:lnTo>
                <a:lnTo>
                  <a:pt x="1402" y="1204"/>
                </a:lnTo>
                <a:lnTo>
                  <a:pt x="1411" y="1161"/>
                </a:lnTo>
                <a:lnTo>
                  <a:pt x="1411" y="1118"/>
                </a:lnTo>
                <a:lnTo>
                  <a:pt x="1402" y="1077"/>
                </a:lnTo>
                <a:lnTo>
                  <a:pt x="1385" y="1037"/>
                </a:lnTo>
                <a:lnTo>
                  <a:pt x="979" y="334"/>
                </a:lnTo>
                <a:lnTo>
                  <a:pt x="958" y="306"/>
                </a:lnTo>
                <a:lnTo>
                  <a:pt x="933" y="280"/>
                </a:lnTo>
                <a:lnTo>
                  <a:pt x="903" y="260"/>
                </a:lnTo>
                <a:lnTo>
                  <a:pt x="871" y="245"/>
                </a:lnTo>
                <a:lnTo>
                  <a:pt x="837" y="237"/>
                </a:lnTo>
                <a:lnTo>
                  <a:pt x="800" y="233"/>
                </a:lnTo>
                <a:lnTo>
                  <a:pt x="0" y="233"/>
                </a:lnTo>
                <a:lnTo>
                  <a:pt x="59" y="130"/>
                </a:lnTo>
                <a:lnTo>
                  <a:pt x="86" y="93"/>
                </a:lnTo>
                <a:lnTo>
                  <a:pt x="118" y="61"/>
                </a:lnTo>
                <a:lnTo>
                  <a:pt x="154" y="36"/>
                </a:lnTo>
                <a:lnTo>
                  <a:pt x="194" y="17"/>
                </a:lnTo>
                <a:lnTo>
                  <a:pt x="238" y="5"/>
                </a:lnTo>
                <a:lnTo>
                  <a:pt x="283" y="0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ru-RU">
              <a:cs typeface="+mn-ea"/>
              <a:sym typeface="+mn-lt"/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473A67AE-4827-446C-9DCB-D671847FF830}"/>
              </a:ext>
            </a:extLst>
          </p:cNvPr>
          <p:cNvSpPr/>
          <p:nvPr/>
        </p:nvSpPr>
        <p:spPr bwMode="auto">
          <a:xfrm>
            <a:off x="671513" y="3520177"/>
            <a:ext cx="2039484" cy="62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3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</a:t>
            </a:r>
            <a:r>
              <a:rPr lang="en-US" altLang="zh-CN" sz="1100">
                <a:cs typeface="+mn-ea"/>
                <a:sym typeface="+mn-lt"/>
              </a:rPr>
              <a:t>the 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only </a:t>
            </a:r>
            <a:r>
              <a:rPr lang="en-US" altLang="zh-CN" sz="1100" dirty="0">
                <a:cs typeface="+mn-ea"/>
                <a:sym typeface="+mn-lt"/>
              </a:rPr>
              <a:t>option to retain text.</a:t>
            </a: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C3192754-7C61-489E-8D1A-F5B0009A1BF6}"/>
              </a:ext>
            </a:extLst>
          </p:cNvPr>
          <p:cNvSpPr txBox="1"/>
          <p:nvPr/>
        </p:nvSpPr>
        <p:spPr bwMode="auto">
          <a:xfrm>
            <a:off x="671513" y="2871893"/>
            <a:ext cx="2039484" cy="549232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2000" b="1">
                <a:cs typeface="+mn-ea"/>
                <a:sym typeface="+mn-lt"/>
              </a:rPr>
              <a:t>Text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sz="2000" b="1">
                <a:cs typeface="+mn-ea"/>
                <a:sym typeface="+mn-lt"/>
              </a:rPr>
              <a:t> </a:t>
            </a:r>
            <a:r>
              <a:rPr lang="en-US" altLang="zh-CN" sz="2000" b="1" dirty="0">
                <a:cs typeface="+mn-ea"/>
                <a:sym typeface="+mn-lt"/>
              </a:rPr>
              <a:t>here</a:t>
            </a: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89E75C17-4B2B-4B19-8B56-5BA05C537C75}"/>
              </a:ext>
            </a:extLst>
          </p:cNvPr>
          <p:cNvSpPr/>
          <p:nvPr/>
        </p:nvSpPr>
        <p:spPr bwMode="auto">
          <a:xfrm>
            <a:off x="671513" y="4199915"/>
            <a:ext cx="2039484" cy="62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3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</a:t>
            </a:r>
            <a:r>
              <a:rPr lang="en-US" altLang="zh-CN" sz="1100">
                <a:cs typeface="+mn-ea"/>
                <a:sym typeface="+mn-lt"/>
              </a:rPr>
              <a:t>the 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only </a:t>
            </a:r>
            <a:r>
              <a:rPr lang="en-US" altLang="zh-CN" sz="1100" dirty="0">
                <a:cs typeface="+mn-ea"/>
                <a:sym typeface="+mn-lt"/>
              </a:rPr>
              <a:t>option to retain text.</a:t>
            </a:r>
          </a:p>
        </p:txBody>
      </p:sp>
      <p:cxnSp>
        <p:nvCxnSpPr>
          <p:cNvPr id="26" name="直接连接符 25">
            <a:extLst>
              <a:ext uri="{FF2B5EF4-FFF2-40B4-BE49-F238E27FC236}">
                <a16:creationId xmlns:a16="http://schemas.microsoft.com/office/drawing/2014/main" id="{462A234B-6B74-4F8D-96BE-297F6499DA0B}"/>
              </a:ext>
            </a:extLst>
          </p:cNvPr>
          <p:cNvCxnSpPr>
            <a:cxnSpLocks/>
          </p:cNvCxnSpPr>
          <p:nvPr/>
        </p:nvCxnSpPr>
        <p:spPr>
          <a:xfrm>
            <a:off x="671513" y="4170128"/>
            <a:ext cx="2039484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763156AC-8C37-4BC1-8E08-FB3B9181B23A}"/>
              </a:ext>
            </a:extLst>
          </p:cNvPr>
          <p:cNvSpPr/>
          <p:nvPr/>
        </p:nvSpPr>
        <p:spPr>
          <a:xfrm>
            <a:off x="8137951" y="2313854"/>
            <a:ext cx="504626" cy="503864"/>
          </a:xfrm>
          <a:custGeom>
            <a:avLst/>
            <a:gdLst>
              <a:gd name="connsiteX0" fmla="*/ 298447 w 606933"/>
              <a:gd name="connsiteY0" fmla="*/ 207674 h 606016"/>
              <a:gd name="connsiteX1" fmla="*/ 303628 w 606933"/>
              <a:gd name="connsiteY1" fmla="*/ 207674 h 606016"/>
              <a:gd name="connsiteX2" fmla="*/ 315496 w 606933"/>
              <a:gd name="connsiteY2" fmla="*/ 219620 h 606016"/>
              <a:gd name="connsiteX3" fmla="*/ 323973 w 606933"/>
              <a:gd name="connsiteY3" fmla="*/ 229403 h 606016"/>
              <a:gd name="connsiteX4" fmla="*/ 342435 w 606933"/>
              <a:gd name="connsiteY4" fmla="*/ 234859 h 606016"/>
              <a:gd name="connsiteX5" fmla="*/ 345920 w 606933"/>
              <a:gd name="connsiteY5" fmla="*/ 242007 h 606016"/>
              <a:gd name="connsiteX6" fmla="*/ 341399 w 606933"/>
              <a:gd name="connsiteY6" fmla="*/ 257434 h 606016"/>
              <a:gd name="connsiteX7" fmla="*/ 333769 w 606933"/>
              <a:gd name="connsiteY7" fmla="*/ 260726 h 606016"/>
              <a:gd name="connsiteX8" fmla="*/ 304476 w 606933"/>
              <a:gd name="connsiteY8" fmla="*/ 254988 h 606016"/>
              <a:gd name="connsiteX9" fmla="*/ 296658 w 606933"/>
              <a:gd name="connsiteY9" fmla="*/ 256587 h 606016"/>
              <a:gd name="connsiteX10" fmla="*/ 293926 w 606933"/>
              <a:gd name="connsiteY10" fmla="*/ 276247 h 606016"/>
              <a:gd name="connsiteX11" fmla="*/ 306642 w 606933"/>
              <a:gd name="connsiteY11" fmla="*/ 283396 h 606016"/>
              <a:gd name="connsiteX12" fmla="*/ 329813 w 606933"/>
              <a:gd name="connsiteY12" fmla="*/ 293931 h 606016"/>
              <a:gd name="connsiteX13" fmla="*/ 343565 w 606933"/>
              <a:gd name="connsiteY13" fmla="*/ 356954 h 606016"/>
              <a:gd name="connsiteX14" fmla="*/ 320394 w 606933"/>
              <a:gd name="connsiteY14" fmla="*/ 371722 h 606016"/>
              <a:gd name="connsiteX15" fmla="*/ 314742 w 606933"/>
              <a:gd name="connsiteY15" fmla="*/ 379153 h 606016"/>
              <a:gd name="connsiteX16" fmla="*/ 314742 w 606933"/>
              <a:gd name="connsiteY16" fmla="*/ 391381 h 606016"/>
              <a:gd name="connsiteX17" fmla="*/ 309279 w 606933"/>
              <a:gd name="connsiteY17" fmla="*/ 397025 h 606016"/>
              <a:gd name="connsiteX18" fmla="*/ 296093 w 606933"/>
              <a:gd name="connsiteY18" fmla="*/ 397025 h 606016"/>
              <a:gd name="connsiteX19" fmla="*/ 290253 w 606933"/>
              <a:gd name="connsiteY19" fmla="*/ 391005 h 606016"/>
              <a:gd name="connsiteX20" fmla="*/ 290158 w 606933"/>
              <a:gd name="connsiteY20" fmla="*/ 382163 h 606016"/>
              <a:gd name="connsiteX21" fmla="*/ 283471 w 606933"/>
              <a:gd name="connsiteY21" fmla="*/ 374261 h 606016"/>
              <a:gd name="connsiteX22" fmla="*/ 260017 w 606933"/>
              <a:gd name="connsiteY22" fmla="*/ 367489 h 606016"/>
              <a:gd name="connsiteX23" fmla="*/ 255214 w 606933"/>
              <a:gd name="connsiteY23" fmla="*/ 357048 h 606016"/>
              <a:gd name="connsiteX24" fmla="*/ 259170 w 606933"/>
              <a:gd name="connsiteY24" fmla="*/ 343502 h 606016"/>
              <a:gd name="connsiteX25" fmla="*/ 267082 w 606933"/>
              <a:gd name="connsiteY25" fmla="*/ 340116 h 606016"/>
              <a:gd name="connsiteX26" fmla="*/ 293173 w 606933"/>
              <a:gd name="connsiteY26" fmla="*/ 347923 h 606016"/>
              <a:gd name="connsiteX27" fmla="*/ 310221 w 606933"/>
              <a:gd name="connsiteY27" fmla="*/ 345666 h 606016"/>
              <a:gd name="connsiteX28" fmla="*/ 313424 w 606933"/>
              <a:gd name="connsiteY28" fmla="*/ 322338 h 606016"/>
              <a:gd name="connsiteX29" fmla="*/ 303628 w 606933"/>
              <a:gd name="connsiteY29" fmla="*/ 316506 h 606016"/>
              <a:gd name="connsiteX30" fmla="*/ 276972 w 606933"/>
              <a:gd name="connsiteY30" fmla="*/ 304654 h 606016"/>
              <a:gd name="connsiteX31" fmla="*/ 255590 w 606933"/>
              <a:gd name="connsiteY31" fmla="*/ 268627 h 606016"/>
              <a:gd name="connsiteX32" fmla="*/ 284601 w 606933"/>
              <a:gd name="connsiteY32" fmla="*/ 231848 h 606016"/>
              <a:gd name="connsiteX33" fmla="*/ 291760 w 606933"/>
              <a:gd name="connsiteY33" fmla="*/ 221972 h 606016"/>
              <a:gd name="connsiteX34" fmla="*/ 291760 w 606933"/>
              <a:gd name="connsiteY34" fmla="*/ 214447 h 606016"/>
              <a:gd name="connsiteX35" fmla="*/ 298447 w 606933"/>
              <a:gd name="connsiteY35" fmla="*/ 207674 h 606016"/>
              <a:gd name="connsiteX36" fmla="*/ 303420 w 606933"/>
              <a:gd name="connsiteY36" fmla="*/ 180121 h 606016"/>
              <a:gd name="connsiteX37" fmla="*/ 180864 w 606933"/>
              <a:gd name="connsiteY37" fmla="*/ 302491 h 606016"/>
              <a:gd name="connsiteX38" fmla="*/ 303420 w 606933"/>
              <a:gd name="connsiteY38" fmla="*/ 424860 h 606016"/>
              <a:gd name="connsiteX39" fmla="*/ 426069 w 606933"/>
              <a:gd name="connsiteY39" fmla="*/ 302491 h 606016"/>
              <a:gd name="connsiteX40" fmla="*/ 303420 w 606933"/>
              <a:gd name="connsiteY40" fmla="*/ 180121 h 606016"/>
              <a:gd name="connsiteX41" fmla="*/ 303420 w 606933"/>
              <a:gd name="connsiteY41" fmla="*/ 0 h 606016"/>
              <a:gd name="connsiteX42" fmla="*/ 356360 w 606933"/>
              <a:gd name="connsiteY42" fmla="*/ 52767 h 606016"/>
              <a:gd name="connsiteX43" fmla="*/ 321695 w 606933"/>
              <a:gd name="connsiteY43" fmla="*/ 102335 h 606016"/>
              <a:gd name="connsiteX44" fmla="*/ 321695 w 606933"/>
              <a:gd name="connsiteY44" fmla="*/ 149364 h 606016"/>
              <a:gd name="connsiteX45" fmla="*/ 399316 w 606933"/>
              <a:gd name="connsiteY45" fmla="*/ 181626 h 606016"/>
              <a:gd name="connsiteX46" fmla="*/ 405815 w 606933"/>
              <a:gd name="connsiteY46" fmla="*/ 175042 h 606016"/>
              <a:gd name="connsiteX47" fmla="*/ 432851 w 606933"/>
              <a:gd name="connsiteY47" fmla="*/ 148141 h 606016"/>
              <a:gd name="connsiteX48" fmla="*/ 443401 w 606933"/>
              <a:gd name="connsiteY48" fmla="*/ 88791 h 606016"/>
              <a:gd name="connsiteX49" fmla="*/ 518008 w 606933"/>
              <a:gd name="connsiteY49" fmla="*/ 88791 h 606016"/>
              <a:gd name="connsiteX50" fmla="*/ 518008 w 606933"/>
              <a:gd name="connsiteY50" fmla="*/ 163285 h 606016"/>
              <a:gd name="connsiteX51" fmla="*/ 458568 w 606933"/>
              <a:gd name="connsiteY51" fmla="*/ 173819 h 606016"/>
              <a:gd name="connsiteX52" fmla="*/ 425032 w 606933"/>
              <a:gd name="connsiteY52" fmla="*/ 207304 h 606016"/>
              <a:gd name="connsiteX53" fmla="*/ 457343 w 606933"/>
              <a:gd name="connsiteY53" fmla="*/ 287818 h 606016"/>
              <a:gd name="connsiteX54" fmla="*/ 503407 w 606933"/>
              <a:gd name="connsiteY54" fmla="*/ 287818 h 606016"/>
              <a:gd name="connsiteX55" fmla="*/ 553993 w 606933"/>
              <a:gd name="connsiteY55" fmla="*/ 250194 h 606016"/>
              <a:gd name="connsiteX56" fmla="*/ 606933 w 606933"/>
              <a:gd name="connsiteY56" fmla="*/ 302961 h 606016"/>
              <a:gd name="connsiteX57" fmla="*/ 553993 w 606933"/>
              <a:gd name="connsiteY57" fmla="*/ 355822 h 606016"/>
              <a:gd name="connsiteX58" fmla="*/ 505668 w 606933"/>
              <a:gd name="connsiteY58" fmla="*/ 324312 h 606016"/>
              <a:gd name="connsiteX59" fmla="*/ 456589 w 606933"/>
              <a:gd name="connsiteY59" fmla="*/ 324312 h 606016"/>
              <a:gd name="connsiteX60" fmla="*/ 424656 w 606933"/>
              <a:gd name="connsiteY60" fmla="*/ 398336 h 606016"/>
              <a:gd name="connsiteX61" fmla="*/ 458473 w 606933"/>
              <a:gd name="connsiteY61" fmla="*/ 432009 h 606016"/>
              <a:gd name="connsiteX62" fmla="*/ 480705 w 606933"/>
              <a:gd name="connsiteY62" fmla="*/ 427118 h 606016"/>
              <a:gd name="connsiteX63" fmla="*/ 533645 w 606933"/>
              <a:gd name="connsiteY63" fmla="*/ 480072 h 606016"/>
              <a:gd name="connsiteX64" fmla="*/ 480799 w 606933"/>
              <a:gd name="connsiteY64" fmla="*/ 532839 h 606016"/>
              <a:gd name="connsiteX65" fmla="*/ 427953 w 606933"/>
              <a:gd name="connsiteY65" fmla="*/ 480072 h 606016"/>
              <a:gd name="connsiteX66" fmla="*/ 432851 w 606933"/>
              <a:gd name="connsiteY66" fmla="*/ 457875 h 606016"/>
              <a:gd name="connsiteX67" fmla="*/ 398939 w 606933"/>
              <a:gd name="connsiteY67" fmla="*/ 424014 h 606016"/>
              <a:gd name="connsiteX68" fmla="*/ 321789 w 606933"/>
              <a:gd name="connsiteY68" fmla="*/ 455899 h 606016"/>
              <a:gd name="connsiteX69" fmla="*/ 321789 w 606933"/>
              <a:gd name="connsiteY69" fmla="*/ 466904 h 606016"/>
              <a:gd name="connsiteX70" fmla="*/ 321789 w 606933"/>
              <a:gd name="connsiteY70" fmla="*/ 503681 h 606016"/>
              <a:gd name="connsiteX71" fmla="*/ 356454 w 606933"/>
              <a:gd name="connsiteY71" fmla="*/ 553155 h 606016"/>
              <a:gd name="connsiteX72" fmla="*/ 303608 w 606933"/>
              <a:gd name="connsiteY72" fmla="*/ 606016 h 606016"/>
              <a:gd name="connsiteX73" fmla="*/ 250667 w 606933"/>
              <a:gd name="connsiteY73" fmla="*/ 553155 h 606016"/>
              <a:gd name="connsiteX74" fmla="*/ 285333 w 606933"/>
              <a:gd name="connsiteY74" fmla="*/ 503681 h 606016"/>
              <a:gd name="connsiteX75" fmla="*/ 285333 w 606933"/>
              <a:gd name="connsiteY75" fmla="*/ 466810 h 606016"/>
              <a:gd name="connsiteX76" fmla="*/ 285333 w 606933"/>
              <a:gd name="connsiteY76" fmla="*/ 455711 h 606016"/>
              <a:gd name="connsiteX77" fmla="*/ 208277 w 606933"/>
              <a:gd name="connsiteY77" fmla="*/ 423920 h 606016"/>
              <a:gd name="connsiteX78" fmla="*/ 174365 w 606933"/>
              <a:gd name="connsiteY78" fmla="*/ 457781 h 606016"/>
              <a:gd name="connsiteX79" fmla="*/ 179263 w 606933"/>
              <a:gd name="connsiteY79" fmla="*/ 479978 h 606016"/>
              <a:gd name="connsiteX80" fmla="*/ 126322 w 606933"/>
              <a:gd name="connsiteY80" fmla="*/ 532745 h 606016"/>
              <a:gd name="connsiteX81" fmla="*/ 73476 w 606933"/>
              <a:gd name="connsiteY81" fmla="*/ 479978 h 606016"/>
              <a:gd name="connsiteX82" fmla="*/ 126322 w 606933"/>
              <a:gd name="connsiteY82" fmla="*/ 427118 h 606016"/>
              <a:gd name="connsiteX83" fmla="*/ 148554 w 606933"/>
              <a:gd name="connsiteY83" fmla="*/ 432009 h 606016"/>
              <a:gd name="connsiteX84" fmla="*/ 182372 w 606933"/>
              <a:gd name="connsiteY84" fmla="*/ 398336 h 606016"/>
              <a:gd name="connsiteX85" fmla="*/ 150438 w 606933"/>
              <a:gd name="connsiteY85" fmla="*/ 324312 h 606016"/>
              <a:gd name="connsiteX86" fmla="*/ 102490 w 606933"/>
              <a:gd name="connsiteY86" fmla="*/ 324312 h 606016"/>
              <a:gd name="connsiteX87" fmla="*/ 52846 w 606933"/>
              <a:gd name="connsiteY87" fmla="*/ 358926 h 606016"/>
              <a:gd name="connsiteX88" fmla="*/ 0 w 606933"/>
              <a:gd name="connsiteY88" fmla="*/ 306159 h 606016"/>
              <a:gd name="connsiteX89" fmla="*/ 52846 w 606933"/>
              <a:gd name="connsiteY89" fmla="*/ 253298 h 606016"/>
              <a:gd name="connsiteX90" fmla="*/ 102490 w 606933"/>
              <a:gd name="connsiteY90" fmla="*/ 287818 h 606016"/>
              <a:gd name="connsiteX91" fmla="*/ 149590 w 606933"/>
              <a:gd name="connsiteY91" fmla="*/ 287818 h 606016"/>
              <a:gd name="connsiteX92" fmla="*/ 181901 w 606933"/>
              <a:gd name="connsiteY92" fmla="*/ 207304 h 606016"/>
              <a:gd name="connsiteX93" fmla="*/ 148460 w 606933"/>
              <a:gd name="connsiteY93" fmla="*/ 173913 h 606016"/>
              <a:gd name="connsiteX94" fmla="*/ 126228 w 606933"/>
              <a:gd name="connsiteY94" fmla="*/ 178804 h 606016"/>
              <a:gd name="connsiteX95" fmla="*/ 73382 w 606933"/>
              <a:gd name="connsiteY95" fmla="*/ 126038 h 606016"/>
              <a:gd name="connsiteX96" fmla="*/ 126228 w 606933"/>
              <a:gd name="connsiteY96" fmla="*/ 73271 h 606016"/>
              <a:gd name="connsiteX97" fmla="*/ 179075 w 606933"/>
              <a:gd name="connsiteY97" fmla="*/ 126038 h 606016"/>
              <a:gd name="connsiteX98" fmla="*/ 174176 w 606933"/>
              <a:gd name="connsiteY98" fmla="*/ 148235 h 606016"/>
              <a:gd name="connsiteX99" fmla="*/ 207617 w 606933"/>
              <a:gd name="connsiteY99" fmla="*/ 181626 h 606016"/>
              <a:gd name="connsiteX100" fmla="*/ 285239 w 606933"/>
              <a:gd name="connsiteY100" fmla="*/ 149364 h 606016"/>
              <a:gd name="connsiteX101" fmla="*/ 285239 w 606933"/>
              <a:gd name="connsiteY101" fmla="*/ 102335 h 606016"/>
              <a:gd name="connsiteX102" fmla="*/ 250573 w 606933"/>
              <a:gd name="connsiteY102" fmla="*/ 52767 h 606016"/>
              <a:gd name="connsiteX103" fmla="*/ 303420 w 606933"/>
              <a:gd name="connsiteY103" fmla="*/ 0 h 606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</a:cxnLst>
            <a:rect l="l" t="t" r="r" b="b"/>
            <a:pathLst>
              <a:path w="606933" h="606016">
                <a:moveTo>
                  <a:pt x="298447" y="207674"/>
                </a:moveTo>
                <a:lnTo>
                  <a:pt x="303628" y="207674"/>
                </a:lnTo>
                <a:cubicBezTo>
                  <a:pt x="315496" y="207674"/>
                  <a:pt x="315496" y="207674"/>
                  <a:pt x="315496" y="219620"/>
                </a:cubicBezTo>
                <a:cubicBezTo>
                  <a:pt x="315496" y="227992"/>
                  <a:pt x="315496" y="228086"/>
                  <a:pt x="323973" y="229403"/>
                </a:cubicBezTo>
                <a:cubicBezTo>
                  <a:pt x="330378" y="230343"/>
                  <a:pt x="336501" y="232225"/>
                  <a:pt x="342435" y="234859"/>
                </a:cubicBezTo>
                <a:cubicBezTo>
                  <a:pt x="345637" y="236269"/>
                  <a:pt x="346956" y="238621"/>
                  <a:pt x="345920" y="242007"/>
                </a:cubicBezTo>
                <a:cubicBezTo>
                  <a:pt x="344413" y="247181"/>
                  <a:pt x="343000" y="252354"/>
                  <a:pt x="341399" y="257434"/>
                </a:cubicBezTo>
                <a:cubicBezTo>
                  <a:pt x="339891" y="262231"/>
                  <a:pt x="338384" y="262984"/>
                  <a:pt x="333769" y="260726"/>
                </a:cubicBezTo>
                <a:cubicBezTo>
                  <a:pt x="324444" y="256211"/>
                  <a:pt x="314742" y="254424"/>
                  <a:pt x="304476" y="254988"/>
                </a:cubicBezTo>
                <a:cubicBezTo>
                  <a:pt x="301838" y="255082"/>
                  <a:pt x="299201" y="255459"/>
                  <a:pt x="296658" y="256587"/>
                </a:cubicBezTo>
                <a:cubicBezTo>
                  <a:pt x="287804" y="260444"/>
                  <a:pt x="286391" y="270227"/>
                  <a:pt x="293926" y="276247"/>
                </a:cubicBezTo>
                <a:cubicBezTo>
                  <a:pt x="297694" y="279257"/>
                  <a:pt x="302121" y="281514"/>
                  <a:pt x="306642" y="283396"/>
                </a:cubicBezTo>
                <a:cubicBezTo>
                  <a:pt x="314554" y="286688"/>
                  <a:pt x="322466" y="289792"/>
                  <a:pt x="329813" y="293931"/>
                </a:cubicBezTo>
                <a:cubicBezTo>
                  <a:pt x="353549" y="307006"/>
                  <a:pt x="359954" y="336824"/>
                  <a:pt x="343565" y="356954"/>
                </a:cubicBezTo>
                <a:cubicBezTo>
                  <a:pt x="337537" y="364291"/>
                  <a:pt x="329625" y="369182"/>
                  <a:pt x="320394" y="371722"/>
                </a:cubicBezTo>
                <a:cubicBezTo>
                  <a:pt x="316438" y="372850"/>
                  <a:pt x="314648" y="375014"/>
                  <a:pt x="314742" y="379153"/>
                </a:cubicBezTo>
                <a:cubicBezTo>
                  <a:pt x="315025" y="383292"/>
                  <a:pt x="314742" y="387242"/>
                  <a:pt x="314742" y="391381"/>
                </a:cubicBezTo>
                <a:cubicBezTo>
                  <a:pt x="314648" y="395050"/>
                  <a:pt x="312859" y="396931"/>
                  <a:pt x="309279" y="397025"/>
                </a:cubicBezTo>
                <a:cubicBezTo>
                  <a:pt x="304852" y="397213"/>
                  <a:pt x="300425" y="397213"/>
                  <a:pt x="296093" y="397025"/>
                </a:cubicBezTo>
                <a:cubicBezTo>
                  <a:pt x="292136" y="396931"/>
                  <a:pt x="290253" y="394767"/>
                  <a:pt x="290253" y="391005"/>
                </a:cubicBezTo>
                <a:cubicBezTo>
                  <a:pt x="290158" y="388183"/>
                  <a:pt x="290158" y="385173"/>
                  <a:pt x="290158" y="382163"/>
                </a:cubicBezTo>
                <a:cubicBezTo>
                  <a:pt x="290064" y="375484"/>
                  <a:pt x="289876" y="375202"/>
                  <a:pt x="283471" y="374261"/>
                </a:cubicBezTo>
                <a:cubicBezTo>
                  <a:pt x="275465" y="372850"/>
                  <a:pt x="267458" y="371063"/>
                  <a:pt x="260017" y="367489"/>
                </a:cubicBezTo>
                <a:cubicBezTo>
                  <a:pt x="254083" y="364573"/>
                  <a:pt x="253612" y="363162"/>
                  <a:pt x="255214" y="357048"/>
                </a:cubicBezTo>
                <a:cubicBezTo>
                  <a:pt x="256532" y="352533"/>
                  <a:pt x="257757" y="348018"/>
                  <a:pt x="259170" y="343502"/>
                </a:cubicBezTo>
                <a:cubicBezTo>
                  <a:pt x="260771" y="338235"/>
                  <a:pt x="262278" y="337576"/>
                  <a:pt x="267082" y="340116"/>
                </a:cubicBezTo>
                <a:cubicBezTo>
                  <a:pt x="275370" y="344349"/>
                  <a:pt x="284036" y="346795"/>
                  <a:pt x="293173" y="347923"/>
                </a:cubicBezTo>
                <a:cubicBezTo>
                  <a:pt x="299107" y="348676"/>
                  <a:pt x="304852" y="348018"/>
                  <a:pt x="310221" y="345666"/>
                </a:cubicBezTo>
                <a:cubicBezTo>
                  <a:pt x="320394" y="341151"/>
                  <a:pt x="322089" y="329299"/>
                  <a:pt x="313424" y="322338"/>
                </a:cubicBezTo>
                <a:cubicBezTo>
                  <a:pt x="310410" y="319798"/>
                  <a:pt x="307113" y="318011"/>
                  <a:pt x="303628" y="316506"/>
                </a:cubicBezTo>
                <a:cubicBezTo>
                  <a:pt x="294680" y="312649"/>
                  <a:pt x="285355" y="309639"/>
                  <a:pt x="276972" y="304654"/>
                </a:cubicBezTo>
                <a:cubicBezTo>
                  <a:pt x="263314" y="296470"/>
                  <a:pt x="254648" y="285277"/>
                  <a:pt x="255590" y="268627"/>
                </a:cubicBezTo>
                <a:cubicBezTo>
                  <a:pt x="256721" y="249815"/>
                  <a:pt x="267458" y="238151"/>
                  <a:pt x="284601" y="231848"/>
                </a:cubicBezTo>
                <a:cubicBezTo>
                  <a:pt x="291666" y="229215"/>
                  <a:pt x="291760" y="229403"/>
                  <a:pt x="291760" y="221972"/>
                </a:cubicBezTo>
                <a:cubicBezTo>
                  <a:pt x="291760" y="219432"/>
                  <a:pt x="291666" y="216986"/>
                  <a:pt x="291760" y="214447"/>
                </a:cubicBezTo>
                <a:cubicBezTo>
                  <a:pt x="291948" y="208803"/>
                  <a:pt x="292890" y="207768"/>
                  <a:pt x="298447" y="207674"/>
                </a:cubicBezTo>
                <a:close/>
                <a:moveTo>
                  <a:pt x="303420" y="180121"/>
                </a:moveTo>
                <a:cubicBezTo>
                  <a:pt x="235877" y="180121"/>
                  <a:pt x="180864" y="235051"/>
                  <a:pt x="180864" y="302491"/>
                </a:cubicBezTo>
                <a:cubicBezTo>
                  <a:pt x="180864" y="369930"/>
                  <a:pt x="235877" y="424860"/>
                  <a:pt x="303420" y="424860"/>
                </a:cubicBezTo>
                <a:cubicBezTo>
                  <a:pt x="371056" y="424860"/>
                  <a:pt x="426069" y="370118"/>
                  <a:pt x="426069" y="302491"/>
                </a:cubicBezTo>
                <a:cubicBezTo>
                  <a:pt x="426069" y="235051"/>
                  <a:pt x="371056" y="180121"/>
                  <a:pt x="303420" y="180121"/>
                </a:cubicBezTo>
                <a:close/>
                <a:moveTo>
                  <a:pt x="303420" y="0"/>
                </a:moveTo>
                <a:cubicBezTo>
                  <a:pt x="332716" y="0"/>
                  <a:pt x="356360" y="23703"/>
                  <a:pt x="356360" y="52767"/>
                </a:cubicBezTo>
                <a:cubicBezTo>
                  <a:pt x="356360" y="75529"/>
                  <a:pt x="341853" y="94905"/>
                  <a:pt x="321695" y="102335"/>
                </a:cubicBezTo>
                <a:lnTo>
                  <a:pt x="321695" y="149364"/>
                </a:lnTo>
                <a:cubicBezTo>
                  <a:pt x="350802" y="152750"/>
                  <a:pt x="377461" y="164319"/>
                  <a:pt x="399316" y="181626"/>
                </a:cubicBezTo>
                <a:lnTo>
                  <a:pt x="405815" y="175042"/>
                </a:lnTo>
                <a:lnTo>
                  <a:pt x="432851" y="148141"/>
                </a:lnTo>
                <a:cubicBezTo>
                  <a:pt x="423808" y="128671"/>
                  <a:pt x="427293" y="104875"/>
                  <a:pt x="443401" y="88791"/>
                </a:cubicBezTo>
                <a:cubicBezTo>
                  <a:pt x="463937" y="68192"/>
                  <a:pt x="497378" y="68192"/>
                  <a:pt x="518008" y="88791"/>
                </a:cubicBezTo>
                <a:cubicBezTo>
                  <a:pt x="538544" y="109390"/>
                  <a:pt x="538544" y="142686"/>
                  <a:pt x="518008" y="163285"/>
                </a:cubicBezTo>
                <a:cubicBezTo>
                  <a:pt x="501900" y="179369"/>
                  <a:pt x="478067" y="182849"/>
                  <a:pt x="458568" y="173819"/>
                </a:cubicBezTo>
                <a:lnTo>
                  <a:pt x="425032" y="207304"/>
                </a:lnTo>
                <a:cubicBezTo>
                  <a:pt x="442836" y="229972"/>
                  <a:pt x="454423" y="257625"/>
                  <a:pt x="457343" y="287818"/>
                </a:cubicBezTo>
                <a:lnTo>
                  <a:pt x="503407" y="287818"/>
                </a:lnTo>
                <a:cubicBezTo>
                  <a:pt x="509907" y="265996"/>
                  <a:pt x="530160" y="250194"/>
                  <a:pt x="553993" y="250194"/>
                </a:cubicBezTo>
                <a:cubicBezTo>
                  <a:pt x="583195" y="250194"/>
                  <a:pt x="606933" y="273803"/>
                  <a:pt x="606933" y="302961"/>
                </a:cubicBezTo>
                <a:cubicBezTo>
                  <a:pt x="606933" y="332213"/>
                  <a:pt x="583195" y="355822"/>
                  <a:pt x="553993" y="355822"/>
                </a:cubicBezTo>
                <a:cubicBezTo>
                  <a:pt x="532421" y="355822"/>
                  <a:pt x="513863" y="342842"/>
                  <a:pt x="505668" y="324312"/>
                </a:cubicBezTo>
                <a:lnTo>
                  <a:pt x="456589" y="324312"/>
                </a:lnTo>
                <a:cubicBezTo>
                  <a:pt x="452539" y="352059"/>
                  <a:pt x="441235" y="377361"/>
                  <a:pt x="424656" y="398336"/>
                </a:cubicBezTo>
                <a:lnTo>
                  <a:pt x="458473" y="432009"/>
                </a:lnTo>
                <a:cubicBezTo>
                  <a:pt x="465256" y="428905"/>
                  <a:pt x="472792" y="427118"/>
                  <a:pt x="480705" y="427118"/>
                </a:cubicBezTo>
                <a:cubicBezTo>
                  <a:pt x="509813" y="427118"/>
                  <a:pt x="533645" y="450820"/>
                  <a:pt x="533645" y="480072"/>
                </a:cubicBezTo>
                <a:cubicBezTo>
                  <a:pt x="533645" y="509324"/>
                  <a:pt x="509907" y="532839"/>
                  <a:pt x="480799" y="532839"/>
                </a:cubicBezTo>
                <a:cubicBezTo>
                  <a:pt x="451503" y="532839"/>
                  <a:pt x="427953" y="509136"/>
                  <a:pt x="427953" y="480072"/>
                </a:cubicBezTo>
                <a:cubicBezTo>
                  <a:pt x="427953" y="472077"/>
                  <a:pt x="429648" y="464647"/>
                  <a:pt x="432851" y="457875"/>
                </a:cubicBezTo>
                <a:lnTo>
                  <a:pt x="398939" y="424014"/>
                </a:lnTo>
                <a:cubicBezTo>
                  <a:pt x="377179" y="441038"/>
                  <a:pt x="350708" y="452513"/>
                  <a:pt x="321789" y="455899"/>
                </a:cubicBezTo>
                <a:lnTo>
                  <a:pt x="321789" y="466904"/>
                </a:lnTo>
                <a:lnTo>
                  <a:pt x="321789" y="503681"/>
                </a:lnTo>
                <a:cubicBezTo>
                  <a:pt x="342042" y="511017"/>
                  <a:pt x="356454" y="530487"/>
                  <a:pt x="356454" y="553155"/>
                </a:cubicBezTo>
                <a:cubicBezTo>
                  <a:pt x="356454" y="582407"/>
                  <a:pt x="332716" y="606016"/>
                  <a:pt x="303608" y="606016"/>
                </a:cubicBezTo>
                <a:cubicBezTo>
                  <a:pt x="274312" y="606016"/>
                  <a:pt x="250667" y="582313"/>
                  <a:pt x="250667" y="553155"/>
                </a:cubicBezTo>
                <a:cubicBezTo>
                  <a:pt x="250667" y="530487"/>
                  <a:pt x="265174" y="511017"/>
                  <a:pt x="285333" y="503681"/>
                </a:cubicBezTo>
                <a:lnTo>
                  <a:pt x="285333" y="466810"/>
                </a:lnTo>
                <a:lnTo>
                  <a:pt x="285333" y="455711"/>
                </a:lnTo>
                <a:cubicBezTo>
                  <a:pt x="256508" y="452325"/>
                  <a:pt x="229943" y="440944"/>
                  <a:pt x="208277" y="423920"/>
                </a:cubicBezTo>
                <a:lnTo>
                  <a:pt x="174365" y="457781"/>
                </a:lnTo>
                <a:cubicBezTo>
                  <a:pt x="177473" y="464553"/>
                  <a:pt x="179263" y="472077"/>
                  <a:pt x="179263" y="479978"/>
                </a:cubicBezTo>
                <a:cubicBezTo>
                  <a:pt x="179263" y="509136"/>
                  <a:pt x="155525" y="532745"/>
                  <a:pt x="126322" y="532745"/>
                </a:cubicBezTo>
                <a:cubicBezTo>
                  <a:pt x="97120" y="532745"/>
                  <a:pt x="73476" y="509136"/>
                  <a:pt x="73476" y="479978"/>
                </a:cubicBezTo>
                <a:cubicBezTo>
                  <a:pt x="73476" y="450726"/>
                  <a:pt x="97215" y="427118"/>
                  <a:pt x="126322" y="427118"/>
                </a:cubicBezTo>
                <a:cubicBezTo>
                  <a:pt x="134424" y="427118"/>
                  <a:pt x="141771" y="428905"/>
                  <a:pt x="148554" y="432009"/>
                </a:cubicBezTo>
                <a:lnTo>
                  <a:pt x="182372" y="398336"/>
                </a:lnTo>
                <a:cubicBezTo>
                  <a:pt x="165698" y="377361"/>
                  <a:pt x="154394" y="352059"/>
                  <a:pt x="150438" y="324312"/>
                </a:cubicBezTo>
                <a:lnTo>
                  <a:pt x="102490" y="324312"/>
                </a:lnTo>
                <a:cubicBezTo>
                  <a:pt x="95048" y="344535"/>
                  <a:pt x="75643" y="358926"/>
                  <a:pt x="52846" y="358926"/>
                </a:cubicBezTo>
                <a:cubicBezTo>
                  <a:pt x="23644" y="358926"/>
                  <a:pt x="0" y="335223"/>
                  <a:pt x="0" y="306159"/>
                </a:cubicBezTo>
                <a:cubicBezTo>
                  <a:pt x="0" y="276907"/>
                  <a:pt x="23738" y="253298"/>
                  <a:pt x="52846" y="253298"/>
                </a:cubicBezTo>
                <a:cubicBezTo>
                  <a:pt x="75643" y="253298"/>
                  <a:pt x="95048" y="267595"/>
                  <a:pt x="102490" y="287818"/>
                </a:cubicBezTo>
                <a:lnTo>
                  <a:pt x="149590" y="287818"/>
                </a:lnTo>
                <a:cubicBezTo>
                  <a:pt x="152510" y="257625"/>
                  <a:pt x="164003" y="229878"/>
                  <a:pt x="181901" y="207304"/>
                </a:cubicBezTo>
                <a:lnTo>
                  <a:pt x="148460" y="173913"/>
                </a:lnTo>
                <a:cubicBezTo>
                  <a:pt x="141677" y="177111"/>
                  <a:pt x="134141" y="178804"/>
                  <a:pt x="126228" y="178804"/>
                </a:cubicBezTo>
                <a:cubicBezTo>
                  <a:pt x="96932" y="178804"/>
                  <a:pt x="73382" y="155102"/>
                  <a:pt x="73382" y="126038"/>
                </a:cubicBezTo>
                <a:cubicBezTo>
                  <a:pt x="73382" y="96786"/>
                  <a:pt x="97120" y="73271"/>
                  <a:pt x="126228" y="73271"/>
                </a:cubicBezTo>
                <a:cubicBezTo>
                  <a:pt x="155525" y="73271"/>
                  <a:pt x="179075" y="96974"/>
                  <a:pt x="179075" y="126038"/>
                </a:cubicBezTo>
                <a:cubicBezTo>
                  <a:pt x="179075" y="134033"/>
                  <a:pt x="177379" y="141463"/>
                  <a:pt x="174176" y="148235"/>
                </a:cubicBezTo>
                <a:lnTo>
                  <a:pt x="207617" y="181626"/>
                </a:lnTo>
                <a:cubicBezTo>
                  <a:pt x="229472" y="164319"/>
                  <a:pt x="256131" y="152750"/>
                  <a:pt x="285239" y="149364"/>
                </a:cubicBezTo>
                <a:lnTo>
                  <a:pt x="285239" y="102335"/>
                </a:lnTo>
                <a:cubicBezTo>
                  <a:pt x="264986" y="94905"/>
                  <a:pt x="250573" y="75529"/>
                  <a:pt x="250573" y="52767"/>
                </a:cubicBezTo>
                <a:cubicBezTo>
                  <a:pt x="250573" y="23609"/>
                  <a:pt x="274312" y="0"/>
                  <a:pt x="303420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B1C1ACBE-891E-4A14-A777-4EE6E0D78591}"/>
              </a:ext>
            </a:extLst>
          </p:cNvPr>
          <p:cNvSpPr/>
          <p:nvPr/>
        </p:nvSpPr>
        <p:spPr bwMode="auto">
          <a:xfrm>
            <a:off x="4350439" y="1716182"/>
            <a:ext cx="3494296" cy="3844736"/>
          </a:xfrm>
          <a:custGeom>
            <a:avLst/>
            <a:gdLst>
              <a:gd name="T0" fmla="*/ 283 w 2074"/>
              <a:gd name="T1" fmla="*/ 0 h 2282"/>
              <a:gd name="T2" fmla="*/ 1306 w 2074"/>
              <a:gd name="T3" fmla="*/ 0 h 2282"/>
              <a:gd name="T4" fmla="*/ 1350 w 2074"/>
              <a:gd name="T5" fmla="*/ 5 h 2282"/>
              <a:gd name="T6" fmla="*/ 1394 w 2074"/>
              <a:gd name="T7" fmla="*/ 17 h 2282"/>
              <a:gd name="T8" fmla="*/ 1434 w 2074"/>
              <a:gd name="T9" fmla="*/ 36 h 2282"/>
              <a:gd name="T10" fmla="*/ 1471 w 2074"/>
              <a:gd name="T11" fmla="*/ 61 h 2282"/>
              <a:gd name="T12" fmla="*/ 1503 w 2074"/>
              <a:gd name="T13" fmla="*/ 91 h 2282"/>
              <a:gd name="T14" fmla="*/ 1529 w 2074"/>
              <a:gd name="T15" fmla="*/ 129 h 2282"/>
              <a:gd name="T16" fmla="*/ 2040 w 2074"/>
              <a:gd name="T17" fmla="*/ 1010 h 2282"/>
              <a:gd name="T18" fmla="*/ 2058 w 2074"/>
              <a:gd name="T19" fmla="*/ 1052 h 2282"/>
              <a:gd name="T20" fmla="*/ 2070 w 2074"/>
              <a:gd name="T21" fmla="*/ 1096 h 2282"/>
              <a:gd name="T22" fmla="*/ 2074 w 2074"/>
              <a:gd name="T23" fmla="*/ 1139 h 2282"/>
              <a:gd name="T24" fmla="*/ 2070 w 2074"/>
              <a:gd name="T25" fmla="*/ 1185 h 2282"/>
              <a:gd name="T26" fmla="*/ 2058 w 2074"/>
              <a:gd name="T27" fmla="*/ 1227 h 2282"/>
              <a:gd name="T28" fmla="*/ 2040 w 2074"/>
              <a:gd name="T29" fmla="*/ 1269 h 2282"/>
              <a:gd name="T30" fmla="*/ 1529 w 2074"/>
              <a:gd name="T31" fmla="*/ 2152 h 2282"/>
              <a:gd name="T32" fmla="*/ 1503 w 2074"/>
              <a:gd name="T33" fmla="*/ 2189 h 2282"/>
              <a:gd name="T34" fmla="*/ 1471 w 2074"/>
              <a:gd name="T35" fmla="*/ 2221 h 2282"/>
              <a:gd name="T36" fmla="*/ 1434 w 2074"/>
              <a:gd name="T37" fmla="*/ 2247 h 2282"/>
              <a:gd name="T38" fmla="*/ 1394 w 2074"/>
              <a:gd name="T39" fmla="*/ 2265 h 2282"/>
              <a:gd name="T40" fmla="*/ 1350 w 2074"/>
              <a:gd name="T41" fmla="*/ 2277 h 2282"/>
              <a:gd name="T42" fmla="*/ 1306 w 2074"/>
              <a:gd name="T43" fmla="*/ 2282 h 2282"/>
              <a:gd name="T44" fmla="*/ 283 w 2074"/>
              <a:gd name="T45" fmla="*/ 2282 h 2282"/>
              <a:gd name="T46" fmla="*/ 238 w 2074"/>
              <a:gd name="T47" fmla="*/ 2277 h 2282"/>
              <a:gd name="T48" fmla="*/ 194 w 2074"/>
              <a:gd name="T49" fmla="*/ 2265 h 2282"/>
              <a:gd name="T50" fmla="*/ 154 w 2074"/>
              <a:gd name="T51" fmla="*/ 2247 h 2282"/>
              <a:gd name="T52" fmla="*/ 118 w 2074"/>
              <a:gd name="T53" fmla="*/ 2221 h 2282"/>
              <a:gd name="T54" fmla="*/ 86 w 2074"/>
              <a:gd name="T55" fmla="*/ 2189 h 2282"/>
              <a:gd name="T56" fmla="*/ 59 w 2074"/>
              <a:gd name="T57" fmla="*/ 2152 h 2282"/>
              <a:gd name="T58" fmla="*/ 0 w 2074"/>
              <a:gd name="T59" fmla="*/ 2049 h 2282"/>
              <a:gd name="T60" fmla="*/ 800 w 2074"/>
              <a:gd name="T61" fmla="*/ 2049 h 2282"/>
              <a:gd name="T62" fmla="*/ 844 w 2074"/>
              <a:gd name="T63" fmla="*/ 2044 h 2282"/>
              <a:gd name="T64" fmla="*/ 884 w 2074"/>
              <a:gd name="T65" fmla="*/ 2031 h 2282"/>
              <a:gd name="T66" fmla="*/ 921 w 2074"/>
              <a:gd name="T67" fmla="*/ 2010 h 2282"/>
              <a:gd name="T68" fmla="*/ 953 w 2074"/>
              <a:gd name="T69" fmla="*/ 1982 h 2282"/>
              <a:gd name="T70" fmla="*/ 979 w 2074"/>
              <a:gd name="T71" fmla="*/ 1946 h 2282"/>
              <a:gd name="T72" fmla="*/ 1385 w 2074"/>
              <a:gd name="T73" fmla="*/ 1242 h 2282"/>
              <a:gd name="T74" fmla="*/ 1402 w 2074"/>
              <a:gd name="T75" fmla="*/ 1204 h 2282"/>
              <a:gd name="T76" fmla="*/ 1411 w 2074"/>
              <a:gd name="T77" fmla="*/ 1161 h 2282"/>
              <a:gd name="T78" fmla="*/ 1411 w 2074"/>
              <a:gd name="T79" fmla="*/ 1118 h 2282"/>
              <a:gd name="T80" fmla="*/ 1402 w 2074"/>
              <a:gd name="T81" fmla="*/ 1077 h 2282"/>
              <a:gd name="T82" fmla="*/ 1385 w 2074"/>
              <a:gd name="T83" fmla="*/ 1037 h 2282"/>
              <a:gd name="T84" fmla="*/ 979 w 2074"/>
              <a:gd name="T85" fmla="*/ 334 h 2282"/>
              <a:gd name="T86" fmla="*/ 958 w 2074"/>
              <a:gd name="T87" fmla="*/ 306 h 2282"/>
              <a:gd name="T88" fmla="*/ 933 w 2074"/>
              <a:gd name="T89" fmla="*/ 280 h 2282"/>
              <a:gd name="T90" fmla="*/ 903 w 2074"/>
              <a:gd name="T91" fmla="*/ 260 h 2282"/>
              <a:gd name="T92" fmla="*/ 871 w 2074"/>
              <a:gd name="T93" fmla="*/ 245 h 2282"/>
              <a:gd name="T94" fmla="*/ 837 w 2074"/>
              <a:gd name="T95" fmla="*/ 237 h 2282"/>
              <a:gd name="T96" fmla="*/ 800 w 2074"/>
              <a:gd name="T97" fmla="*/ 233 h 2282"/>
              <a:gd name="T98" fmla="*/ 0 w 2074"/>
              <a:gd name="T99" fmla="*/ 233 h 2282"/>
              <a:gd name="T100" fmla="*/ 59 w 2074"/>
              <a:gd name="T101" fmla="*/ 130 h 2282"/>
              <a:gd name="T102" fmla="*/ 86 w 2074"/>
              <a:gd name="T103" fmla="*/ 93 h 2282"/>
              <a:gd name="T104" fmla="*/ 118 w 2074"/>
              <a:gd name="T105" fmla="*/ 61 h 2282"/>
              <a:gd name="T106" fmla="*/ 154 w 2074"/>
              <a:gd name="T107" fmla="*/ 36 h 2282"/>
              <a:gd name="T108" fmla="*/ 194 w 2074"/>
              <a:gd name="T109" fmla="*/ 17 h 2282"/>
              <a:gd name="T110" fmla="*/ 238 w 2074"/>
              <a:gd name="T111" fmla="*/ 5 h 2282"/>
              <a:gd name="T112" fmla="*/ 283 w 2074"/>
              <a:gd name="T113" fmla="*/ 0 h 22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074" h="2282">
                <a:moveTo>
                  <a:pt x="283" y="0"/>
                </a:moveTo>
                <a:lnTo>
                  <a:pt x="1306" y="0"/>
                </a:lnTo>
                <a:lnTo>
                  <a:pt x="1350" y="5"/>
                </a:lnTo>
                <a:lnTo>
                  <a:pt x="1394" y="17"/>
                </a:lnTo>
                <a:lnTo>
                  <a:pt x="1434" y="36"/>
                </a:lnTo>
                <a:lnTo>
                  <a:pt x="1471" y="61"/>
                </a:lnTo>
                <a:lnTo>
                  <a:pt x="1503" y="91"/>
                </a:lnTo>
                <a:lnTo>
                  <a:pt x="1529" y="129"/>
                </a:lnTo>
                <a:lnTo>
                  <a:pt x="2040" y="1010"/>
                </a:lnTo>
                <a:lnTo>
                  <a:pt x="2058" y="1052"/>
                </a:lnTo>
                <a:lnTo>
                  <a:pt x="2070" y="1096"/>
                </a:lnTo>
                <a:lnTo>
                  <a:pt x="2074" y="1139"/>
                </a:lnTo>
                <a:lnTo>
                  <a:pt x="2070" y="1185"/>
                </a:lnTo>
                <a:lnTo>
                  <a:pt x="2058" y="1227"/>
                </a:lnTo>
                <a:lnTo>
                  <a:pt x="2040" y="1269"/>
                </a:lnTo>
                <a:lnTo>
                  <a:pt x="1529" y="2152"/>
                </a:lnTo>
                <a:lnTo>
                  <a:pt x="1503" y="2189"/>
                </a:lnTo>
                <a:lnTo>
                  <a:pt x="1471" y="2221"/>
                </a:lnTo>
                <a:lnTo>
                  <a:pt x="1434" y="2247"/>
                </a:lnTo>
                <a:lnTo>
                  <a:pt x="1394" y="2265"/>
                </a:lnTo>
                <a:lnTo>
                  <a:pt x="1350" y="2277"/>
                </a:lnTo>
                <a:lnTo>
                  <a:pt x="1306" y="2282"/>
                </a:lnTo>
                <a:lnTo>
                  <a:pt x="283" y="2282"/>
                </a:lnTo>
                <a:lnTo>
                  <a:pt x="238" y="2277"/>
                </a:lnTo>
                <a:lnTo>
                  <a:pt x="194" y="2265"/>
                </a:lnTo>
                <a:lnTo>
                  <a:pt x="154" y="2247"/>
                </a:lnTo>
                <a:lnTo>
                  <a:pt x="118" y="2221"/>
                </a:lnTo>
                <a:lnTo>
                  <a:pt x="86" y="2189"/>
                </a:lnTo>
                <a:lnTo>
                  <a:pt x="59" y="2152"/>
                </a:lnTo>
                <a:lnTo>
                  <a:pt x="0" y="2049"/>
                </a:lnTo>
                <a:lnTo>
                  <a:pt x="800" y="2049"/>
                </a:lnTo>
                <a:lnTo>
                  <a:pt x="844" y="2044"/>
                </a:lnTo>
                <a:lnTo>
                  <a:pt x="884" y="2031"/>
                </a:lnTo>
                <a:lnTo>
                  <a:pt x="921" y="2010"/>
                </a:lnTo>
                <a:lnTo>
                  <a:pt x="953" y="1982"/>
                </a:lnTo>
                <a:lnTo>
                  <a:pt x="979" y="1946"/>
                </a:lnTo>
                <a:lnTo>
                  <a:pt x="1385" y="1242"/>
                </a:lnTo>
                <a:lnTo>
                  <a:pt x="1402" y="1204"/>
                </a:lnTo>
                <a:lnTo>
                  <a:pt x="1411" y="1161"/>
                </a:lnTo>
                <a:lnTo>
                  <a:pt x="1411" y="1118"/>
                </a:lnTo>
                <a:lnTo>
                  <a:pt x="1402" y="1077"/>
                </a:lnTo>
                <a:lnTo>
                  <a:pt x="1385" y="1037"/>
                </a:lnTo>
                <a:lnTo>
                  <a:pt x="979" y="334"/>
                </a:lnTo>
                <a:lnTo>
                  <a:pt x="958" y="306"/>
                </a:lnTo>
                <a:lnTo>
                  <a:pt x="933" y="280"/>
                </a:lnTo>
                <a:lnTo>
                  <a:pt x="903" y="260"/>
                </a:lnTo>
                <a:lnTo>
                  <a:pt x="871" y="245"/>
                </a:lnTo>
                <a:lnTo>
                  <a:pt x="837" y="237"/>
                </a:lnTo>
                <a:lnTo>
                  <a:pt x="800" y="233"/>
                </a:lnTo>
                <a:lnTo>
                  <a:pt x="0" y="233"/>
                </a:lnTo>
                <a:lnTo>
                  <a:pt x="59" y="130"/>
                </a:lnTo>
                <a:lnTo>
                  <a:pt x="86" y="93"/>
                </a:lnTo>
                <a:lnTo>
                  <a:pt x="118" y="61"/>
                </a:lnTo>
                <a:lnTo>
                  <a:pt x="154" y="36"/>
                </a:lnTo>
                <a:lnTo>
                  <a:pt x="194" y="17"/>
                </a:lnTo>
                <a:lnTo>
                  <a:pt x="238" y="5"/>
                </a:lnTo>
                <a:lnTo>
                  <a:pt x="283" y="0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ru-RU">
              <a:cs typeface="+mn-ea"/>
              <a:sym typeface="+mn-lt"/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26BC3A4E-3FFF-4517-85CE-AC96C4071711}"/>
              </a:ext>
            </a:extLst>
          </p:cNvPr>
          <p:cNvSpPr/>
          <p:nvPr/>
        </p:nvSpPr>
        <p:spPr bwMode="auto">
          <a:xfrm>
            <a:off x="4347264" y="3520177"/>
            <a:ext cx="2039484" cy="62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3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</a:t>
            </a:r>
            <a:r>
              <a:rPr lang="en-US" altLang="zh-CN" sz="1100">
                <a:cs typeface="+mn-ea"/>
                <a:sym typeface="+mn-lt"/>
              </a:rPr>
              <a:t>the 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only </a:t>
            </a:r>
            <a:r>
              <a:rPr lang="en-US" altLang="zh-CN" sz="1100" dirty="0">
                <a:cs typeface="+mn-ea"/>
                <a:sym typeface="+mn-lt"/>
              </a:rPr>
              <a:t>option to retain text.</a:t>
            </a: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4D45E7F2-F442-48D4-857A-AF78D9C5680B}"/>
              </a:ext>
            </a:extLst>
          </p:cNvPr>
          <p:cNvSpPr txBox="1"/>
          <p:nvPr/>
        </p:nvSpPr>
        <p:spPr bwMode="auto">
          <a:xfrm>
            <a:off x="4347264" y="2871893"/>
            <a:ext cx="2039484" cy="549232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2000" b="1">
                <a:cs typeface="+mn-ea"/>
                <a:sym typeface="+mn-lt"/>
              </a:rPr>
              <a:t>Text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sz="2000" b="1">
                <a:cs typeface="+mn-ea"/>
                <a:sym typeface="+mn-lt"/>
              </a:rPr>
              <a:t> </a:t>
            </a:r>
            <a:r>
              <a:rPr lang="en-US" altLang="zh-CN" sz="2000" b="1" dirty="0">
                <a:cs typeface="+mn-ea"/>
                <a:sym typeface="+mn-lt"/>
              </a:rPr>
              <a:t>here</a:t>
            </a: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9C878F99-5EEA-4235-8B2E-ADDCB881BD07}"/>
              </a:ext>
            </a:extLst>
          </p:cNvPr>
          <p:cNvSpPr/>
          <p:nvPr/>
        </p:nvSpPr>
        <p:spPr bwMode="auto">
          <a:xfrm>
            <a:off x="4347264" y="4199915"/>
            <a:ext cx="2039484" cy="62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3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</a:t>
            </a:r>
            <a:r>
              <a:rPr lang="en-US" altLang="zh-CN" sz="1100">
                <a:cs typeface="+mn-ea"/>
                <a:sym typeface="+mn-lt"/>
              </a:rPr>
              <a:t>the 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only </a:t>
            </a:r>
            <a:r>
              <a:rPr lang="en-US" altLang="zh-CN" sz="1100" dirty="0">
                <a:cs typeface="+mn-ea"/>
                <a:sym typeface="+mn-lt"/>
              </a:rPr>
              <a:t>option to retain text.</a:t>
            </a:r>
          </a:p>
        </p:txBody>
      </p:sp>
      <p:cxnSp>
        <p:nvCxnSpPr>
          <p:cNvPr id="22" name="直接连接符 21">
            <a:extLst>
              <a:ext uri="{FF2B5EF4-FFF2-40B4-BE49-F238E27FC236}">
                <a16:creationId xmlns:a16="http://schemas.microsoft.com/office/drawing/2014/main" id="{C661AED6-B6FB-4A5D-885D-2430FE028767}"/>
              </a:ext>
            </a:extLst>
          </p:cNvPr>
          <p:cNvCxnSpPr>
            <a:cxnSpLocks/>
          </p:cNvCxnSpPr>
          <p:nvPr/>
        </p:nvCxnSpPr>
        <p:spPr>
          <a:xfrm>
            <a:off x="4347264" y="4170128"/>
            <a:ext cx="2039484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任意多边形: 形状 10">
            <a:extLst>
              <a:ext uri="{FF2B5EF4-FFF2-40B4-BE49-F238E27FC236}">
                <a16:creationId xmlns:a16="http://schemas.microsoft.com/office/drawing/2014/main" id="{434A7142-D980-429A-AF14-34EE94FBD357}"/>
              </a:ext>
            </a:extLst>
          </p:cNvPr>
          <p:cNvSpPr/>
          <p:nvPr/>
        </p:nvSpPr>
        <p:spPr bwMode="auto">
          <a:xfrm>
            <a:off x="8026191" y="1716182"/>
            <a:ext cx="3494296" cy="3844736"/>
          </a:xfrm>
          <a:custGeom>
            <a:avLst/>
            <a:gdLst>
              <a:gd name="T0" fmla="*/ 283 w 2074"/>
              <a:gd name="T1" fmla="*/ 0 h 2282"/>
              <a:gd name="T2" fmla="*/ 1306 w 2074"/>
              <a:gd name="T3" fmla="*/ 0 h 2282"/>
              <a:gd name="T4" fmla="*/ 1350 w 2074"/>
              <a:gd name="T5" fmla="*/ 5 h 2282"/>
              <a:gd name="T6" fmla="*/ 1394 w 2074"/>
              <a:gd name="T7" fmla="*/ 17 h 2282"/>
              <a:gd name="T8" fmla="*/ 1434 w 2074"/>
              <a:gd name="T9" fmla="*/ 36 h 2282"/>
              <a:gd name="T10" fmla="*/ 1471 w 2074"/>
              <a:gd name="T11" fmla="*/ 61 h 2282"/>
              <a:gd name="T12" fmla="*/ 1503 w 2074"/>
              <a:gd name="T13" fmla="*/ 91 h 2282"/>
              <a:gd name="T14" fmla="*/ 1529 w 2074"/>
              <a:gd name="T15" fmla="*/ 129 h 2282"/>
              <a:gd name="T16" fmla="*/ 2040 w 2074"/>
              <a:gd name="T17" fmla="*/ 1010 h 2282"/>
              <a:gd name="T18" fmla="*/ 2058 w 2074"/>
              <a:gd name="T19" fmla="*/ 1052 h 2282"/>
              <a:gd name="T20" fmla="*/ 2070 w 2074"/>
              <a:gd name="T21" fmla="*/ 1096 h 2282"/>
              <a:gd name="T22" fmla="*/ 2074 w 2074"/>
              <a:gd name="T23" fmla="*/ 1139 h 2282"/>
              <a:gd name="T24" fmla="*/ 2070 w 2074"/>
              <a:gd name="T25" fmla="*/ 1185 h 2282"/>
              <a:gd name="T26" fmla="*/ 2058 w 2074"/>
              <a:gd name="T27" fmla="*/ 1227 h 2282"/>
              <a:gd name="T28" fmla="*/ 2040 w 2074"/>
              <a:gd name="T29" fmla="*/ 1269 h 2282"/>
              <a:gd name="T30" fmla="*/ 1529 w 2074"/>
              <a:gd name="T31" fmla="*/ 2152 h 2282"/>
              <a:gd name="T32" fmla="*/ 1503 w 2074"/>
              <a:gd name="T33" fmla="*/ 2189 h 2282"/>
              <a:gd name="T34" fmla="*/ 1471 w 2074"/>
              <a:gd name="T35" fmla="*/ 2221 h 2282"/>
              <a:gd name="T36" fmla="*/ 1434 w 2074"/>
              <a:gd name="T37" fmla="*/ 2247 h 2282"/>
              <a:gd name="T38" fmla="*/ 1394 w 2074"/>
              <a:gd name="T39" fmla="*/ 2265 h 2282"/>
              <a:gd name="T40" fmla="*/ 1350 w 2074"/>
              <a:gd name="T41" fmla="*/ 2277 h 2282"/>
              <a:gd name="T42" fmla="*/ 1306 w 2074"/>
              <a:gd name="T43" fmla="*/ 2282 h 2282"/>
              <a:gd name="T44" fmla="*/ 283 w 2074"/>
              <a:gd name="T45" fmla="*/ 2282 h 2282"/>
              <a:gd name="T46" fmla="*/ 238 w 2074"/>
              <a:gd name="T47" fmla="*/ 2277 h 2282"/>
              <a:gd name="T48" fmla="*/ 194 w 2074"/>
              <a:gd name="T49" fmla="*/ 2265 h 2282"/>
              <a:gd name="T50" fmla="*/ 154 w 2074"/>
              <a:gd name="T51" fmla="*/ 2247 h 2282"/>
              <a:gd name="T52" fmla="*/ 118 w 2074"/>
              <a:gd name="T53" fmla="*/ 2221 h 2282"/>
              <a:gd name="T54" fmla="*/ 86 w 2074"/>
              <a:gd name="T55" fmla="*/ 2189 h 2282"/>
              <a:gd name="T56" fmla="*/ 59 w 2074"/>
              <a:gd name="T57" fmla="*/ 2152 h 2282"/>
              <a:gd name="T58" fmla="*/ 0 w 2074"/>
              <a:gd name="T59" fmla="*/ 2049 h 2282"/>
              <a:gd name="T60" fmla="*/ 800 w 2074"/>
              <a:gd name="T61" fmla="*/ 2049 h 2282"/>
              <a:gd name="T62" fmla="*/ 844 w 2074"/>
              <a:gd name="T63" fmla="*/ 2044 h 2282"/>
              <a:gd name="T64" fmla="*/ 884 w 2074"/>
              <a:gd name="T65" fmla="*/ 2031 h 2282"/>
              <a:gd name="T66" fmla="*/ 921 w 2074"/>
              <a:gd name="T67" fmla="*/ 2010 h 2282"/>
              <a:gd name="T68" fmla="*/ 953 w 2074"/>
              <a:gd name="T69" fmla="*/ 1982 h 2282"/>
              <a:gd name="T70" fmla="*/ 979 w 2074"/>
              <a:gd name="T71" fmla="*/ 1946 h 2282"/>
              <a:gd name="T72" fmla="*/ 1385 w 2074"/>
              <a:gd name="T73" fmla="*/ 1242 h 2282"/>
              <a:gd name="T74" fmla="*/ 1402 w 2074"/>
              <a:gd name="T75" fmla="*/ 1204 h 2282"/>
              <a:gd name="T76" fmla="*/ 1411 w 2074"/>
              <a:gd name="T77" fmla="*/ 1161 h 2282"/>
              <a:gd name="T78" fmla="*/ 1411 w 2074"/>
              <a:gd name="T79" fmla="*/ 1118 h 2282"/>
              <a:gd name="T80" fmla="*/ 1402 w 2074"/>
              <a:gd name="T81" fmla="*/ 1077 h 2282"/>
              <a:gd name="T82" fmla="*/ 1385 w 2074"/>
              <a:gd name="T83" fmla="*/ 1037 h 2282"/>
              <a:gd name="T84" fmla="*/ 979 w 2074"/>
              <a:gd name="T85" fmla="*/ 334 h 2282"/>
              <a:gd name="T86" fmla="*/ 958 w 2074"/>
              <a:gd name="T87" fmla="*/ 306 h 2282"/>
              <a:gd name="T88" fmla="*/ 933 w 2074"/>
              <a:gd name="T89" fmla="*/ 280 h 2282"/>
              <a:gd name="T90" fmla="*/ 903 w 2074"/>
              <a:gd name="T91" fmla="*/ 260 h 2282"/>
              <a:gd name="T92" fmla="*/ 871 w 2074"/>
              <a:gd name="T93" fmla="*/ 245 h 2282"/>
              <a:gd name="T94" fmla="*/ 837 w 2074"/>
              <a:gd name="T95" fmla="*/ 237 h 2282"/>
              <a:gd name="T96" fmla="*/ 800 w 2074"/>
              <a:gd name="T97" fmla="*/ 233 h 2282"/>
              <a:gd name="T98" fmla="*/ 0 w 2074"/>
              <a:gd name="T99" fmla="*/ 233 h 2282"/>
              <a:gd name="T100" fmla="*/ 59 w 2074"/>
              <a:gd name="T101" fmla="*/ 130 h 2282"/>
              <a:gd name="T102" fmla="*/ 86 w 2074"/>
              <a:gd name="T103" fmla="*/ 93 h 2282"/>
              <a:gd name="T104" fmla="*/ 118 w 2074"/>
              <a:gd name="T105" fmla="*/ 61 h 2282"/>
              <a:gd name="T106" fmla="*/ 154 w 2074"/>
              <a:gd name="T107" fmla="*/ 36 h 2282"/>
              <a:gd name="T108" fmla="*/ 194 w 2074"/>
              <a:gd name="T109" fmla="*/ 17 h 2282"/>
              <a:gd name="T110" fmla="*/ 238 w 2074"/>
              <a:gd name="T111" fmla="*/ 5 h 2282"/>
              <a:gd name="T112" fmla="*/ 283 w 2074"/>
              <a:gd name="T113" fmla="*/ 0 h 22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074" h="2282">
                <a:moveTo>
                  <a:pt x="283" y="0"/>
                </a:moveTo>
                <a:lnTo>
                  <a:pt x="1306" y="0"/>
                </a:lnTo>
                <a:lnTo>
                  <a:pt x="1350" y="5"/>
                </a:lnTo>
                <a:lnTo>
                  <a:pt x="1394" y="17"/>
                </a:lnTo>
                <a:lnTo>
                  <a:pt x="1434" y="36"/>
                </a:lnTo>
                <a:lnTo>
                  <a:pt x="1471" y="61"/>
                </a:lnTo>
                <a:lnTo>
                  <a:pt x="1503" y="91"/>
                </a:lnTo>
                <a:lnTo>
                  <a:pt x="1529" y="129"/>
                </a:lnTo>
                <a:lnTo>
                  <a:pt x="2040" y="1010"/>
                </a:lnTo>
                <a:lnTo>
                  <a:pt x="2058" y="1052"/>
                </a:lnTo>
                <a:lnTo>
                  <a:pt x="2070" y="1096"/>
                </a:lnTo>
                <a:lnTo>
                  <a:pt x="2074" y="1139"/>
                </a:lnTo>
                <a:lnTo>
                  <a:pt x="2070" y="1185"/>
                </a:lnTo>
                <a:lnTo>
                  <a:pt x="2058" y="1227"/>
                </a:lnTo>
                <a:lnTo>
                  <a:pt x="2040" y="1269"/>
                </a:lnTo>
                <a:lnTo>
                  <a:pt x="1529" y="2152"/>
                </a:lnTo>
                <a:lnTo>
                  <a:pt x="1503" y="2189"/>
                </a:lnTo>
                <a:lnTo>
                  <a:pt x="1471" y="2221"/>
                </a:lnTo>
                <a:lnTo>
                  <a:pt x="1434" y="2247"/>
                </a:lnTo>
                <a:lnTo>
                  <a:pt x="1394" y="2265"/>
                </a:lnTo>
                <a:lnTo>
                  <a:pt x="1350" y="2277"/>
                </a:lnTo>
                <a:lnTo>
                  <a:pt x="1306" y="2282"/>
                </a:lnTo>
                <a:lnTo>
                  <a:pt x="283" y="2282"/>
                </a:lnTo>
                <a:lnTo>
                  <a:pt x="238" y="2277"/>
                </a:lnTo>
                <a:lnTo>
                  <a:pt x="194" y="2265"/>
                </a:lnTo>
                <a:lnTo>
                  <a:pt x="154" y="2247"/>
                </a:lnTo>
                <a:lnTo>
                  <a:pt x="118" y="2221"/>
                </a:lnTo>
                <a:lnTo>
                  <a:pt x="86" y="2189"/>
                </a:lnTo>
                <a:lnTo>
                  <a:pt x="59" y="2152"/>
                </a:lnTo>
                <a:lnTo>
                  <a:pt x="0" y="2049"/>
                </a:lnTo>
                <a:lnTo>
                  <a:pt x="800" y="2049"/>
                </a:lnTo>
                <a:lnTo>
                  <a:pt x="844" y="2044"/>
                </a:lnTo>
                <a:lnTo>
                  <a:pt x="884" y="2031"/>
                </a:lnTo>
                <a:lnTo>
                  <a:pt x="921" y="2010"/>
                </a:lnTo>
                <a:lnTo>
                  <a:pt x="953" y="1982"/>
                </a:lnTo>
                <a:lnTo>
                  <a:pt x="979" y="1946"/>
                </a:lnTo>
                <a:lnTo>
                  <a:pt x="1385" y="1242"/>
                </a:lnTo>
                <a:lnTo>
                  <a:pt x="1402" y="1204"/>
                </a:lnTo>
                <a:lnTo>
                  <a:pt x="1411" y="1161"/>
                </a:lnTo>
                <a:lnTo>
                  <a:pt x="1411" y="1118"/>
                </a:lnTo>
                <a:lnTo>
                  <a:pt x="1402" y="1077"/>
                </a:lnTo>
                <a:lnTo>
                  <a:pt x="1385" y="1037"/>
                </a:lnTo>
                <a:lnTo>
                  <a:pt x="979" y="334"/>
                </a:lnTo>
                <a:lnTo>
                  <a:pt x="958" y="306"/>
                </a:lnTo>
                <a:lnTo>
                  <a:pt x="933" y="280"/>
                </a:lnTo>
                <a:lnTo>
                  <a:pt x="903" y="260"/>
                </a:lnTo>
                <a:lnTo>
                  <a:pt x="871" y="245"/>
                </a:lnTo>
                <a:lnTo>
                  <a:pt x="837" y="237"/>
                </a:lnTo>
                <a:lnTo>
                  <a:pt x="800" y="233"/>
                </a:lnTo>
                <a:lnTo>
                  <a:pt x="0" y="233"/>
                </a:lnTo>
                <a:lnTo>
                  <a:pt x="59" y="130"/>
                </a:lnTo>
                <a:lnTo>
                  <a:pt x="86" y="93"/>
                </a:lnTo>
                <a:lnTo>
                  <a:pt x="118" y="61"/>
                </a:lnTo>
                <a:lnTo>
                  <a:pt x="154" y="36"/>
                </a:lnTo>
                <a:lnTo>
                  <a:pt x="194" y="17"/>
                </a:lnTo>
                <a:lnTo>
                  <a:pt x="238" y="5"/>
                </a:lnTo>
                <a:lnTo>
                  <a:pt x="283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ru-RU">
              <a:cs typeface="+mn-ea"/>
              <a:sym typeface="+mn-lt"/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56D3A36-F03D-401C-B9BF-1CA505BB29B0}"/>
              </a:ext>
            </a:extLst>
          </p:cNvPr>
          <p:cNvSpPr/>
          <p:nvPr/>
        </p:nvSpPr>
        <p:spPr bwMode="auto">
          <a:xfrm>
            <a:off x="8023016" y="3520177"/>
            <a:ext cx="2039484" cy="62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3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</a:t>
            </a:r>
            <a:r>
              <a:rPr lang="en-US" altLang="zh-CN" sz="1100">
                <a:cs typeface="+mn-ea"/>
                <a:sym typeface="+mn-lt"/>
              </a:rPr>
              <a:t>the 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only </a:t>
            </a:r>
            <a:r>
              <a:rPr lang="en-US" altLang="zh-CN" sz="1100" dirty="0">
                <a:cs typeface="+mn-ea"/>
                <a:sym typeface="+mn-lt"/>
              </a:rPr>
              <a:t>option to retain text.</a:t>
            </a: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F1AE2990-2514-44A1-9D42-A80E97FA76B5}"/>
              </a:ext>
            </a:extLst>
          </p:cNvPr>
          <p:cNvSpPr txBox="1"/>
          <p:nvPr/>
        </p:nvSpPr>
        <p:spPr bwMode="auto">
          <a:xfrm>
            <a:off x="8023016" y="2871893"/>
            <a:ext cx="2039484" cy="549232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2000" b="1">
                <a:cs typeface="+mn-ea"/>
                <a:sym typeface="+mn-lt"/>
              </a:rPr>
              <a:t>Text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sz="2000" b="1">
                <a:cs typeface="+mn-ea"/>
                <a:sym typeface="+mn-lt"/>
              </a:rPr>
              <a:t> </a:t>
            </a:r>
            <a:r>
              <a:rPr lang="en-US" altLang="zh-CN" sz="2000" b="1" dirty="0">
                <a:cs typeface="+mn-ea"/>
                <a:sym typeface="+mn-lt"/>
              </a:rPr>
              <a:t>here</a:t>
            </a: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D0F990B2-3979-46F3-86D0-D96AC553B7F1}"/>
              </a:ext>
            </a:extLst>
          </p:cNvPr>
          <p:cNvSpPr/>
          <p:nvPr/>
        </p:nvSpPr>
        <p:spPr bwMode="auto">
          <a:xfrm>
            <a:off x="8023016" y="4199915"/>
            <a:ext cx="2039484" cy="62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3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</a:t>
            </a:r>
            <a:r>
              <a:rPr lang="en-US" altLang="zh-CN" sz="1100">
                <a:cs typeface="+mn-ea"/>
                <a:sym typeface="+mn-lt"/>
              </a:rPr>
              <a:t>the 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only </a:t>
            </a:r>
            <a:r>
              <a:rPr lang="en-US" altLang="zh-CN" sz="1100" dirty="0">
                <a:cs typeface="+mn-ea"/>
                <a:sym typeface="+mn-lt"/>
              </a:rPr>
              <a:t>option to retain text.</a:t>
            </a:r>
          </a:p>
        </p:txBody>
      </p:sp>
      <p:cxnSp>
        <p:nvCxnSpPr>
          <p:cNvPr id="18" name="直接连接符 17">
            <a:extLst>
              <a:ext uri="{FF2B5EF4-FFF2-40B4-BE49-F238E27FC236}">
                <a16:creationId xmlns:a16="http://schemas.microsoft.com/office/drawing/2014/main" id="{D0A54A90-D137-4DF9-B71D-58EE2B02AFBF}"/>
              </a:ext>
            </a:extLst>
          </p:cNvPr>
          <p:cNvCxnSpPr>
            <a:cxnSpLocks/>
          </p:cNvCxnSpPr>
          <p:nvPr/>
        </p:nvCxnSpPr>
        <p:spPr>
          <a:xfrm>
            <a:off x="8023016" y="4170128"/>
            <a:ext cx="2039484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任意多边形: 形状 12">
            <a:extLst>
              <a:ext uri="{FF2B5EF4-FFF2-40B4-BE49-F238E27FC236}">
                <a16:creationId xmlns:a16="http://schemas.microsoft.com/office/drawing/2014/main" id="{E96A2335-3EB0-478F-AFA7-BD5BC598D194}"/>
              </a:ext>
            </a:extLst>
          </p:cNvPr>
          <p:cNvSpPr/>
          <p:nvPr/>
        </p:nvSpPr>
        <p:spPr>
          <a:xfrm>
            <a:off x="786448" y="2313092"/>
            <a:ext cx="483548" cy="504626"/>
          </a:xfrm>
          <a:custGeom>
            <a:avLst/>
            <a:gdLst>
              <a:gd name="connsiteX0" fmla="*/ 381018 w 608549"/>
              <a:gd name="connsiteY0" fmla="*/ 473169 h 561377"/>
              <a:gd name="connsiteX1" fmla="*/ 425157 w 608549"/>
              <a:gd name="connsiteY1" fmla="*/ 517273 h 561377"/>
              <a:gd name="connsiteX2" fmla="*/ 381018 w 608549"/>
              <a:gd name="connsiteY2" fmla="*/ 561377 h 561377"/>
              <a:gd name="connsiteX3" fmla="*/ 336879 w 608549"/>
              <a:gd name="connsiteY3" fmla="*/ 517273 h 561377"/>
              <a:gd name="connsiteX4" fmla="*/ 381018 w 608549"/>
              <a:gd name="connsiteY4" fmla="*/ 473169 h 561377"/>
              <a:gd name="connsiteX5" fmla="*/ 146741 w 608549"/>
              <a:gd name="connsiteY5" fmla="*/ 473169 h 561377"/>
              <a:gd name="connsiteX6" fmla="*/ 190880 w 608549"/>
              <a:gd name="connsiteY6" fmla="*/ 517273 h 561377"/>
              <a:gd name="connsiteX7" fmla="*/ 146741 w 608549"/>
              <a:gd name="connsiteY7" fmla="*/ 561377 h 561377"/>
              <a:gd name="connsiteX8" fmla="*/ 102602 w 608549"/>
              <a:gd name="connsiteY8" fmla="*/ 517273 h 561377"/>
              <a:gd name="connsiteX9" fmla="*/ 146741 w 608549"/>
              <a:gd name="connsiteY9" fmla="*/ 473169 h 561377"/>
              <a:gd name="connsiteX10" fmla="*/ 340091 w 608549"/>
              <a:gd name="connsiteY10" fmla="*/ 405920 h 561377"/>
              <a:gd name="connsiteX11" fmla="*/ 445268 w 608549"/>
              <a:gd name="connsiteY11" fmla="*/ 405920 h 561377"/>
              <a:gd name="connsiteX12" fmla="*/ 431622 w 608549"/>
              <a:gd name="connsiteY12" fmla="*/ 458350 h 561377"/>
              <a:gd name="connsiteX13" fmla="*/ 335821 w 608549"/>
              <a:gd name="connsiteY13" fmla="*/ 458350 h 561377"/>
              <a:gd name="connsiteX14" fmla="*/ 204428 w 608549"/>
              <a:gd name="connsiteY14" fmla="*/ 405920 h 561377"/>
              <a:gd name="connsiteX15" fmla="*/ 323260 w 608549"/>
              <a:gd name="connsiteY15" fmla="*/ 405920 h 561377"/>
              <a:gd name="connsiteX16" fmla="*/ 318989 w 608549"/>
              <a:gd name="connsiteY16" fmla="*/ 458350 h 561377"/>
              <a:gd name="connsiteX17" fmla="*/ 208699 w 608549"/>
              <a:gd name="connsiteY17" fmla="*/ 458350 h 561377"/>
              <a:gd name="connsiteX18" fmla="*/ 82420 w 608549"/>
              <a:gd name="connsiteY18" fmla="*/ 405920 h 561377"/>
              <a:gd name="connsiteX19" fmla="*/ 187643 w 608549"/>
              <a:gd name="connsiteY19" fmla="*/ 405920 h 561377"/>
              <a:gd name="connsiteX20" fmla="*/ 192008 w 608549"/>
              <a:gd name="connsiteY20" fmla="*/ 458350 h 561377"/>
              <a:gd name="connsiteX21" fmla="*/ 96072 w 608549"/>
              <a:gd name="connsiteY21" fmla="*/ 458350 h 561377"/>
              <a:gd name="connsiteX22" fmla="*/ 348616 w 608549"/>
              <a:gd name="connsiteY22" fmla="*/ 301060 h 561377"/>
              <a:gd name="connsiteX23" fmla="*/ 472294 w 608549"/>
              <a:gd name="connsiteY23" fmla="*/ 301060 h 561377"/>
              <a:gd name="connsiteX24" fmla="*/ 449638 w 608549"/>
              <a:gd name="connsiteY24" fmla="*/ 389549 h 561377"/>
              <a:gd name="connsiteX25" fmla="*/ 341466 w 608549"/>
              <a:gd name="connsiteY25" fmla="*/ 389549 h 561377"/>
              <a:gd name="connsiteX26" fmla="*/ 195890 w 608549"/>
              <a:gd name="connsiteY26" fmla="*/ 301060 h 561377"/>
              <a:gd name="connsiteX27" fmla="*/ 331799 w 608549"/>
              <a:gd name="connsiteY27" fmla="*/ 301060 h 561377"/>
              <a:gd name="connsiteX28" fmla="*/ 324651 w 608549"/>
              <a:gd name="connsiteY28" fmla="*/ 389549 h 561377"/>
              <a:gd name="connsiteX29" fmla="*/ 203038 w 608549"/>
              <a:gd name="connsiteY29" fmla="*/ 389549 h 561377"/>
              <a:gd name="connsiteX30" fmla="*/ 55394 w 608549"/>
              <a:gd name="connsiteY30" fmla="*/ 301060 h 561377"/>
              <a:gd name="connsiteX31" fmla="*/ 179165 w 608549"/>
              <a:gd name="connsiteY31" fmla="*/ 301060 h 561377"/>
              <a:gd name="connsiteX32" fmla="*/ 186222 w 608549"/>
              <a:gd name="connsiteY32" fmla="*/ 389549 h 561377"/>
              <a:gd name="connsiteX33" fmla="*/ 78050 w 608549"/>
              <a:gd name="connsiteY33" fmla="*/ 389549 h 561377"/>
              <a:gd name="connsiteX34" fmla="*/ 189892 w 608549"/>
              <a:gd name="connsiteY34" fmla="*/ 229013 h 561377"/>
              <a:gd name="connsiteX35" fmla="*/ 337868 w 608549"/>
              <a:gd name="connsiteY35" fmla="*/ 229013 h 561377"/>
              <a:gd name="connsiteX36" fmla="*/ 333226 w 608549"/>
              <a:gd name="connsiteY36" fmla="*/ 284619 h 561377"/>
              <a:gd name="connsiteX37" fmla="*/ 194534 w 608549"/>
              <a:gd name="connsiteY37" fmla="*/ 284619 h 561377"/>
              <a:gd name="connsiteX38" fmla="*/ 36200 w 608549"/>
              <a:gd name="connsiteY38" fmla="*/ 229013 h 561377"/>
              <a:gd name="connsiteX39" fmla="*/ 173089 w 608549"/>
              <a:gd name="connsiteY39" fmla="*/ 229013 h 561377"/>
              <a:gd name="connsiteX40" fmla="*/ 177825 w 608549"/>
              <a:gd name="connsiteY40" fmla="*/ 284619 h 561377"/>
              <a:gd name="connsiteX41" fmla="*/ 51059 w 608549"/>
              <a:gd name="connsiteY41" fmla="*/ 284619 h 561377"/>
              <a:gd name="connsiteX42" fmla="*/ 531055 w 608549"/>
              <a:gd name="connsiteY42" fmla="*/ 143841 h 561377"/>
              <a:gd name="connsiteX43" fmla="*/ 583971 w 608549"/>
              <a:gd name="connsiteY43" fmla="*/ 143841 h 561377"/>
              <a:gd name="connsiteX44" fmla="*/ 583971 w 608549"/>
              <a:gd name="connsiteY44" fmla="*/ 196204 h 561377"/>
              <a:gd name="connsiteX45" fmla="*/ 540432 w 608549"/>
              <a:gd name="connsiteY45" fmla="*/ 196204 h 561377"/>
              <a:gd name="connsiteX46" fmla="*/ 486309 w 608549"/>
              <a:gd name="connsiteY46" fmla="*/ 249309 h 561377"/>
              <a:gd name="connsiteX47" fmla="*/ 476654 w 608549"/>
              <a:gd name="connsiteY47" fmla="*/ 284619 h 561377"/>
              <a:gd name="connsiteX48" fmla="*/ 349934 w 608549"/>
              <a:gd name="connsiteY48" fmla="*/ 284619 h 561377"/>
              <a:gd name="connsiteX49" fmla="*/ 354669 w 608549"/>
              <a:gd name="connsiteY49" fmla="*/ 229012 h 561377"/>
              <a:gd name="connsiteX50" fmla="*/ 437849 w 608549"/>
              <a:gd name="connsiteY50" fmla="*/ 229012 h 561377"/>
              <a:gd name="connsiteX51" fmla="*/ 443233 w 608549"/>
              <a:gd name="connsiteY51" fmla="*/ 221042 h 561377"/>
              <a:gd name="connsiteX52" fmla="*/ 511189 w 608549"/>
              <a:gd name="connsiteY52" fmla="*/ 153016 h 561377"/>
              <a:gd name="connsiteX53" fmla="*/ 517316 w 608549"/>
              <a:gd name="connsiteY53" fmla="*/ 148104 h 561377"/>
              <a:gd name="connsiteX54" fmla="*/ 531055 w 608549"/>
              <a:gd name="connsiteY54" fmla="*/ 143841 h 561377"/>
              <a:gd name="connsiteX55" fmla="*/ 113649 w 608549"/>
              <a:gd name="connsiteY55" fmla="*/ 3 h 561377"/>
              <a:gd name="connsiteX56" fmla="*/ 238362 w 608549"/>
              <a:gd name="connsiteY56" fmla="*/ 56970 h 561377"/>
              <a:gd name="connsiteX57" fmla="*/ 261391 w 608549"/>
              <a:gd name="connsiteY57" fmla="*/ 34726 h 561377"/>
              <a:gd name="connsiteX58" fmla="*/ 292776 w 608549"/>
              <a:gd name="connsiteY58" fmla="*/ 199234 h 561377"/>
              <a:gd name="connsiteX59" fmla="*/ 128792 w 608549"/>
              <a:gd name="connsiteY59" fmla="*/ 163460 h 561377"/>
              <a:gd name="connsiteX60" fmla="*/ 151820 w 608549"/>
              <a:gd name="connsiteY60" fmla="*/ 141124 h 561377"/>
              <a:gd name="connsiteX61" fmla="*/ 0 w 608549"/>
              <a:gd name="connsiteY61" fmla="*/ 36673 h 561377"/>
              <a:gd name="connsiteX62" fmla="*/ 113649 w 608549"/>
              <a:gd name="connsiteY62" fmla="*/ 3 h 561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608549" h="561377">
                <a:moveTo>
                  <a:pt x="381018" y="473169"/>
                </a:moveTo>
                <a:cubicBezTo>
                  <a:pt x="405395" y="473169"/>
                  <a:pt x="425157" y="492915"/>
                  <a:pt x="425157" y="517273"/>
                </a:cubicBezTo>
                <a:cubicBezTo>
                  <a:pt x="425157" y="541631"/>
                  <a:pt x="405395" y="561377"/>
                  <a:pt x="381018" y="561377"/>
                </a:cubicBezTo>
                <a:cubicBezTo>
                  <a:pt x="356641" y="561377"/>
                  <a:pt x="336879" y="541631"/>
                  <a:pt x="336879" y="517273"/>
                </a:cubicBezTo>
                <a:cubicBezTo>
                  <a:pt x="336879" y="492915"/>
                  <a:pt x="356641" y="473169"/>
                  <a:pt x="381018" y="473169"/>
                </a:cubicBezTo>
                <a:close/>
                <a:moveTo>
                  <a:pt x="146741" y="473169"/>
                </a:moveTo>
                <a:cubicBezTo>
                  <a:pt x="171118" y="473169"/>
                  <a:pt x="190880" y="492915"/>
                  <a:pt x="190880" y="517273"/>
                </a:cubicBezTo>
                <a:cubicBezTo>
                  <a:pt x="190880" y="541631"/>
                  <a:pt x="171118" y="561377"/>
                  <a:pt x="146741" y="561377"/>
                </a:cubicBezTo>
                <a:cubicBezTo>
                  <a:pt x="122364" y="561377"/>
                  <a:pt x="102602" y="541631"/>
                  <a:pt x="102602" y="517273"/>
                </a:cubicBezTo>
                <a:cubicBezTo>
                  <a:pt x="102602" y="492915"/>
                  <a:pt x="122364" y="473169"/>
                  <a:pt x="146741" y="473169"/>
                </a:cubicBezTo>
                <a:close/>
                <a:moveTo>
                  <a:pt x="340091" y="405920"/>
                </a:moveTo>
                <a:lnTo>
                  <a:pt x="445268" y="405920"/>
                </a:lnTo>
                <a:lnTo>
                  <a:pt x="431622" y="458350"/>
                </a:lnTo>
                <a:lnTo>
                  <a:pt x="335821" y="458350"/>
                </a:lnTo>
                <a:close/>
                <a:moveTo>
                  <a:pt x="204428" y="405920"/>
                </a:moveTo>
                <a:lnTo>
                  <a:pt x="323260" y="405920"/>
                </a:lnTo>
                <a:lnTo>
                  <a:pt x="318989" y="458350"/>
                </a:lnTo>
                <a:lnTo>
                  <a:pt x="208699" y="458350"/>
                </a:lnTo>
                <a:close/>
                <a:moveTo>
                  <a:pt x="82420" y="405920"/>
                </a:moveTo>
                <a:lnTo>
                  <a:pt x="187643" y="405920"/>
                </a:lnTo>
                <a:lnTo>
                  <a:pt x="192008" y="458350"/>
                </a:lnTo>
                <a:lnTo>
                  <a:pt x="96072" y="458350"/>
                </a:lnTo>
                <a:close/>
                <a:moveTo>
                  <a:pt x="348616" y="301060"/>
                </a:moveTo>
                <a:lnTo>
                  <a:pt x="472294" y="301060"/>
                </a:lnTo>
                <a:lnTo>
                  <a:pt x="449638" y="389549"/>
                </a:lnTo>
                <a:lnTo>
                  <a:pt x="341466" y="389549"/>
                </a:lnTo>
                <a:close/>
                <a:moveTo>
                  <a:pt x="195890" y="301060"/>
                </a:moveTo>
                <a:lnTo>
                  <a:pt x="331799" y="301060"/>
                </a:lnTo>
                <a:lnTo>
                  <a:pt x="324651" y="389549"/>
                </a:lnTo>
                <a:lnTo>
                  <a:pt x="203038" y="389549"/>
                </a:lnTo>
                <a:close/>
                <a:moveTo>
                  <a:pt x="55394" y="301060"/>
                </a:moveTo>
                <a:lnTo>
                  <a:pt x="179165" y="301060"/>
                </a:lnTo>
                <a:lnTo>
                  <a:pt x="186222" y="389549"/>
                </a:lnTo>
                <a:lnTo>
                  <a:pt x="78050" y="389549"/>
                </a:lnTo>
                <a:close/>
                <a:moveTo>
                  <a:pt x="189892" y="229013"/>
                </a:moveTo>
                <a:lnTo>
                  <a:pt x="337868" y="229013"/>
                </a:lnTo>
                <a:lnTo>
                  <a:pt x="333226" y="284619"/>
                </a:lnTo>
                <a:lnTo>
                  <a:pt x="194534" y="284619"/>
                </a:lnTo>
                <a:close/>
                <a:moveTo>
                  <a:pt x="36200" y="229013"/>
                </a:moveTo>
                <a:lnTo>
                  <a:pt x="173089" y="229013"/>
                </a:lnTo>
                <a:lnTo>
                  <a:pt x="177825" y="284619"/>
                </a:lnTo>
                <a:lnTo>
                  <a:pt x="51059" y="284619"/>
                </a:lnTo>
                <a:close/>
                <a:moveTo>
                  <a:pt x="531055" y="143841"/>
                </a:moveTo>
                <a:lnTo>
                  <a:pt x="583971" y="143841"/>
                </a:lnTo>
                <a:cubicBezTo>
                  <a:pt x="616742" y="143841"/>
                  <a:pt x="616742" y="196204"/>
                  <a:pt x="583971" y="196204"/>
                </a:cubicBezTo>
                <a:lnTo>
                  <a:pt x="540432" y="196204"/>
                </a:lnTo>
                <a:cubicBezTo>
                  <a:pt x="522422" y="212608"/>
                  <a:pt x="504319" y="231237"/>
                  <a:pt x="486309" y="249309"/>
                </a:cubicBezTo>
                <a:lnTo>
                  <a:pt x="476654" y="284619"/>
                </a:lnTo>
                <a:lnTo>
                  <a:pt x="349934" y="284619"/>
                </a:lnTo>
                <a:lnTo>
                  <a:pt x="354669" y="229012"/>
                </a:lnTo>
                <a:lnTo>
                  <a:pt x="437849" y="229012"/>
                </a:lnTo>
                <a:cubicBezTo>
                  <a:pt x="439056" y="225676"/>
                  <a:pt x="440727" y="223544"/>
                  <a:pt x="443233" y="221042"/>
                </a:cubicBezTo>
                <a:cubicBezTo>
                  <a:pt x="465885" y="198429"/>
                  <a:pt x="488537" y="175630"/>
                  <a:pt x="511189" y="153016"/>
                </a:cubicBezTo>
                <a:cubicBezTo>
                  <a:pt x="513138" y="151070"/>
                  <a:pt x="515180" y="149309"/>
                  <a:pt x="517316" y="148104"/>
                </a:cubicBezTo>
                <a:cubicBezTo>
                  <a:pt x="520936" y="145695"/>
                  <a:pt x="525485" y="143841"/>
                  <a:pt x="531055" y="143841"/>
                </a:cubicBezTo>
                <a:close/>
                <a:moveTo>
                  <a:pt x="113649" y="3"/>
                </a:moveTo>
                <a:cubicBezTo>
                  <a:pt x="152263" y="202"/>
                  <a:pt x="196298" y="13839"/>
                  <a:pt x="238362" y="56970"/>
                </a:cubicBezTo>
                <a:lnTo>
                  <a:pt x="261391" y="34726"/>
                </a:lnTo>
                <a:lnTo>
                  <a:pt x="292776" y="199234"/>
                </a:lnTo>
                <a:lnTo>
                  <a:pt x="128792" y="163460"/>
                </a:lnTo>
                <a:lnTo>
                  <a:pt x="151820" y="141124"/>
                </a:lnTo>
                <a:cubicBezTo>
                  <a:pt x="60635" y="47702"/>
                  <a:pt x="0" y="36673"/>
                  <a:pt x="0" y="36673"/>
                </a:cubicBezTo>
                <a:cubicBezTo>
                  <a:pt x="0" y="36673"/>
                  <a:pt x="49294" y="-327"/>
                  <a:pt x="113649" y="3"/>
                </a:cubicBezTo>
                <a:close/>
              </a:path>
            </a:pathLst>
          </a:custGeom>
          <a:solidFill>
            <a:schemeClr val="accent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14" name="任意多边形: 形状 13">
            <a:extLst>
              <a:ext uri="{FF2B5EF4-FFF2-40B4-BE49-F238E27FC236}">
                <a16:creationId xmlns:a16="http://schemas.microsoft.com/office/drawing/2014/main" id="{0A41DC40-ECF6-4087-B11D-7294AE3B44CF}"/>
              </a:ext>
            </a:extLst>
          </p:cNvPr>
          <p:cNvSpPr/>
          <p:nvPr/>
        </p:nvSpPr>
        <p:spPr>
          <a:xfrm>
            <a:off x="4462199" y="2313092"/>
            <a:ext cx="483548" cy="504626"/>
          </a:xfrm>
          <a:custGeom>
            <a:avLst/>
            <a:gdLst>
              <a:gd name="connsiteX0" fmla="*/ 519512 w 581137"/>
              <a:gd name="connsiteY0" fmla="*/ 332111 h 606469"/>
              <a:gd name="connsiteX1" fmla="*/ 540163 w 581137"/>
              <a:gd name="connsiteY1" fmla="*/ 340671 h 606469"/>
              <a:gd name="connsiteX2" fmla="*/ 572553 w 581137"/>
              <a:gd name="connsiteY2" fmla="*/ 373014 h 606469"/>
              <a:gd name="connsiteX3" fmla="*/ 572553 w 581137"/>
              <a:gd name="connsiteY3" fmla="*/ 414307 h 606469"/>
              <a:gd name="connsiteX4" fmla="*/ 388637 w 581137"/>
              <a:gd name="connsiteY4" fmla="*/ 597958 h 606469"/>
              <a:gd name="connsiteX5" fmla="*/ 367986 w 581137"/>
              <a:gd name="connsiteY5" fmla="*/ 606469 h 606469"/>
              <a:gd name="connsiteX6" fmla="*/ 347334 w 581137"/>
              <a:gd name="connsiteY6" fmla="*/ 597958 h 606469"/>
              <a:gd name="connsiteX7" fmla="*/ 311096 w 581137"/>
              <a:gd name="connsiteY7" fmla="*/ 561772 h 606469"/>
              <a:gd name="connsiteX8" fmla="*/ 294244 w 581137"/>
              <a:gd name="connsiteY8" fmla="*/ 544944 h 606469"/>
              <a:gd name="connsiteX9" fmla="*/ 257860 w 581137"/>
              <a:gd name="connsiteY9" fmla="*/ 508613 h 606469"/>
              <a:gd name="connsiteX10" fmla="*/ 257860 w 581137"/>
              <a:gd name="connsiteY10" fmla="*/ 467320 h 606469"/>
              <a:gd name="connsiteX11" fmla="*/ 290250 w 581137"/>
              <a:gd name="connsiteY11" fmla="*/ 434977 h 606469"/>
              <a:gd name="connsiteX12" fmla="*/ 310901 w 581137"/>
              <a:gd name="connsiteY12" fmla="*/ 426417 h 606469"/>
              <a:gd name="connsiteX13" fmla="*/ 331553 w 581137"/>
              <a:gd name="connsiteY13" fmla="*/ 434977 h 606469"/>
              <a:gd name="connsiteX14" fmla="*/ 367986 w 581137"/>
              <a:gd name="connsiteY14" fmla="*/ 471308 h 606469"/>
              <a:gd name="connsiteX15" fmla="*/ 377970 w 581137"/>
              <a:gd name="connsiteY15" fmla="*/ 461387 h 606469"/>
              <a:gd name="connsiteX16" fmla="*/ 498860 w 581137"/>
              <a:gd name="connsiteY16" fmla="*/ 340671 h 606469"/>
              <a:gd name="connsiteX17" fmla="*/ 519512 w 581137"/>
              <a:gd name="connsiteY17" fmla="*/ 332111 h 606469"/>
              <a:gd name="connsiteX18" fmla="*/ 51961 w 581137"/>
              <a:gd name="connsiteY18" fmla="*/ 289771 h 606469"/>
              <a:gd name="connsiteX19" fmla="*/ 97543 w 581137"/>
              <a:gd name="connsiteY19" fmla="*/ 289771 h 606469"/>
              <a:gd name="connsiteX20" fmla="*/ 116486 w 581137"/>
              <a:gd name="connsiteY20" fmla="*/ 304796 h 606469"/>
              <a:gd name="connsiteX21" fmla="*/ 143368 w 581137"/>
              <a:gd name="connsiteY21" fmla="*/ 419113 h 606469"/>
              <a:gd name="connsiteX22" fmla="*/ 159828 w 581137"/>
              <a:gd name="connsiteY22" fmla="*/ 445030 h 606469"/>
              <a:gd name="connsiteX23" fmla="*/ 160120 w 581137"/>
              <a:gd name="connsiteY23" fmla="*/ 406228 h 606469"/>
              <a:gd name="connsiteX24" fmla="*/ 180233 w 581137"/>
              <a:gd name="connsiteY24" fmla="*/ 331394 h 606469"/>
              <a:gd name="connsiteX25" fmla="*/ 166792 w 581137"/>
              <a:gd name="connsiteY25" fmla="*/ 301781 h 606469"/>
              <a:gd name="connsiteX26" fmla="*/ 174535 w 581137"/>
              <a:gd name="connsiteY26" fmla="*/ 289771 h 606469"/>
              <a:gd name="connsiteX27" fmla="*/ 188998 w 581137"/>
              <a:gd name="connsiteY27" fmla="*/ 289771 h 606469"/>
              <a:gd name="connsiteX28" fmla="*/ 203413 w 581137"/>
              <a:gd name="connsiteY28" fmla="*/ 289771 h 606469"/>
              <a:gd name="connsiteX29" fmla="*/ 211156 w 581137"/>
              <a:gd name="connsiteY29" fmla="*/ 301781 h 606469"/>
              <a:gd name="connsiteX30" fmla="*/ 197715 w 581137"/>
              <a:gd name="connsiteY30" fmla="*/ 331394 h 606469"/>
              <a:gd name="connsiteX31" fmla="*/ 217876 w 581137"/>
              <a:gd name="connsiteY31" fmla="*/ 406228 h 606469"/>
              <a:gd name="connsiteX32" fmla="*/ 218120 w 581137"/>
              <a:gd name="connsiteY32" fmla="*/ 445030 h 606469"/>
              <a:gd name="connsiteX33" fmla="*/ 234580 w 581137"/>
              <a:gd name="connsiteY33" fmla="*/ 419113 h 606469"/>
              <a:gd name="connsiteX34" fmla="*/ 261462 w 581137"/>
              <a:gd name="connsiteY34" fmla="*/ 304796 h 606469"/>
              <a:gd name="connsiteX35" fmla="*/ 280405 w 581137"/>
              <a:gd name="connsiteY35" fmla="*/ 289771 h 606469"/>
              <a:gd name="connsiteX36" fmla="*/ 325987 w 581137"/>
              <a:gd name="connsiteY36" fmla="*/ 289771 h 606469"/>
              <a:gd name="connsiteX37" fmla="*/ 377948 w 581137"/>
              <a:gd name="connsiteY37" fmla="*/ 341654 h 606469"/>
              <a:gd name="connsiteX38" fmla="*/ 377948 w 581137"/>
              <a:gd name="connsiteY38" fmla="*/ 433847 h 606469"/>
              <a:gd name="connsiteX39" fmla="*/ 367965 w 581137"/>
              <a:gd name="connsiteY39" fmla="*/ 443815 h 606469"/>
              <a:gd name="connsiteX40" fmla="*/ 345320 w 581137"/>
              <a:gd name="connsiteY40" fmla="*/ 421204 h 606469"/>
              <a:gd name="connsiteX41" fmla="*/ 310890 w 581137"/>
              <a:gd name="connsiteY41" fmla="*/ 406957 h 606469"/>
              <a:gd name="connsiteX42" fmla="*/ 276461 w 581137"/>
              <a:gd name="connsiteY42" fmla="*/ 421204 h 606469"/>
              <a:gd name="connsiteX43" fmla="*/ 244076 w 581137"/>
              <a:gd name="connsiteY43" fmla="*/ 453540 h 606469"/>
              <a:gd name="connsiteX44" fmla="*/ 244076 w 581137"/>
              <a:gd name="connsiteY44" fmla="*/ 522344 h 606469"/>
              <a:gd name="connsiteX45" fmla="*/ 280454 w 581137"/>
              <a:gd name="connsiteY45" fmla="*/ 558667 h 606469"/>
              <a:gd name="connsiteX46" fmla="*/ 283522 w 581137"/>
              <a:gd name="connsiteY46" fmla="*/ 561730 h 606469"/>
              <a:gd name="connsiteX47" fmla="*/ 188998 w 581137"/>
              <a:gd name="connsiteY47" fmla="*/ 561730 h 606469"/>
              <a:gd name="connsiteX48" fmla="*/ 19479 w 581137"/>
              <a:gd name="connsiteY48" fmla="*/ 561730 h 606469"/>
              <a:gd name="connsiteX49" fmla="*/ 0 w 581137"/>
              <a:gd name="connsiteY49" fmla="*/ 542280 h 606469"/>
              <a:gd name="connsiteX50" fmla="*/ 0 w 581137"/>
              <a:gd name="connsiteY50" fmla="*/ 341654 h 606469"/>
              <a:gd name="connsiteX51" fmla="*/ 51961 w 581137"/>
              <a:gd name="connsiteY51" fmla="*/ 289771 h 606469"/>
              <a:gd name="connsiteX52" fmla="*/ 273435 w 581137"/>
              <a:gd name="connsiteY52" fmla="*/ 375 h 606469"/>
              <a:gd name="connsiteX53" fmla="*/ 303290 w 581137"/>
              <a:gd name="connsiteY53" fmla="*/ 25467 h 606469"/>
              <a:gd name="connsiteX54" fmla="*/ 303290 w 581137"/>
              <a:gd name="connsiteY54" fmla="*/ 135216 h 606469"/>
              <a:gd name="connsiteX55" fmla="*/ 303290 w 581137"/>
              <a:gd name="connsiteY55" fmla="*/ 147422 h 606469"/>
              <a:gd name="connsiteX56" fmla="*/ 189032 w 581137"/>
              <a:gd name="connsiteY56" fmla="*/ 262180 h 606469"/>
              <a:gd name="connsiteX57" fmla="*/ 73459 w 581137"/>
              <a:gd name="connsiteY57" fmla="*/ 147422 h 606469"/>
              <a:gd name="connsiteX58" fmla="*/ 73459 w 581137"/>
              <a:gd name="connsiteY58" fmla="*/ 81922 h 606469"/>
              <a:gd name="connsiteX59" fmla="*/ 115100 w 581137"/>
              <a:gd name="connsiteY59" fmla="*/ 31059 h 606469"/>
              <a:gd name="connsiteX60" fmla="*/ 273435 w 581137"/>
              <a:gd name="connsiteY60" fmla="*/ 375 h 6064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</a:cxnLst>
            <a:rect l="l" t="t" r="r" b="b"/>
            <a:pathLst>
              <a:path w="581137" h="606469">
                <a:moveTo>
                  <a:pt x="519512" y="332111"/>
                </a:moveTo>
                <a:cubicBezTo>
                  <a:pt x="526964" y="332111"/>
                  <a:pt x="534464" y="334981"/>
                  <a:pt x="540163" y="340671"/>
                </a:cubicBezTo>
                <a:lnTo>
                  <a:pt x="572553" y="373014"/>
                </a:lnTo>
                <a:cubicBezTo>
                  <a:pt x="583999" y="384395"/>
                  <a:pt x="583999" y="402877"/>
                  <a:pt x="572553" y="414307"/>
                </a:cubicBezTo>
                <a:lnTo>
                  <a:pt x="388637" y="597958"/>
                </a:lnTo>
                <a:cubicBezTo>
                  <a:pt x="382938" y="603648"/>
                  <a:pt x="375486" y="606469"/>
                  <a:pt x="367986" y="606469"/>
                </a:cubicBezTo>
                <a:cubicBezTo>
                  <a:pt x="360485" y="606469"/>
                  <a:pt x="353033" y="603648"/>
                  <a:pt x="347334" y="597958"/>
                </a:cubicBezTo>
                <a:lnTo>
                  <a:pt x="311096" y="561772"/>
                </a:lnTo>
                <a:lnTo>
                  <a:pt x="294244" y="544944"/>
                </a:lnTo>
                <a:lnTo>
                  <a:pt x="257860" y="508613"/>
                </a:lnTo>
                <a:cubicBezTo>
                  <a:pt x="246414" y="497183"/>
                  <a:pt x="246414" y="478701"/>
                  <a:pt x="257860" y="467320"/>
                </a:cubicBezTo>
                <a:lnTo>
                  <a:pt x="290250" y="434977"/>
                </a:lnTo>
                <a:cubicBezTo>
                  <a:pt x="295949" y="429287"/>
                  <a:pt x="303449" y="426417"/>
                  <a:pt x="310901" y="426417"/>
                </a:cubicBezTo>
                <a:cubicBezTo>
                  <a:pt x="318402" y="426417"/>
                  <a:pt x="325854" y="429287"/>
                  <a:pt x="331553" y="434977"/>
                </a:cubicBezTo>
                <a:lnTo>
                  <a:pt x="367986" y="471308"/>
                </a:lnTo>
                <a:lnTo>
                  <a:pt x="377970" y="461387"/>
                </a:lnTo>
                <a:lnTo>
                  <a:pt x="498860" y="340671"/>
                </a:lnTo>
                <a:cubicBezTo>
                  <a:pt x="504559" y="334981"/>
                  <a:pt x="512011" y="332111"/>
                  <a:pt x="519512" y="332111"/>
                </a:cubicBezTo>
                <a:close/>
                <a:moveTo>
                  <a:pt x="51961" y="289771"/>
                </a:moveTo>
                <a:lnTo>
                  <a:pt x="97543" y="289771"/>
                </a:lnTo>
                <a:cubicBezTo>
                  <a:pt x="106601" y="289771"/>
                  <a:pt x="114441" y="295995"/>
                  <a:pt x="116486" y="304796"/>
                </a:cubicBezTo>
                <a:lnTo>
                  <a:pt x="143368" y="419113"/>
                </a:lnTo>
                <a:cubicBezTo>
                  <a:pt x="145852" y="429665"/>
                  <a:pt x="151793" y="438660"/>
                  <a:pt x="159828" y="445030"/>
                </a:cubicBezTo>
                <a:cubicBezTo>
                  <a:pt x="157442" y="432193"/>
                  <a:pt x="157539" y="419016"/>
                  <a:pt x="160120" y="406228"/>
                </a:cubicBezTo>
                <a:lnTo>
                  <a:pt x="180233" y="331394"/>
                </a:lnTo>
                <a:lnTo>
                  <a:pt x="166792" y="301781"/>
                </a:lnTo>
                <a:cubicBezTo>
                  <a:pt x="164260" y="296141"/>
                  <a:pt x="168350" y="289771"/>
                  <a:pt x="174535" y="289771"/>
                </a:cubicBezTo>
                <a:lnTo>
                  <a:pt x="188998" y="289771"/>
                </a:lnTo>
                <a:lnTo>
                  <a:pt x="203413" y="289771"/>
                </a:lnTo>
                <a:cubicBezTo>
                  <a:pt x="209598" y="289771"/>
                  <a:pt x="213688" y="296141"/>
                  <a:pt x="211156" y="301781"/>
                </a:cubicBezTo>
                <a:lnTo>
                  <a:pt x="197715" y="331394"/>
                </a:lnTo>
                <a:lnTo>
                  <a:pt x="217876" y="406228"/>
                </a:lnTo>
                <a:cubicBezTo>
                  <a:pt x="220409" y="419016"/>
                  <a:pt x="220506" y="432193"/>
                  <a:pt x="218120" y="445030"/>
                </a:cubicBezTo>
                <a:cubicBezTo>
                  <a:pt x="226155" y="438660"/>
                  <a:pt x="232096" y="429665"/>
                  <a:pt x="234580" y="419113"/>
                </a:cubicBezTo>
                <a:lnTo>
                  <a:pt x="261462" y="304796"/>
                </a:lnTo>
                <a:cubicBezTo>
                  <a:pt x="263507" y="295995"/>
                  <a:pt x="271347" y="289771"/>
                  <a:pt x="280405" y="289771"/>
                </a:cubicBezTo>
                <a:lnTo>
                  <a:pt x="325987" y="289771"/>
                </a:lnTo>
                <a:cubicBezTo>
                  <a:pt x="354670" y="289771"/>
                  <a:pt x="377948" y="313014"/>
                  <a:pt x="377948" y="341654"/>
                </a:cubicBezTo>
                <a:lnTo>
                  <a:pt x="377948" y="433847"/>
                </a:lnTo>
                <a:lnTo>
                  <a:pt x="367965" y="443815"/>
                </a:lnTo>
                <a:lnTo>
                  <a:pt x="345320" y="421204"/>
                </a:lnTo>
                <a:cubicBezTo>
                  <a:pt x="336116" y="412014"/>
                  <a:pt x="323893" y="406957"/>
                  <a:pt x="310890" y="406957"/>
                </a:cubicBezTo>
                <a:cubicBezTo>
                  <a:pt x="297888" y="406957"/>
                  <a:pt x="285665" y="412014"/>
                  <a:pt x="276461" y="421204"/>
                </a:cubicBezTo>
                <a:lnTo>
                  <a:pt x="244076" y="453540"/>
                </a:lnTo>
                <a:cubicBezTo>
                  <a:pt x="225084" y="472503"/>
                  <a:pt x="225084" y="503380"/>
                  <a:pt x="244076" y="522344"/>
                </a:cubicBezTo>
                <a:lnTo>
                  <a:pt x="280454" y="558667"/>
                </a:lnTo>
                <a:lnTo>
                  <a:pt x="283522" y="561730"/>
                </a:lnTo>
                <a:lnTo>
                  <a:pt x="188998" y="561730"/>
                </a:lnTo>
                <a:lnTo>
                  <a:pt x="19479" y="561730"/>
                </a:lnTo>
                <a:cubicBezTo>
                  <a:pt x="8766" y="561730"/>
                  <a:pt x="0" y="553026"/>
                  <a:pt x="0" y="542280"/>
                </a:cubicBezTo>
                <a:lnTo>
                  <a:pt x="0" y="341654"/>
                </a:lnTo>
                <a:cubicBezTo>
                  <a:pt x="0" y="313014"/>
                  <a:pt x="23278" y="289771"/>
                  <a:pt x="51961" y="289771"/>
                </a:cubicBezTo>
                <a:close/>
                <a:moveTo>
                  <a:pt x="273435" y="375"/>
                </a:moveTo>
                <a:cubicBezTo>
                  <a:pt x="289020" y="-2299"/>
                  <a:pt x="303290" y="9663"/>
                  <a:pt x="303290" y="25467"/>
                </a:cubicBezTo>
                <a:lnTo>
                  <a:pt x="303290" y="135216"/>
                </a:lnTo>
                <a:lnTo>
                  <a:pt x="303290" y="147422"/>
                </a:lnTo>
                <a:cubicBezTo>
                  <a:pt x="303290" y="210831"/>
                  <a:pt x="252492" y="262180"/>
                  <a:pt x="189032" y="262180"/>
                </a:cubicBezTo>
                <a:cubicBezTo>
                  <a:pt x="125523" y="262180"/>
                  <a:pt x="73459" y="210831"/>
                  <a:pt x="73459" y="147422"/>
                </a:cubicBezTo>
                <a:lnTo>
                  <a:pt x="73459" y="81922"/>
                </a:lnTo>
                <a:cubicBezTo>
                  <a:pt x="73459" y="57220"/>
                  <a:pt x="90895" y="35970"/>
                  <a:pt x="115100" y="31059"/>
                </a:cubicBezTo>
                <a:cubicBezTo>
                  <a:pt x="136238" y="26828"/>
                  <a:pt x="254538" y="3585"/>
                  <a:pt x="273435" y="375"/>
                </a:cubicBezTo>
                <a:close/>
              </a:path>
            </a:pathLst>
          </a:cu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 dirty="0"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935538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保持良好卫生和健康习惯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8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36" name="矩形 35"/>
          <p:cNvSpPr/>
          <p:nvPr/>
        </p:nvSpPr>
        <p:spPr>
          <a:xfrm>
            <a:off x="0" y="1123950"/>
            <a:ext cx="12192000" cy="3263073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prstDash val="sysDash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800" b="1" dirty="0"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63" name="椭圆 62">
            <a:extLst>
              <a:ext uri="{FF2B5EF4-FFF2-40B4-BE49-F238E27FC236}">
                <a16:creationId xmlns:a16="http://schemas.microsoft.com/office/drawing/2014/main" id="{679899D2-E714-4138-A470-7639B16C95F6}"/>
              </a:ext>
            </a:extLst>
          </p:cNvPr>
          <p:cNvSpPr/>
          <p:nvPr/>
        </p:nvSpPr>
        <p:spPr bwMode="auto">
          <a:xfrm>
            <a:off x="2095268" y="3814593"/>
            <a:ext cx="1067384" cy="1072110"/>
          </a:xfrm>
          <a:prstGeom prst="ellipse">
            <a:avLst/>
          </a:prstGeom>
          <a:solidFill>
            <a:schemeClr val="bg1">
              <a:lumMod val="75000"/>
            </a:schemeClr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5425" indent="-225425" algn="ctr" fontAlgn="base">
              <a:spcBef>
                <a:spcPct val="0"/>
              </a:spcBef>
              <a:spcAft>
                <a:spcPct val="0"/>
              </a:spcAft>
            </a:pPr>
            <a:endParaRPr sz="2000" b="1" kern="0">
              <a:solidFill>
                <a:prstClr val="black"/>
              </a:solidFill>
              <a:cs typeface="+mn-ea"/>
              <a:sym typeface="+mn-lt"/>
            </a:endParaRPr>
          </a:p>
        </p:txBody>
      </p:sp>
      <p:sp>
        <p:nvSpPr>
          <p:cNvPr id="64" name="任意多边形: 形状 63">
            <a:extLst>
              <a:ext uri="{FF2B5EF4-FFF2-40B4-BE49-F238E27FC236}">
                <a16:creationId xmlns:a16="http://schemas.microsoft.com/office/drawing/2014/main" id="{077E210A-6337-4130-8537-978D3C8F5506}"/>
              </a:ext>
            </a:extLst>
          </p:cNvPr>
          <p:cNvSpPr/>
          <p:nvPr/>
        </p:nvSpPr>
        <p:spPr bwMode="auto">
          <a:xfrm>
            <a:off x="2357774" y="4145360"/>
            <a:ext cx="542370" cy="410572"/>
          </a:xfrm>
          <a:custGeom>
            <a:avLst/>
            <a:gdLst>
              <a:gd name="connsiteX0" fmla="*/ 132670 w 605373"/>
              <a:gd name="connsiteY0" fmla="*/ 166582 h 458266"/>
              <a:gd name="connsiteX1" fmla="*/ 132670 w 605373"/>
              <a:gd name="connsiteY1" fmla="*/ 239527 h 458266"/>
              <a:gd name="connsiteX2" fmla="*/ 178720 w 605373"/>
              <a:gd name="connsiteY2" fmla="*/ 239527 h 458266"/>
              <a:gd name="connsiteX3" fmla="*/ 178720 w 605373"/>
              <a:gd name="connsiteY3" fmla="*/ 166582 h 458266"/>
              <a:gd name="connsiteX4" fmla="*/ 349733 w 605373"/>
              <a:gd name="connsiteY4" fmla="*/ 81217 h 458266"/>
              <a:gd name="connsiteX5" fmla="*/ 360317 w 605373"/>
              <a:gd name="connsiteY5" fmla="*/ 93915 h 458266"/>
              <a:gd name="connsiteX6" fmla="*/ 360317 w 605373"/>
              <a:gd name="connsiteY6" fmla="*/ 164358 h 458266"/>
              <a:gd name="connsiteX7" fmla="*/ 387334 w 605373"/>
              <a:gd name="connsiteY7" fmla="*/ 202915 h 458266"/>
              <a:gd name="connsiteX8" fmla="*/ 360596 w 605373"/>
              <a:gd name="connsiteY8" fmla="*/ 241381 h 458266"/>
              <a:gd name="connsiteX9" fmla="*/ 360596 w 605373"/>
              <a:gd name="connsiteY9" fmla="*/ 312564 h 458266"/>
              <a:gd name="connsiteX10" fmla="*/ 349919 w 605373"/>
              <a:gd name="connsiteY10" fmla="*/ 325263 h 458266"/>
              <a:gd name="connsiteX11" fmla="*/ 336364 w 605373"/>
              <a:gd name="connsiteY11" fmla="*/ 313862 h 458266"/>
              <a:gd name="connsiteX12" fmla="*/ 208243 w 605373"/>
              <a:gd name="connsiteY12" fmla="*/ 257416 h 458266"/>
              <a:gd name="connsiteX13" fmla="*/ 208243 w 605373"/>
              <a:gd name="connsiteY13" fmla="*/ 268909 h 458266"/>
              <a:gd name="connsiteX14" fmla="*/ 179648 w 605373"/>
              <a:gd name="connsiteY14" fmla="*/ 268909 h 458266"/>
              <a:gd name="connsiteX15" fmla="*/ 190046 w 605373"/>
              <a:gd name="connsiteY15" fmla="*/ 310340 h 458266"/>
              <a:gd name="connsiteX16" fmla="*/ 240552 w 605373"/>
              <a:gd name="connsiteY16" fmla="*/ 317477 h 458266"/>
              <a:gd name="connsiteX17" fmla="*/ 243523 w 605373"/>
              <a:gd name="connsiteY17" fmla="*/ 346025 h 458266"/>
              <a:gd name="connsiteX18" fmla="*/ 243151 w 605373"/>
              <a:gd name="connsiteY18" fmla="*/ 383007 h 458266"/>
              <a:gd name="connsiteX19" fmla="*/ 233682 w 605373"/>
              <a:gd name="connsiteY19" fmla="*/ 419526 h 458266"/>
              <a:gd name="connsiteX20" fmla="*/ 203508 w 605373"/>
              <a:gd name="connsiteY20" fmla="*/ 456137 h 458266"/>
              <a:gd name="connsiteX21" fmla="*/ 162658 w 605373"/>
              <a:gd name="connsiteY21" fmla="*/ 457527 h 458266"/>
              <a:gd name="connsiteX22" fmla="*/ 105004 w 605373"/>
              <a:gd name="connsiteY22" fmla="*/ 455025 h 458266"/>
              <a:gd name="connsiteX23" fmla="*/ 8820 w 605373"/>
              <a:gd name="connsiteY23" fmla="*/ 455025 h 458266"/>
              <a:gd name="connsiteX24" fmla="*/ 0 w 605373"/>
              <a:gd name="connsiteY24" fmla="*/ 446219 h 458266"/>
              <a:gd name="connsiteX25" fmla="*/ 0 w 605373"/>
              <a:gd name="connsiteY25" fmla="*/ 365674 h 458266"/>
              <a:gd name="connsiteX26" fmla="*/ 8820 w 605373"/>
              <a:gd name="connsiteY26" fmla="*/ 356869 h 458266"/>
              <a:gd name="connsiteX27" fmla="*/ 58212 w 605373"/>
              <a:gd name="connsiteY27" fmla="*/ 356869 h 458266"/>
              <a:gd name="connsiteX28" fmla="*/ 77151 w 605373"/>
              <a:gd name="connsiteY28" fmla="*/ 348991 h 458266"/>
              <a:gd name="connsiteX29" fmla="*/ 81422 w 605373"/>
              <a:gd name="connsiteY29" fmla="*/ 343522 h 458266"/>
              <a:gd name="connsiteX30" fmla="*/ 82722 w 605373"/>
              <a:gd name="connsiteY30" fmla="*/ 340371 h 458266"/>
              <a:gd name="connsiteX31" fmla="*/ 92470 w 605373"/>
              <a:gd name="connsiteY31" fmla="*/ 324985 h 458266"/>
              <a:gd name="connsiteX32" fmla="*/ 146318 w 605373"/>
              <a:gd name="connsiteY32" fmla="*/ 302647 h 458266"/>
              <a:gd name="connsiteX33" fmla="*/ 138148 w 605373"/>
              <a:gd name="connsiteY33" fmla="*/ 269001 h 458266"/>
              <a:gd name="connsiteX34" fmla="*/ 131092 w 605373"/>
              <a:gd name="connsiteY34" fmla="*/ 269001 h 458266"/>
              <a:gd name="connsiteX35" fmla="*/ 103332 w 605373"/>
              <a:gd name="connsiteY35" fmla="*/ 241381 h 458266"/>
              <a:gd name="connsiteX36" fmla="*/ 103332 w 605373"/>
              <a:gd name="connsiteY36" fmla="*/ 230722 h 458266"/>
              <a:gd name="connsiteX37" fmla="*/ 94977 w 605373"/>
              <a:gd name="connsiteY37" fmla="*/ 230722 h 458266"/>
              <a:gd name="connsiteX38" fmla="*/ 85693 w 605373"/>
              <a:gd name="connsiteY38" fmla="*/ 221453 h 458266"/>
              <a:gd name="connsiteX39" fmla="*/ 85693 w 605373"/>
              <a:gd name="connsiteY39" fmla="*/ 186881 h 458266"/>
              <a:gd name="connsiteX40" fmla="*/ 94977 w 605373"/>
              <a:gd name="connsiteY40" fmla="*/ 177612 h 458266"/>
              <a:gd name="connsiteX41" fmla="*/ 103332 w 605373"/>
              <a:gd name="connsiteY41" fmla="*/ 177612 h 458266"/>
              <a:gd name="connsiteX42" fmla="*/ 103332 w 605373"/>
              <a:gd name="connsiteY42" fmla="*/ 165192 h 458266"/>
              <a:gd name="connsiteX43" fmla="*/ 131092 w 605373"/>
              <a:gd name="connsiteY43" fmla="*/ 137571 h 458266"/>
              <a:gd name="connsiteX44" fmla="*/ 207965 w 605373"/>
              <a:gd name="connsiteY44" fmla="*/ 137571 h 458266"/>
              <a:gd name="connsiteX45" fmla="*/ 207965 w 605373"/>
              <a:gd name="connsiteY45" fmla="*/ 149064 h 458266"/>
              <a:gd name="connsiteX46" fmla="*/ 336086 w 605373"/>
              <a:gd name="connsiteY46" fmla="*/ 92525 h 458266"/>
              <a:gd name="connsiteX47" fmla="*/ 349733 w 605373"/>
              <a:gd name="connsiteY47" fmla="*/ 81217 h 458266"/>
              <a:gd name="connsiteX48" fmla="*/ 499620 w 605373"/>
              <a:gd name="connsiteY48" fmla="*/ 45769 h 458266"/>
              <a:gd name="connsiteX49" fmla="*/ 495720 w 605373"/>
              <a:gd name="connsiteY49" fmla="*/ 49848 h 458266"/>
              <a:gd name="connsiteX50" fmla="*/ 495720 w 605373"/>
              <a:gd name="connsiteY50" fmla="*/ 54483 h 458266"/>
              <a:gd name="connsiteX51" fmla="*/ 491357 w 605373"/>
              <a:gd name="connsiteY51" fmla="*/ 60416 h 458266"/>
              <a:gd name="connsiteX52" fmla="*/ 473901 w 605373"/>
              <a:gd name="connsiteY52" fmla="*/ 82478 h 458266"/>
              <a:gd name="connsiteX53" fmla="*/ 486807 w 605373"/>
              <a:gd name="connsiteY53" fmla="*/ 104169 h 458266"/>
              <a:gd name="connsiteX54" fmla="*/ 502777 w 605373"/>
              <a:gd name="connsiteY54" fmla="*/ 111307 h 458266"/>
              <a:gd name="connsiteX55" fmla="*/ 508533 w 605373"/>
              <a:gd name="connsiteY55" fmla="*/ 114737 h 458266"/>
              <a:gd name="connsiteX56" fmla="*/ 506676 w 605373"/>
              <a:gd name="connsiteY56" fmla="*/ 128734 h 458266"/>
              <a:gd name="connsiteX57" fmla="*/ 496463 w 605373"/>
              <a:gd name="connsiteY57" fmla="*/ 130124 h 458266"/>
              <a:gd name="connsiteX58" fmla="*/ 480679 w 605373"/>
              <a:gd name="connsiteY58" fmla="*/ 125397 h 458266"/>
              <a:gd name="connsiteX59" fmla="*/ 476037 w 605373"/>
              <a:gd name="connsiteY59" fmla="*/ 127343 h 458266"/>
              <a:gd name="connsiteX60" fmla="*/ 473623 w 605373"/>
              <a:gd name="connsiteY60" fmla="*/ 135501 h 458266"/>
              <a:gd name="connsiteX61" fmla="*/ 476501 w 605373"/>
              <a:gd name="connsiteY61" fmla="*/ 141804 h 458266"/>
              <a:gd name="connsiteX62" fmla="*/ 490614 w 605373"/>
              <a:gd name="connsiteY62" fmla="*/ 145883 h 458266"/>
              <a:gd name="connsiteX63" fmla="*/ 494606 w 605373"/>
              <a:gd name="connsiteY63" fmla="*/ 150610 h 458266"/>
              <a:gd name="connsiteX64" fmla="*/ 494606 w 605373"/>
              <a:gd name="connsiteY64" fmla="*/ 156079 h 458266"/>
              <a:gd name="connsiteX65" fmla="*/ 498042 w 605373"/>
              <a:gd name="connsiteY65" fmla="*/ 159602 h 458266"/>
              <a:gd name="connsiteX66" fmla="*/ 505934 w 605373"/>
              <a:gd name="connsiteY66" fmla="*/ 159602 h 458266"/>
              <a:gd name="connsiteX67" fmla="*/ 509276 w 605373"/>
              <a:gd name="connsiteY67" fmla="*/ 156172 h 458266"/>
              <a:gd name="connsiteX68" fmla="*/ 509276 w 605373"/>
              <a:gd name="connsiteY68" fmla="*/ 148756 h 458266"/>
              <a:gd name="connsiteX69" fmla="*/ 512619 w 605373"/>
              <a:gd name="connsiteY69" fmla="*/ 144307 h 458266"/>
              <a:gd name="connsiteX70" fmla="*/ 526546 w 605373"/>
              <a:gd name="connsiteY70" fmla="*/ 135408 h 458266"/>
              <a:gd name="connsiteX71" fmla="*/ 518747 w 605373"/>
              <a:gd name="connsiteY71" fmla="*/ 97680 h 458266"/>
              <a:gd name="connsiteX72" fmla="*/ 504727 w 605373"/>
              <a:gd name="connsiteY72" fmla="*/ 91377 h 458266"/>
              <a:gd name="connsiteX73" fmla="*/ 497020 w 605373"/>
              <a:gd name="connsiteY73" fmla="*/ 87113 h 458266"/>
              <a:gd name="connsiteX74" fmla="*/ 498691 w 605373"/>
              <a:gd name="connsiteY74" fmla="*/ 75247 h 458266"/>
              <a:gd name="connsiteX75" fmla="*/ 503334 w 605373"/>
              <a:gd name="connsiteY75" fmla="*/ 74227 h 458266"/>
              <a:gd name="connsiteX76" fmla="*/ 520975 w 605373"/>
              <a:gd name="connsiteY76" fmla="*/ 77657 h 458266"/>
              <a:gd name="connsiteX77" fmla="*/ 525524 w 605373"/>
              <a:gd name="connsiteY77" fmla="*/ 75711 h 458266"/>
              <a:gd name="connsiteX78" fmla="*/ 528217 w 605373"/>
              <a:gd name="connsiteY78" fmla="*/ 66441 h 458266"/>
              <a:gd name="connsiteX79" fmla="*/ 526174 w 605373"/>
              <a:gd name="connsiteY79" fmla="*/ 62084 h 458266"/>
              <a:gd name="connsiteX80" fmla="*/ 515033 w 605373"/>
              <a:gd name="connsiteY80" fmla="*/ 58747 h 458266"/>
              <a:gd name="connsiteX81" fmla="*/ 509926 w 605373"/>
              <a:gd name="connsiteY81" fmla="*/ 53000 h 458266"/>
              <a:gd name="connsiteX82" fmla="*/ 502777 w 605373"/>
              <a:gd name="connsiteY82" fmla="*/ 45769 h 458266"/>
              <a:gd name="connsiteX83" fmla="*/ 502637 w 605373"/>
              <a:gd name="connsiteY83" fmla="*/ 0 h 458266"/>
              <a:gd name="connsiteX84" fmla="*/ 575291 w 605373"/>
              <a:gd name="connsiteY84" fmla="*/ 30104 h 458266"/>
              <a:gd name="connsiteX85" fmla="*/ 575291 w 605373"/>
              <a:gd name="connsiteY85" fmla="*/ 175175 h 458266"/>
              <a:gd name="connsiteX86" fmla="*/ 450504 w 605373"/>
              <a:gd name="connsiteY86" fmla="*/ 191119 h 458266"/>
              <a:gd name="connsiteX87" fmla="*/ 450225 w 605373"/>
              <a:gd name="connsiteY87" fmla="*/ 191026 h 458266"/>
              <a:gd name="connsiteX88" fmla="*/ 406587 w 605373"/>
              <a:gd name="connsiteY88" fmla="*/ 202891 h 458266"/>
              <a:gd name="connsiteX89" fmla="*/ 405472 w 605373"/>
              <a:gd name="connsiteY89" fmla="*/ 195383 h 458266"/>
              <a:gd name="connsiteX90" fmla="*/ 426642 w 605373"/>
              <a:gd name="connsiteY90" fmla="*/ 171467 h 458266"/>
              <a:gd name="connsiteX91" fmla="*/ 425620 w 605373"/>
              <a:gd name="connsiteY91" fmla="*/ 170633 h 458266"/>
              <a:gd name="connsiteX92" fmla="*/ 429984 w 605373"/>
              <a:gd name="connsiteY92" fmla="*/ 30104 h 458266"/>
              <a:gd name="connsiteX93" fmla="*/ 502637 w 605373"/>
              <a:gd name="connsiteY93" fmla="*/ 0 h 458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</a:cxnLst>
            <a:rect l="l" t="t" r="r" b="b"/>
            <a:pathLst>
              <a:path w="605373" h="458266">
                <a:moveTo>
                  <a:pt x="132670" y="166582"/>
                </a:moveTo>
                <a:lnTo>
                  <a:pt x="132670" y="239527"/>
                </a:lnTo>
                <a:lnTo>
                  <a:pt x="178720" y="239527"/>
                </a:lnTo>
                <a:lnTo>
                  <a:pt x="178720" y="166582"/>
                </a:lnTo>
                <a:close/>
                <a:moveTo>
                  <a:pt x="349733" y="81217"/>
                </a:moveTo>
                <a:cubicBezTo>
                  <a:pt x="355861" y="81959"/>
                  <a:pt x="360317" y="87613"/>
                  <a:pt x="360317" y="93915"/>
                </a:cubicBezTo>
                <a:lnTo>
                  <a:pt x="360317" y="164358"/>
                </a:lnTo>
                <a:cubicBezTo>
                  <a:pt x="375915" y="170197"/>
                  <a:pt x="387055" y="185120"/>
                  <a:pt x="387334" y="202915"/>
                </a:cubicBezTo>
                <a:cubicBezTo>
                  <a:pt x="387334" y="220619"/>
                  <a:pt x="376193" y="235541"/>
                  <a:pt x="360596" y="241381"/>
                </a:cubicBezTo>
                <a:lnTo>
                  <a:pt x="360596" y="312564"/>
                </a:lnTo>
                <a:cubicBezTo>
                  <a:pt x="360596" y="318867"/>
                  <a:pt x="356139" y="324521"/>
                  <a:pt x="349919" y="325263"/>
                </a:cubicBezTo>
                <a:cubicBezTo>
                  <a:pt x="342770" y="326097"/>
                  <a:pt x="336735" y="320721"/>
                  <a:pt x="336364" y="313862"/>
                </a:cubicBezTo>
                <a:cubicBezTo>
                  <a:pt x="297464" y="277065"/>
                  <a:pt x="241852" y="262884"/>
                  <a:pt x="208243" y="257416"/>
                </a:cubicBezTo>
                <a:lnTo>
                  <a:pt x="208243" y="268909"/>
                </a:lnTo>
                <a:lnTo>
                  <a:pt x="179648" y="268909"/>
                </a:lnTo>
                <a:lnTo>
                  <a:pt x="190046" y="310340"/>
                </a:lnTo>
                <a:cubicBezTo>
                  <a:pt x="204715" y="308486"/>
                  <a:pt x="229132" y="307096"/>
                  <a:pt x="240552" y="317477"/>
                </a:cubicBezTo>
                <a:cubicBezTo>
                  <a:pt x="253921" y="329804"/>
                  <a:pt x="243523" y="346025"/>
                  <a:pt x="243523" y="346025"/>
                </a:cubicBezTo>
                <a:cubicBezTo>
                  <a:pt x="243523" y="346025"/>
                  <a:pt x="262462" y="362801"/>
                  <a:pt x="243151" y="383007"/>
                </a:cubicBezTo>
                <a:cubicBezTo>
                  <a:pt x="243151" y="383007"/>
                  <a:pt x="255406" y="403213"/>
                  <a:pt x="233682" y="419526"/>
                </a:cubicBezTo>
                <a:cubicBezTo>
                  <a:pt x="233682" y="419526"/>
                  <a:pt x="243708" y="447610"/>
                  <a:pt x="203508" y="456137"/>
                </a:cubicBezTo>
                <a:cubicBezTo>
                  <a:pt x="191624" y="458732"/>
                  <a:pt x="176677" y="458640"/>
                  <a:pt x="162658" y="457527"/>
                </a:cubicBezTo>
                <a:cubicBezTo>
                  <a:pt x="140376" y="457991"/>
                  <a:pt x="118187" y="456230"/>
                  <a:pt x="105004" y="455025"/>
                </a:cubicBezTo>
                <a:lnTo>
                  <a:pt x="8820" y="455025"/>
                </a:lnTo>
                <a:cubicBezTo>
                  <a:pt x="3992" y="455025"/>
                  <a:pt x="0" y="451039"/>
                  <a:pt x="0" y="446219"/>
                </a:cubicBezTo>
                <a:lnTo>
                  <a:pt x="0" y="365674"/>
                </a:lnTo>
                <a:cubicBezTo>
                  <a:pt x="0" y="360855"/>
                  <a:pt x="3992" y="356869"/>
                  <a:pt x="8820" y="356869"/>
                </a:cubicBezTo>
                <a:lnTo>
                  <a:pt x="58212" y="356869"/>
                </a:lnTo>
                <a:cubicBezTo>
                  <a:pt x="65267" y="356869"/>
                  <a:pt x="72138" y="354088"/>
                  <a:pt x="77151" y="348991"/>
                </a:cubicBezTo>
                <a:cubicBezTo>
                  <a:pt x="79194" y="346859"/>
                  <a:pt x="80865" y="344912"/>
                  <a:pt x="81422" y="343522"/>
                </a:cubicBezTo>
                <a:cubicBezTo>
                  <a:pt x="81793" y="342595"/>
                  <a:pt x="82165" y="341483"/>
                  <a:pt x="82722" y="340371"/>
                </a:cubicBezTo>
                <a:cubicBezTo>
                  <a:pt x="84578" y="335736"/>
                  <a:pt x="87642" y="330082"/>
                  <a:pt x="92470" y="324985"/>
                </a:cubicBezTo>
                <a:cubicBezTo>
                  <a:pt x="92470" y="324985"/>
                  <a:pt x="120322" y="299032"/>
                  <a:pt x="146318" y="302647"/>
                </a:cubicBezTo>
                <a:lnTo>
                  <a:pt x="138148" y="269001"/>
                </a:lnTo>
                <a:lnTo>
                  <a:pt x="131092" y="269001"/>
                </a:lnTo>
                <a:cubicBezTo>
                  <a:pt x="115773" y="269001"/>
                  <a:pt x="103332" y="256581"/>
                  <a:pt x="103332" y="241381"/>
                </a:cubicBezTo>
                <a:lnTo>
                  <a:pt x="103332" y="230722"/>
                </a:lnTo>
                <a:lnTo>
                  <a:pt x="94977" y="230722"/>
                </a:lnTo>
                <a:cubicBezTo>
                  <a:pt x="89870" y="230722"/>
                  <a:pt x="85693" y="226551"/>
                  <a:pt x="85693" y="221453"/>
                </a:cubicBezTo>
                <a:lnTo>
                  <a:pt x="85693" y="186881"/>
                </a:lnTo>
                <a:cubicBezTo>
                  <a:pt x="85693" y="181783"/>
                  <a:pt x="89870" y="177612"/>
                  <a:pt x="94977" y="177612"/>
                </a:cubicBezTo>
                <a:lnTo>
                  <a:pt x="103332" y="177612"/>
                </a:lnTo>
                <a:lnTo>
                  <a:pt x="103332" y="165192"/>
                </a:lnTo>
                <a:cubicBezTo>
                  <a:pt x="103332" y="149898"/>
                  <a:pt x="115866" y="137571"/>
                  <a:pt x="131092" y="137571"/>
                </a:cubicBezTo>
                <a:lnTo>
                  <a:pt x="207965" y="137571"/>
                </a:lnTo>
                <a:lnTo>
                  <a:pt x="207965" y="149064"/>
                </a:lnTo>
                <a:cubicBezTo>
                  <a:pt x="241666" y="143503"/>
                  <a:pt x="297371" y="129229"/>
                  <a:pt x="336086" y="92525"/>
                </a:cubicBezTo>
                <a:cubicBezTo>
                  <a:pt x="336550" y="85666"/>
                  <a:pt x="342492" y="80290"/>
                  <a:pt x="349733" y="81217"/>
                </a:cubicBezTo>
                <a:close/>
                <a:moveTo>
                  <a:pt x="499620" y="45769"/>
                </a:moveTo>
                <a:cubicBezTo>
                  <a:pt x="496277" y="45955"/>
                  <a:pt x="495813" y="46511"/>
                  <a:pt x="495720" y="49848"/>
                </a:cubicBezTo>
                <a:lnTo>
                  <a:pt x="495720" y="54483"/>
                </a:lnTo>
                <a:cubicBezTo>
                  <a:pt x="495720" y="58932"/>
                  <a:pt x="495720" y="58747"/>
                  <a:pt x="491357" y="60416"/>
                </a:cubicBezTo>
                <a:cubicBezTo>
                  <a:pt x="480958" y="64216"/>
                  <a:pt x="474644" y="71261"/>
                  <a:pt x="473901" y="82478"/>
                </a:cubicBezTo>
                <a:cubicBezTo>
                  <a:pt x="473251" y="92489"/>
                  <a:pt x="478636" y="99163"/>
                  <a:pt x="486807" y="104169"/>
                </a:cubicBezTo>
                <a:cubicBezTo>
                  <a:pt x="491728" y="107135"/>
                  <a:pt x="497392" y="108989"/>
                  <a:pt x="502777" y="111307"/>
                </a:cubicBezTo>
                <a:cubicBezTo>
                  <a:pt x="504819" y="112326"/>
                  <a:pt x="506862" y="113253"/>
                  <a:pt x="508533" y="114737"/>
                </a:cubicBezTo>
                <a:cubicBezTo>
                  <a:pt x="513733" y="119001"/>
                  <a:pt x="512804" y="126046"/>
                  <a:pt x="506676" y="128734"/>
                </a:cubicBezTo>
                <a:cubicBezTo>
                  <a:pt x="503520" y="130217"/>
                  <a:pt x="499991" y="130588"/>
                  <a:pt x="496463" y="130124"/>
                </a:cubicBezTo>
                <a:cubicBezTo>
                  <a:pt x="490892" y="129383"/>
                  <a:pt x="485693" y="127992"/>
                  <a:pt x="480679" y="125397"/>
                </a:cubicBezTo>
                <a:cubicBezTo>
                  <a:pt x="477894" y="123821"/>
                  <a:pt x="476965" y="124284"/>
                  <a:pt x="476037" y="127343"/>
                </a:cubicBezTo>
                <a:cubicBezTo>
                  <a:pt x="475108" y="130124"/>
                  <a:pt x="474365" y="132812"/>
                  <a:pt x="473623" y="135501"/>
                </a:cubicBezTo>
                <a:cubicBezTo>
                  <a:pt x="472694" y="139209"/>
                  <a:pt x="473066" y="140136"/>
                  <a:pt x="476501" y="141804"/>
                </a:cubicBezTo>
                <a:cubicBezTo>
                  <a:pt x="480958" y="144029"/>
                  <a:pt x="485786" y="145141"/>
                  <a:pt x="490614" y="145883"/>
                </a:cubicBezTo>
                <a:cubicBezTo>
                  <a:pt x="494420" y="146532"/>
                  <a:pt x="494606" y="146624"/>
                  <a:pt x="494606" y="150610"/>
                </a:cubicBezTo>
                <a:lnTo>
                  <a:pt x="494606" y="156079"/>
                </a:lnTo>
                <a:cubicBezTo>
                  <a:pt x="494606" y="158304"/>
                  <a:pt x="495720" y="159602"/>
                  <a:pt x="498042" y="159602"/>
                </a:cubicBezTo>
                <a:cubicBezTo>
                  <a:pt x="500641" y="159787"/>
                  <a:pt x="503334" y="159787"/>
                  <a:pt x="505934" y="159602"/>
                </a:cubicBezTo>
                <a:cubicBezTo>
                  <a:pt x="508162" y="159509"/>
                  <a:pt x="509276" y="158397"/>
                  <a:pt x="509276" y="156172"/>
                </a:cubicBezTo>
                <a:cubicBezTo>
                  <a:pt x="509276" y="153669"/>
                  <a:pt x="509462" y="151259"/>
                  <a:pt x="509276" y="148756"/>
                </a:cubicBezTo>
                <a:cubicBezTo>
                  <a:pt x="509183" y="146254"/>
                  <a:pt x="510297" y="144956"/>
                  <a:pt x="512619" y="144307"/>
                </a:cubicBezTo>
                <a:cubicBezTo>
                  <a:pt x="518097" y="142824"/>
                  <a:pt x="522925" y="139857"/>
                  <a:pt x="526546" y="135408"/>
                </a:cubicBezTo>
                <a:cubicBezTo>
                  <a:pt x="536573" y="123172"/>
                  <a:pt x="532674" y="105281"/>
                  <a:pt x="518747" y="97680"/>
                </a:cubicBezTo>
                <a:cubicBezTo>
                  <a:pt x="514104" y="95270"/>
                  <a:pt x="509462" y="93416"/>
                  <a:pt x="504727" y="91377"/>
                </a:cubicBezTo>
                <a:cubicBezTo>
                  <a:pt x="502034" y="90265"/>
                  <a:pt x="499434" y="88967"/>
                  <a:pt x="497020" y="87113"/>
                </a:cubicBezTo>
                <a:cubicBezTo>
                  <a:pt x="492471" y="83405"/>
                  <a:pt x="493306" y="77565"/>
                  <a:pt x="498691" y="75247"/>
                </a:cubicBezTo>
                <a:cubicBezTo>
                  <a:pt x="500177" y="74506"/>
                  <a:pt x="501755" y="74320"/>
                  <a:pt x="503334" y="74227"/>
                </a:cubicBezTo>
                <a:cubicBezTo>
                  <a:pt x="509555" y="73857"/>
                  <a:pt x="515404" y="74969"/>
                  <a:pt x="520975" y="77657"/>
                </a:cubicBezTo>
                <a:cubicBezTo>
                  <a:pt x="523667" y="79048"/>
                  <a:pt x="524503" y="78584"/>
                  <a:pt x="525524" y="75711"/>
                </a:cubicBezTo>
                <a:cubicBezTo>
                  <a:pt x="526546" y="72652"/>
                  <a:pt x="527381" y="69500"/>
                  <a:pt x="528217" y="66441"/>
                </a:cubicBezTo>
                <a:cubicBezTo>
                  <a:pt x="528867" y="64309"/>
                  <a:pt x="528124" y="63011"/>
                  <a:pt x="526174" y="62084"/>
                </a:cubicBezTo>
                <a:cubicBezTo>
                  <a:pt x="522553" y="60508"/>
                  <a:pt x="518839" y="59396"/>
                  <a:pt x="515033" y="58747"/>
                </a:cubicBezTo>
                <a:cubicBezTo>
                  <a:pt x="509926" y="58005"/>
                  <a:pt x="509926" y="58005"/>
                  <a:pt x="509926" y="53000"/>
                </a:cubicBezTo>
                <a:cubicBezTo>
                  <a:pt x="509926" y="45769"/>
                  <a:pt x="509926" y="45769"/>
                  <a:pt x="502777" y="45769"/>
                </a:cubicBezTo>
                <a:close/>
                <a:moveTo>
                  <a:pt x="502637" y="0"/>
                </a:moveTo>
                <a:cubicBezTo>
                  <a:pt x="528937" y="0"/>
                  <a:pt x="555236" y="10035"/>
                  <a:pt x="575291" y="30104"/>
                </a:cubicBezTo>
                <a:cubicBezTo>
                  <a:pt x="615401" y="70149"/>
                  <a:pt x="615401" y="135130"/>
                  <a:pt x="575291" y="175175"/>
                </a:cubicBezTo>
                <a:cubicBezTo>
                  <a:pt x="541494" y="208917"/>
                  <a:pt x="489871" y="214293"/>
                  <a:pt x="450504" y="191119"/>
                </a:cubicBezTo>
                <a:lnTo>
                  <a:pt x="450225" y="191026"/>
                </a:lnTo>
                <a:cubicBezTo>
                  <a:pt x="434812" y="202613"/>
                  <a:pt x="418193" y="204745"/>
                  <a:pt x="406587" y="202891"/>
                </a:cubicBezTo>
                <a:cubicBezTo>
                  <a:pt x="402687" y="202243"/>
                  <a:pt x="401944" y="197052"/>
                  <a:pt x="405472" y="195383"/>
                </a:cubicBezTo>
                <a:cubicBezTo>
                  <a:pt x="416057" y="190192"/>
                  <a:pt x="422742" y="179903"/>
                  <a:pt x="426642" y="171467"/>
                </a:cubicBezTo>
                <a:lnTo>
                  <a:pt x="425620" y="170633"/>
                </a:lnTo>
                <a:cubicBezTo>
                  <a:pt x="389874" y="130310"/>
                  <a:pt x="391360" y="68666"/>
                  <a:pt x="429984" y="30104"/>
                </a:cubicBezTo>
                <a:cubicBezTo>
                  <a:pt x="450039" y="10035"/>
                  <a:pt x="476338" y="0"/>
                  <a:pt x="50263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61" name="文本框 60">
            <a:extLst>
              <a:ext uri="{FF2B5EF4-FFF2-40B4-BE49-F238E27FC236}">
                <a16:creationId xmlns:a16="http://schemas.microsoft.com/office/drawing/2014/main" id="{E4E3EAFC-D4D9-4B62-A60F-220C199D46C7}"/>
              </a:ext>
            </a:extLst>
          </p:cNvPr>
          <p:cNvSpPr txBox="1"/>
          <p:nvPr/>
        </p:nvSpPr>
        <p:spPr bwMode="auto">
          <a:xfrm>
            <a:off x="2193585" y="4858666"/>
            <a:ext cx="870751" cy="830997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4800" b="1">
                <a:solidFill>
                  <a:schemeClr val="bg1">
                    <a:lumMod val="95000"/>
                  </a:schemeClr>
                </a:solidFill>
                <a:cs typeface="+mn-ea"/>
                <a:sym typeface="+mn-lt"/>
              </a:rPr>
              <a:t>01</a:t>
            </a:r>
            <a:endParaRPr lang="en-US" altLang="zh-CN" sz="4800" b="1" dirty="0">
              <a:solidFill>
                <a:schemeClr val="bg1">
                  <a:lumMod val="9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62" name="文本框 61">
            <a:extLst>
              <a:ext uri="{FF2B5EF4-FFF2-40B4-BE49-F238E27FC236}">
                <a16:creationId xmlns:a16="http://schemas.microsoft.com/office/drawing/2014/main" id="{3495B739-E5A7-4F4A-95FD-24BDFE4B18B1}"/>
              </a:ext>
            </a:extLst>
          </p:cNvPr>
          <p:cNvSpPr txBox="1"/>
          <p:nvPr/>
        </p:nvSpPr>
        <p:spPr bwMode="auto">
          <a:xfrm>
            <a:off x="2032227" y="5496231"/>
            <a:ext cx="1193467" cy="452432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  <a:spcBef>
                <a:spcPct val="0"/>
              </a:spcBef>
            </a:pPr>
            <a:r>
              <a:rPr lang="en-US" altLang="zh-CN" b="1">
                <a:cs typeface="+mn-ea"/>
                <a:sym typeface="+mn-lt"/>
              </a:rPr>
              <a:t>Text </a:t>
            </a:r>
            <a:r>
              <a:rPr lang="en-US" altLang="zh-CN" b="1" dirty="0">
                <a:cs typeface="+mn-ea"/>
                <a:sym typeface="+mn-lt"/>
              </a:rPr>
              <a:t>here</a:t>
            </a:r>
          </a:p>
        </p:txBody>
      </p:sp>
      <p:sp>
        <p:nvSpPr>
          <p:cNvPr id="59" name="椭圆 58">
            <a:extLst>
              <a:ext uri="{FF2B5EF4-FFF2-40B4-BE49-F238E27FC236}">
                <a16:creationId xmlns:a16="http://schemas.microsoft.com/office/drawing/2014/main" id="{679899D2-E714-4138-A470-7639B16C95F6}"/>
              </a:ext>
            </a:extLst>
          </p:cNvPr>
          <p:cNvSpPr/>
          <p:nvPr/>
        </p:nvSpPr>
        <p:spPr bwMode="auto">
          <a:xfrm>
            <a:off x="6717988" y="3814593"/>
            <a:ext cx="1067384" cy="1072110"/>
          </a:xfrm>
          <a:prstGeom prst="ellipse">
            <a:avLst/>
          </a:prstGeom>
          <a:solidFill>
            <a:schemeClr val="accent1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5425" indent="-225425" algn="ctr" fontAlgn="base">
              <a:spcBef>
                <a:spcPct val="0"/>
              </a:spcBef>
              <a:spcAft>
                <a:spcPct val="0"/>
              </a:spcAft>
            </a:pPr>
            <a:endParaRPr sz="2000" b="1" kern="0">
              <a:solidFill>
                <a:prstClr val="black"/>
              </a:solidFill>
              <a:cs typeface="+mn-ea"/>
              <a:sym typeface="+mn-lt"/>
            </a:endParaRPr>
          </a:p>
        </p:txBody>
      </p:sp>
      <p:sp>
        <p:nvSpPr>
          <p:cNvPr id="60" name="任意多边形: 形状 59">
            <a:extLst>
              <a:ext uri="{FF2B5EF4-FFF2-40B4-BE49-F238E27FC236}">
                <a16:creationId xmlns:a16="http://schemas.microsoft.com/office/drawing/2014/main" id="{B669E62F-BEC5-456C-B2C6-FA21793F1B04}"/>
              </a:ext>
            </a:extLst>
          </p:cNvPr>
          <p:cNvSpPr/>
          <p:nvPr/>
        </p:nvSpPr>
        <p:spPr bwMode="auto">
          <a:xfrm>
            <a:off x="6980495" y="4145361"/>
            <a:ext cx="542372" cy="410574"/>
          </a:xfrm>
          <a:custGeom>
            <a:avLst/>
            <a:gdLst>
              <a:gd name="connsiteX0" fmla="*/ 132670 w 605373"/>
              <a:gd name="connsiteY0" fmla="*/ 166582 h 458266"/>
              <a:gd name="connsiteX1" fmla="*/ 132670 w 605373"/>
              <a:gd name="connsiteY1" fmla="*/ 239527 h 458266"/>
              <a:gd name="connsiteX2" fmla="*/ 178720 w 605373"/>
              <a:gd name="connsiteY2" fmla="*/ 239527 h 458266"/>
              <a:gd name="connsiteX3" fmla="*/ 178720 w 605373"/>
              <a:gd name="connsiteY3" fmla="*/ 166582 h 458266"/>
              <a:gd name="connsiteX4" fmla="*/ 349733 w 605373"/>
              <a:gd name="connsiteY4" fmla="*/ 81217 h 458266"/>
              <a:gd name="connsiteX5" fmla="*/ 360317 w 605373"/>
              <a:gd name="connsiteY5" fmla="*/ 93915 h 458266"/>
              <a:gd name="connsiteX6" fmla="*/ 360317 w 605373"/>
              <a:gd name="connsiteY6" fmla="*/ 164358 h 458266"/>
              <a:gd name="connsiteX7" fmla="*/ 387334 w 605373"/>
              <a:gd name="connsiteY7" fmla="*/ 202915 h 458266"/>
              <a:gd name="connsiteX8" fmla="*/ 360596 w 605373"/>
              <a:gd name="connsiteY8" fmla="*/ 241381 h 458266"/>
              <a:gd name="connsiteX9" fmla="*/ 360596 w 605373"/>
              <a:gd name="connsiteY9" fmla="*/ 312564 h 458266"/>
              <a:gd name="connsiteX10" fmla="*/ 349919 w 605373"/>
              <a:gd name="connsiteY10" fmla="*/ 325263 h 458266"/>
              <a:gd name="connsiteX11" fmla="*/ 336364 w 605373"/>
              <a:gd name="connsiteY11" fmla="*/ 313862 h 458266"/>
              <a:gd name="connsiteX12" fmla="*/ 208243 w 605373"/>
              <a:gd name="connsiteY12" fmla="*/ 257416 h 458266"/>
              <a:gd name="connsiteX13" fmla="*/ 208243 w 605373"/>
              <a:gd name="connsiteY13" fmla="*/ 268909 h 458266"/>
              <a:gd name="connsiteX14" fmla="*/ 179648 w 605373"/>
              <a:gd name="connsiteY14" fmla="*/ 268909 h 458266"/>
              <a:gd name="connsiteX15" fmla="*/ 190046 w 605373"/>
              <a:gd name="connsiteY15" fmla="*/ 310340 h 458266"/>
              <a:gd name="connsiteX16" fmla="*/ 240552 w 605373"/>
              <a:gd name="connsiteY16" fmla="*/ 317477 h 458266"/>
              <a:gd name="connsiteX17" fmla="*/ 243523 w 605373"/>
              <a:gd name="connsiteY17" fmla="*/ 346025 h 458266"/>
              <a:gd name="connsiteX18" fmla="*/ 243151 w 605373"/>
              <a:gd name="connsiteY18" fmla="*/ 383007 h 458266"/>
              <a:gd name="connsiteX19" fmla="*/ 233682 w 605373"/>
              <a:gd name="connsiteY19" fmla="*/ 419526 h 458266"/>
              <a:gd name="connsiteX20" fmla="*/ 203508 w 605373"/>
              <a:gd name="connsiteY20" fmla="*/ 456137 h 458266"/>
              <a:gd name="connsiteX21" fmla="*/ 162658 w 605373"/>
              <a:gd name="connsiteY21" fmla="*/ 457527 h 458266"/>
              <a:gd name="connsiteX22" fmla="*/ 105004 w 605373"/>
              <a:gd name="connsiteY22" fmla="*/ 455025 h 458266"/>
              <a:gd name="connsiteX23" fmla="*/ 8820 w 605373"/>
              <a:gd name="connsiteY23" fmla="*/ 455025 h 458266"/>
              <a:gd name="connsiteX24" fmla="*/ 0 w 605373"/>
              <a:gd name="connsiteY24" fmla="*/ 446219 h 458266"/>
              <a:gd name="connsiteX25" fmla="*/ 0 w 605373"/>
              <a:gd name="connsiteY25" fmla="*/ 365674 h 458266"/>
              <a:gd name="connsiteX26" fmla="*/ 8820 w 605373"/>
              <a:gd name="connsiteY26" fmla="*/ 356869 h 458266"/>
              <a:gd name="connsiteX27" fmla="*/ 58212 w 605373"/>
              <a:gd name="connsiteY27" fmla="*/ 356869 h 458266"/>
              <a:gd name="connsiteX28" fmla="*/ 77151 w 605373"/>
              <a:gd name="connsiteY28" fmla="*/ 348991 h 458266"/>
              <a:gd name="connsiteX29" fmla="*/ 81422 w 605373"/>
              <a:gd name="connsiteY29" fmla="*/ 343522 h 458266"/>
              <a:gd name="connsiteX30" fmla="*/ 82722 w 605373"/>
              <a:gd name="connsiteY30" fmla="*/ 340371 h 458266"/>
              <a:gd name="connsiteX31" fmla="*/ 92470 w 605373"/>
              <a:gd name="connsiteY31" fmla="*/ 324985 h 458266"/>
              <a:gd name="connsiteX32" fmla="*/ 146318 w 605373"/>
              <a:gd name="connsiteY32" fmla="*/ 302647 h 458266"/>
              <a:gd name="connsiteX33" fmla="*/ 138148 w 605373"/>
              <a:gd name="connsiteY33" fmla="*/ 269001 h 458266"/>
              <a:gd name="connsiteX34" fmla="*/ 131092 w 605373"/>
              <a:gd name="connsiteY34" fmla="*/ 269001 h 458266"/>
              <a:gd name="connsiteX35" fmla="*/ 103332 w 605373"/>
              <a:gd name="connsiteY35" fmla="*/ 241381 h 458266"/>
              <a:gd name="connsiteX36" fmla="*/ 103332 w 605373"/>
              <a:gd name="connsiteY36" fmla="*/ 230722 h 458266"/>
              <a:gd name="connsiteX37" fmla="*/ 94977 w 605373"/>
              <a:gd name="connsiteY37" fmla="*/ 230722 h 458266"/>
              <a:gd name="connsiteX38" fmla="*/ 85693 w 605373"/>
              <a:gd name="connsiteY38" fmla="*/ 221453 h 458266"/>
              <a:gd name="connsiteX39" fmla="*/ 85693 w 605373"/>
              <a:gd name="connsiteY39" fmla="*/ 186881 h 458266"/>
              <a:gd name="connsiteX40" fmla="*/ 94977 w 605373"/>
              <a:gd name="connsiteY40" fmla="*/ 177612 h 458266"/>
              <a:gd name="connsiteX41" fmla="*/ 103332 w 605373"/>
              <a:gd name="connsiteY41" fmla="*/ 177612 h 458266"/>
              <a:gd name="connsiteX42" fmla="*/ 103332 w 605373"/>
              <a:gd name="connsiteY42" fmla="*/ 165192 h 458266"/>
              <a:gd name="connsiteX43" fmla="*/ 131092 w 605373"/>
              <a:gd name="connsiteY43" fmla="*/ 137571 h 458266"/>
              <a:gd name="connsiteX44" fmla="*/ 207965 w 605373"/>
              <a:gd name="connsiteY44" fmla="*/ 137571 h 458266"/>
              <a:gd name="connsiteX45" fmla="*/ 207965 w 605373"/>
              <a:gd name="connsiteY45" fmla="*/ 149064 h 458266"/>
              <a:gd name="connsiteX46" fmla="*/ 336086 w 605373"/>
              <a:gd name="connsiteY46" fmla="*/ 92525 h 458266"/>
              <a:gd name="connsiteX47" fmla="*/ 349733 w 605373"/>
              <a:gd name="connsiteY47" fmla="*/ 81217 h 458266"/>
              <a:gd name="connsiteX48" fmla="*/ 499620 w 605373"/>
              <a:gd name="connsiteY48" fmla="*/ 45769 h 458266"/>
              <a:gd name="connsiteX49" fmla="*/ 495720 w 605373"/>
              <a:gd name="connsiteY49" fmla="*/ 49848 h 458266"/>
              <a:gd name="connsiteX50" fmla="*/ 495720 w 605373"/>
              <a:gd name="connsiteY50" fmla="*/ 54483 h 458266"/>
              <a:gd name="connsiteX51" fmla="*/ 491357 w 605373"/>
              <a:gd name="connsiteY51" fmla="*/ 60416 h 458266"/>
              <a:gd name="connsiteX52" fmla="*/ 473901 w 605373"/>
              <a:gd name="connsiteY52" fmla="*/ 82478 h 458266"/>
              <a:gd name="connsiteX53" fmla="*/ 486807 w 605373"/>
              <a:gd name="connsiteY53" fmla="*/ 104169 h 458266"/>
              <a:gd name="connsiteX54" fmla="*/ 502777 w 605373"/>
              <a:gd name="connsiteY54" fmla="*/ 111307 h 458266"/>
              <a:gd name="connsiteX55" fmla="*/ 508533 w 605373"/>
              <a:gd name="connsiteY55" fmla="*/ 114737 h 458266"/>
              <a:gd name="connsiteX56" fmla="*/ 506676 w 605373"/>
              <a:gd name="connsiteY56" fmla="*/ 128734 h 458266"/>
              <a:gd name="connsiteX57" fmla="*/ 496463 w 605373"/>
              <a:gd name="connsiteY57" fmla="*/ 130124 h 458266"/>
              <a:gd name="connsiteX58" fmla="*/ 480679 w 605373"/>
              <a:gd name="connsiteY58" fmla="*/ 125397 h 458266"/>
              <a:gd name="connsiteX59" fmla="*/ 476037 w 605373"/>
              <a:gd name="connsiteY59" fmla="*/ 127343 h 458266"/>
              <a:gd name="connsiteX60" fmla="*/ 473623 w 605373"/>
              <a:gd name="connsiteY60" fmla="*/ 135501 h 458266"/>
              <a:gd name="connsiteX61" fmla="*/ 476501 w 605373"/>
              <a:gd name="connsiteY61" fmla="*/ 141804 h 458266"/>
              <a:gd name="connsiteX62" fmla="*/ 490614 w 605373"/>
              <a:gd name="connsiteY62" fmla="*/ 145883 h 458266"/>
              <a:gd name="connsiteX63" fmla="*/ 494606 w 605373"/>
              <a:gd name="connsiteY63" fmla="*/ 150610 h 458266"/>
              <a:gd name="connsiteX64" fmla="*/ 494606 w 605373"/>
              <a:gd name="connsiteY64" fmla="*/ 156079 h 458266"/>
              <a:gd name="connsiteX65" fmla="*/ 498042 w 605373"/>
              <a:gd name="connsiteY65" fmla="*/ 159602 h 458266"/>
              <a:gd name="connsiteX66" fmla="*/ 505934 w 605373"/>
              <a:gd name="connsiteY66" fmla="*/ 159602 h 458266"/>
              <a:gd name="connsiteX67" fmla="*/ 509276 w 605373"/>
              <a:gd name="connsiteY67" fmla="*/ 156172 h 458266"/>
              <a:gd name="connsiteX68" fmla="*/ 509276 w 605373"/>
              <a:gd name="connsiteY68" fmla="*/ 148756 h 458266"/>
              <a:gd name="connsiteX69" fmla="*/ 512619 w 605373"/>
              <a:gd name="connsiteY69" fmla="*/ 144307 h 458266"/>
              <a:gd name="connsiteX70" fmla="*/ 526546 w 605373"/>
              <a:gd name="connsiteY70" fmla="*/ 135408 h 458266"/>
              <a:gd name="connsiteX71" fmla="*/ 518747 w 605373"/>
              <a:gd name="connsiteY71" fmla="*/ 97680 h 458266"/>
              <a:gd name="connsiteX72" fmla="*/ 504727 w 605373"/>
              <a:gd name="connsiteY72" fmla="*/ 91377 h 458266"/>
              <a:gd name="connsiteX73" fmla="*/ 497020 w 605373"/>
              <a:gd name="connsiteY73" fmla="*/ 87113 h 458266"/>
              <a:gd name="connsiteX74" fmla="*/ 498691 w 605373"/>
              <a:gd name="connsiteY74" fmla="*/ 75247 h 458266"/>
              <a:gd name="connsiteX75" fmla="*/ 503334 w 605373"/>
              <a:gd name="connsiteY75" fmla="*/ 74227 h 458266"/>
              <a:gd name="connsiteX76" fmla="*/ 520975 w 605373"/>
              <a:gd name="connsiteY76" fmla="*/ 77657 h 458266"/>
              <a:gd name="connsiteX77" fmla="*/ 525524 w 605373"/>
              <a:gd name="connsiteY77" fmla="*/ 75711 h 458266"/>
              <a:gd name="connsiteX78" fmla="*/ 528217 w 605373"/>
              <a:gd name="connsiteY78" fmla="*/ 66441 h 458266"/>
              <a:gd name="connsiteX79" fmla="*/ 526174 w 605373"/>
              <a:gd name="connsiteY79" fmla="*/ 62084 h 458266"/>
              <a:gd name="connsiteX80" fmla="*/ 515033 w 605373"/>
              <a:gd name="connsiteY80" fmla="*/ 58747 h 458266"/>
              <a:gd name="connsiteX81" fmla="*/ 509926 w 605373"/>
              <a:gd name="connsiteY81" fmla="*/ 53000 h 458266"/>
              <a:gd name="connsiteX82" fmla="*/ 502777 w 605373"/>
              <a:gd name="connsiteY82" fmla="*/ 45769 h 458266"/>
              <a:gd name="connsiteX83" fmla="*/ 502637 w 605373"/>
              <a:gd name="connsiteY83" fmla="*/ 0 h 458266"/>
              <a:gd name="connsiteX84" fmla="*/ 575291 w 605373"/>
              <a:gd name="connsiteY84" fmla="*/ 30104 h 458266"/>
              <a:gd name="connsiteX85" fmla="*/ 575291 w 605373"/>
              <a:gd name="connsiteY85" fmla="*/ 175175 h 458266"/>
              <a:gd name="connsiteX86" fmla="*/ 450504 w 605373"/>
              <a:gd name="connsiteY86" fmla="*/ 191119 h 458266"/>
              <a:gd name="connsiteX87" fmla="*/ 450225 w 605373"/>
              <a:gd name="connsiteY87" fmla="*/ 191026 h 458266"/>
              <a:gd name="connsiteX88" fmla="*/ 406587 w 605373"/>
              <a:gd name="connsiteY88" fmla="*/ 202891 h 458266"/>
              <a:gd name="connsiteX89" fmla="*/ 405472 w 605373"/>
              <a:gd name="connsiteY89" fmla="*/ 195383 h 458266"/>
              <a:gd name="connsiteX90" fmla="*/ 426642 w 605373"/>
              <a:gd name="connsiteY90" fmla="*/ 171467 h 458266"/>
              <a:gd name="connsiteX91" fmla="*/ 425620 w 605373"/>
              <a:gd name="connsiteY91" fmla="*/ 170633 h 458266"/>
              <a:gd name="connsiteX92" fmla="*/ 429984 w 605373"/>
              <a:gd name="connsiteY92" fmla="*/ 30104 h 458266"/>
              <a:gd name="connsiteX93" fmla="*/ 502637 w 605373"/>
              <a:gd name="connsiteY93" fmla="*/ 0 h 458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</a:cxnLst>
            <a:rect l="l" t="t" r="r" b="b"/>
            <a:pathLst>
              <a:path w="605373" h="458266">
                <a:moveTo>
                  <a:pt x="132670" y="166582"/>
                </a:moveTo>
                <a:lnTo>
                  <a:pt x="132670" y="239527"/>
                </a:lnTo>
                <a:lnTo>
                  <a:pt x="178720" y="239527"/>
                </a:lnTo>
                <a:lnTo>
                  <a:pt x="178720" y="166582"/>
                </a:lnTo>
                <a:close/>
                <a:moveTo>
                  <a:pt x="349733" y="81217"/>
                </a:moveTo>
                <a:cubicBezTo>
                  <a:pt x="355861" y="81959"/>
                  <a:pt x="360317" y="87613"/>
                  <a:pt x="360317" y="93915"/>
                </a:cubicBezTo>
                <a:lnTo>
                  <a:pt x="360317" y="164358"/>
                </a:lnTo>
                <a:cubicBezTo>
                  <a:pt x="375915" y="170197"/>
                  <a:pt x="387055" y="185120"/>
                  <a:pt x="387334" y="202915"/>
                </a:cubicBezTo>
                <a:cubicBezTo>
                  <a:pt x="387334" y="220619"/>
                  <a:pt x="376193" y="235541"/>
                  <a:pt x="360596" y="241381"/>
                </a:cubicBezTo>
                <a:lnTo>
                  <a:pt x="360596" y="312564"/>
                </a:lnTo>
                <a:cubicBezTo>
                  <a:pt x="360596" y="318867"/>
                  <a:pt x="356139" y="324521"/>
                  <a:pt x="349919" y="325263"/>
                </a:cubicBezTo>
                <a:cubicBezTo>
                  <a:pt x="342770" y="326097"/>
                  <a:pt x="336735" y="320721"/>
                  <a:pt x="336364" y="313862"/>
                </a:cubicBezTo>
                <a:cubicBezTo>
                  <a:pt x="297464" y="277065"/>
                  <a:pt x="241852" y="262884"/>
                  <a:pt x="208243" y="257416"/>
                </a:cubicBezTo>
                <a:lnTo>
                  <a:pt x="208243" y="268909"/>
                </a:lnTo>
                <a:lnTo>
                  <a:pt x="179648" y="268909"/>
                </a:lnTo>
                <a:lnTo>
                  <a:pt x="190046" y="310340"/>
                </a:lnTo>
                <a:cubicBezTo>
                  <a:pt x="204715" y="308486"/>
                  <a:pt x="229132" y="307096"/>
                  <a:pt x="240552" y="317477"/>
                </a:cubicBezTo>
                <a:cubicBezTo>
                  <a:pt x="253921" y="329804"/>
                  <a:pt x="243523" y="346025"/>
                  <a:pt x="243523" y="346025"/>
                </a:cubicBezTo>
                <a:cubicBezTo>
                  <a:pt x="243523" y="346025"/>
                  <a:pt x="262462" y="362801"/>
                  <a:pt x="243151" y="383007"/>
                </a:cubicBezTo>
                <a:cubicBezTo>
                  <a:pt x="243151" y="383007"/>
                  <a:pt x="255406" y="403213"/>
                  <a:pt x="233682" y="419526"/>
                </a:cubicBezTo>
                <a:cubicBezTo>
                  <a:pt x="233682" y="419526"/>
                  <a:pt x="243708" y="447610"/>
                  <a:pt x="203508" y="456137"/>
                </a:cubicBezTo>
                <a:cubicBezTo>
                  <a:pt x="191624" y="458732"/>
                  <a:pt x="176677" y="458640"/>
                  <a:pt x="162658" y="457527"/>
                </a:cubicBezTo>
                <a:cubicBezTo>
                  <a:pt x="140376" y="457991"/>
                  <a:pt x="118187" y="456230"/>
                  <a:pt x="105004" y="455025"/>
                </a:cubicBezTo>
                <a:lnTo>
                  <a:pt x="8820" y="455025"/>
                </a:lnTo>
                <a:cubicBezTo>
                  <a:pt x="3992" y="455025"/>
                  <a:pt x="0" y="451039"/>
                  <a:pt x="0" y="446219"/>
                </a:cubicBezTo>
                <a:lnTo>
                  <a:pt x="0" y="365674"/>
                </a:lnTo>
                <a:cubicBezTo>
                  <a:pt x="0" y="360855"/>
                  <a:pt x="3992" y="356869"/>
                  <a:pt x="8820" y="356869"/>
                </a:cubicBezTo>
                <a:lnTo>
                  <a:pt x="58212" y="356869"/>
                </a:lnTo>
                <a:cubicBezTo>
                  <a:pt x="65267" y="356869"/>
                  <a:pt x="72138" y="354088"/>
                  <a:pt x="77151" y="348991"/>
                </a:cubicBezTo>
                <a:cubicBezTo>
                  <a:pt x="79194" y="346859"/>
                  <a:pt x="80865" y="344912"/>
                  <a:pt x="81422" y="343522"/>
                </a:cubicBezTo>
                <a:cubicBezTo>
                  <a:pt x="81793" y="342595"/>
                  <a:pt x="82165" y="341483"/>
                  <a:pt x="82722" y="340371"/>
                </a:cubicBezTo>
                <a:cubicBezTo>
                  <a:pt x="84578" y="335736"/>
                  <a:pt x="87642" y="330082"/>
                  <a:pt x="92470" y="324985"/>
                </a:cubicBezTo>
                <a:cubicBezTo>
                  <a:pt x="92470" y="324985"/>
                  <a:pt x="120322" y="299032"/>
                  <a:pt x="146318" y="302647"/>
                </a:cubicBezTo>
                <a:lnTo>
                  <a:pt x="138148" y="269001"/>
                </a:lnTo>
                <a:lnTo>
                  <a:pt x="131092" y="269001"/>
                </a:lnTo>
                <a:cubicBezTo>
                  <a:pt x="115773" y="269001"/>
                  <a:pt x="103332" y="256581"/>
                  <a:pt x="103332" y="241381"/>
                </a:cubicBezTo>
                <a:lnTo>
                  <a:pt x="103332" y="230722"/>
                </a:lnTo>
                <a:lnTo>
                  <a:pt x="94977" y="230722"/>
                </a:lnTo>
                <a:cubicBezTo>
                  <a:pt x="89870" y="230722"/>
                  <a:pt x="85693" y="226551"/>
                  <a:pt x="85693" y="221453"/>
                </a:cubicBezTo>
                <a:lnTo>
                  <a:pt x="85693" y="186881"/>
                </a:lnTo>
                <a:cubicBezTo>
                  <a:pt x="85693" y="181783"/>
                  <a:pt x="89870" y="177612"/>
                  <a:pt x="94977" y="177612"/>
                </a:cubicBezTo>
                <a:lnTo>
                  <a:pt x="103332" y="177612"/>
                </a:lnTo>
                <a:lnTo>
                  <a:pt x="103332" y="165192"/>
                </a:lnTo>
                <a:cubicBezTo>
                  <a:pt x="103332" y="149898"/>
                  <a:pt x="115866" y="137571"/>
                  <a:pt x="131092" y="137571"/>
                </a:cubicBezTo>
                <a:lnTo>
                  <a:pt x="207965" y="137571"/>
                </a:lnTo>
                <a:lnTo>
                  <a:pt x="207965" y="149064"/>
                </a:lnTo>
                <a:cubicBezTo>
                  <a:pt x="241666" y="143503"/>
                  <a:pt x="297371" y="129229"/>
                  <a:pt x="336086" y="92525"/>
                </a:cubicBezTo>
                <a:cubicBezTo>
                  <a:pt x="336550" y="85666"/>
                  <a:pt x="342492" y="80290"/>
                  <a:pt x="349733" y="81217"/>
                </a:cubicBezTo>
                <a:close/>
                <a:moveTo>
                  <a:pt x="499620" y="45769"/>
                </a:moveTo>
                <a:cubicBezTo>
                  <a:pt x="496277" y="45955"/>
                  <a:pt x="495813" y="46511"/>
                  <a:pt x="495720" y="49848"/>
                </a:cubicBezTo>
                <a:lnTo>
                  <a:pt x="495720" y="54483"/>
                </a:lnTo>
                <a:cubicBezTo>
                  <a:pt x="495720" y="58932"/>
                  <a:pt x="495720" y="58747"/>
                  <a:pt x="491357" y="60416"/>
                </a:cubicBezTo>
                <a:cubicBezTo>
                  <a:pt x="480958" y="64216"/>
                  <a:pt x="474644" y="71261"/>
                  <a:pt x="473901" y="82478"/>
                </a:cubicBezTo>
                <a:cubicBezTo>
                  <a:pt x="473251" y="92489"/>
                  <a:pt x="478636" y="99163"/>
                  <a:pt x="486807" y="104169"/>
                </a:cubicBezTo>
                <a:cubicBezTo>
                  <a:pt x="491728" y="107135"/>
                  <a:pt x="497392" y="108989"/>
                  <a:pt x="502777" y="111307"/>
                </a:cubicBezTo>
                <a:cubicBezTo>
                  <a:pt x="504819" y="112326"/>
                  <a:pt x="506862" y="113253"/>
                  <a:pt x="508533" y="114737"/>
                </a:cubicBezTo>
                <a:cubicBezTo>
                  <a:pt x="513733" y="119001"/>
                  <a:pt x="512804" y="126046"/>
                  <a:pt x="506676" y="128734"/>
                </a:cubicBezTo>
                <a:cubicBezTo>
                  <a:pt x="503520" y="130217"/>
                  <a:pt x="499991" y="130588"/>
                  <a:pt x="496463" y="130124"/>
                </a:cubicBezTo>
                <a:cubicBezTo>
                  <a:pt x="490892" y="129383"/>
                  <a:pt x="485693" y="127992"/>
                  <a:pt x="480679" y="125397"/>
                </a:cubicBezTo>
                <a:cubicBezTo>
                  <a:pt x="477894" y="123821"/>
                  <a:pt x="476965" y="124284"/>
                  <a:pt x="476037" y="127343"/>
                </a:cubicBezTo>
                <a:cubicBezTo>
                  <a:pt x="475108" y="130124"/>
                  <a:pt x="474365" y="132812"/>
                  <a:pt x="473623" y="135501"/>
                </a:cubicBezTo>
                <a:cubicBezTo>
                  <a:pt x="472694" y="139209"/>
                  <a:pt x="473066" y="140136"/>
                  <a:pt x="476501" y="141804"/>
                </a:cubicBezTo>
                <a:cubicBezTo>
                  <a:pt x="480958" y="144029"/>
                  <a:pt x="485786" y="145141"/>
                  <a:pt x="490614" y="145883"/>
                </a:cubicBezTo>
                <a:cubicBezTo>
                  <a:pt x="494420" y="146532"/>
                  <a:pt x="494606" y="146624"/>
                  <a:pt x="494606" y="150610"/>
                </a:cubicBezTo>
                <a:lnTo>
                  <a:pt x="494606" y="156079"/>
                </a:lnTo>
                <a:cubicBezTo>
                  <a:pt x="494606" y="158304"/>
                  <a:pt x="495720" y="159602"/>
                  <a:pt x="498042" y="159602"/>
                </a:cubicBezTo>
                <a:cubicBezTo>
                  <a:pt x="500641" y="159787"/>
                  <a:pt x="503334" y="159787"/>
                  <a:pt x="505934" y="159602"/>
                </a:cubicBezTo>
                <a:cubicBezTo>
                  <a:pt x="508162" y="159509"/>
                  <a:pt x="509276" y="158397"/>
                  <a:pt x="509276" y="156172"/>
                </a:cubicBezTo>
                <a:cubicBezTo>
                  <a:pt x="509276" y="153669"/>
                  <a:pt x="509462" y="151259"/>
                  <a:pt x="509276" y="148756"/>
                </a:cubicBezTo>
                <a:cubicBezTo>
                  <a:pt x="509183" y="146254"/>
                  <a:pt x="510297" y="144956"/>
                  <a:pt x="512619" y="144307"/>
                </a:cubicBezTo>
                <a:cubicBezTo>
                  <a:pt x="518097" y="142824"/>
                  <a:pt x="522925" y="139857"/>
                  <a:pt x="526546" y="135408"/>
                </a:cubicBezTo>
                <a:cubicBezTo>
                  <a:pt x="536573" y="123172"/>
                  <a:pt x="532674" y="105281"/>
                  <a:pt x="518747" y="97680"/>
                </a:cubicBezTo>
                <a:cubicBezTo>
                  <a:pt x="514104" y="95270"/>
                  <a:pt x="509462" y="93416"/>
                  <a:pt x="504727" y="91377"/>
                </a:cubicBezTo>
                <a:cubicBezTo>
                  <a:pt x="502034" y="90265"/>
                  <a:pt x="499434" y="88967"/>
                  <a:pt x="497020" y="87113"/>
                </a:cubicBezTo>
                <a:cubicBezTo>
                  <a:pt x="492471" y="83405"/>
                  <a:pt x="493306" y="77565"/>
                  <a:pt x="498691" y="75247"/>
                </a:cubicBezTo>
                <a:cubicBezTo>
                  <a:pt x="500177" y="74506"/>
                  <a:pt x="501755" y="74320"/>
                  <a:pt x="503334" y="74227"/>
                </a:cubicBezTo>
                <a:cubicBezTo>
                  <a:pt x="509555" y="73857"/>
                  <a:pt x="515404" y="74969"/>
                  <a:pt x="520975" y="77657"/>
                </a:cubicBezTo>
                <a:cubicBezTo>
                  <a:pt x="523667" y="79048"/>
                  <a:pt x="524503" y="78584"/>
                  <a:pt x="525524" y="75711"/>
                </a:cubicBezTo>
                <a:cubicBezTo>
                  <a:pt x="526546" y="72652"/>
                  <a:pt x="527381" y="69500"/>
                  <a:pt x="528217" y="66441"/>
                </a:cubicBezTo>
                <a:cubicBezTo>
                  <a:pt x="528867" y="64309"/>
                  <a:pt x="528124" y="63011"/>
                  <a:pt x="526174" y="62084"/>
                </a:cubicBezTo>
                <a:cubicBezTo>
                  <a:pt x="522553" y="60508"/>
                  <a:pt x="518839" y="59396"/>
                  <a:pt x="515033" y="58747"/>
                </a:cubicBezTo>
                <a:cubicBezTo>
                  <a:pt x="509926" y="58005"/>
                  <a:pt x="509926" y="58005"/>
                  <a:pt x="509926" y="53000"/>
                </a:cubicBezTo>
                <a:cubicBezTo>
                  <a:pt x="509926" y="45769"/>
                  <a:pt x="509926" y="45769"/>
                  <a:pt x="502777" y="45769"/>
                </a:cubicBezTo>
                <a:close/>
                <a:moveTo>
                  <a:pt x="502637" y="0"/>
                </a:moveTo>
                <a:cubicBezTo>
                  <a:pt x="528937" y="0"/>
                  <a:pt x="555236" y="10035"/>
                  <a:pt x="575291" y="30104"/>
                </a:cubicBezTo>
                <a:cubicBezTo>
                  <a:pt x="615401" y="70149"/>
                  <a:pt x="615401" y="135130"/>
                  <a:pt x="575291" y="175175"/>
                </a:cubicBezTo>
                <a:cubicBezTo>
                  <a:pt x="541494" y="208917"/>
                  <a:pt x="489871" y="214293"/>
                  <a:pt x="450504" y="191119"/>
                </a:cubicBezTo>
                <a:lnTo>
                  <a:pt x="450225" y="191026"/>
                </a:lnTo>
                <a:cubicBezTo>
                  <a:pt x="434812" y="202613"/>
                  <a:pt x="418193" y="204745"/>
                  <a:pt x="406587" y="202891"/>
                </a:cubicBezTo>
                <a:cubicBezTo>
                  <a:pt x="402687" y="202243"/>
                  <a:pt x="401944" y="197052"/>
                  <a:pt x="405472" y="195383"/>
                </a:cubicBezTo>
                <a:cubicBezTo>
                  <a:pt x="416057" y="190192"/>
                  <a:pt x="422742" y="179903"/>
                  <a:pt x="426642" y="171467"/>
                </a:cubicBezTo>
                <a:lnTo>
                  <a:pt x="425620" y="170633"/>
                </a:lnTo>
                <a:cubicBezTo>
                  <a:pt x="389874" y="130310"/>
                  <a:pt x="391360" y="68666"/>
                  <a:pt x="429984" y="30104"/>
                </a:cubicBezTo>
                <a:cubicBezTo>
                  <a:pt x="450039" y="10035"/>
                  <a:pt x="476338" y="0"/>
                  <a:pt x="50263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57" name="文本框 56">
            <a:extLst>
              <a:ext uri="{FF2B5EF4-FFF2-40B4-BE49-F238E27FC236}">
                <a16:creationId xmlns:a16="http://schemas.microsoft.com/office/drawing/2014/main" id="{E4E3EAFC-D4D9-4B62-A60F-220C199D46C7}"/>
              </a:ext>
            </a:extLst>
          </p:cNvPr>
          <p:cNvSpPr txBox="1"/>
          <p:nvPr/>
        </p:nvSpPr>
        <p:spPr bwMode="auto">
          <a:xfrm>
            <a:off x="6816305" y="4858666"/>
            <a:ext cx="870751" cy="830997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4800" b="1">
                <a:solidFill>
                  <a:schemeClr val="accent1">
                    <a:lumMod val="20000"/>
                    <a:lumOff val="80000"/>
                  </a:schemeClr>
                </a:solidFill>
                <a:cs typeface="+mn-ea"/>
                <a:sym typeface="+mn-lt"/>
              </a:rPr>
              <a:t>03</a:t>
            </a:r>
            <a:endParaRPr lang="en-US" altLang="zh-CN" sz="4800" b="1" dirty="0">
              <a:solidFill>
                <a:schemeClr val="accent1">
                  <a:lumMod val="20000"/>
                  <a:lumOff val="80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58" name="文本框 57">
            <a:extLst>
              <a:ext uri="{FF2B5EF4-FFF2-40B4-BE49-F238E27FC236}">
                <a16:creationId xmlns:a16="http://schemas.microsoft.com/office/drawing/2014/main" id="{3495B739-E5A7-4F4A-95FD-24BDFE4B18B1}"/>
              </a:ext>
            </a:extLst>
          </p:cNvPr>
          <p:cNvSpPr txBox="1"/>
          <p:nvPr/>
        </p:nvSpPr>
        <p:spPr bwMode="auto">
          <a:xfrm>
            <a:off x="6654947" y="5496231"/>
            <a:ext cx="1193467" cy="452432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  <a:spcBef>
                <a:spcPct val="0"/>
              </a:spcBef>
            </a:pPr>
            <a:r>
              <a:rPr lang="en-US" altLang="zh-CN" b="1">
                <a:cs typeface="+mn-ea"/>
                <a:sym typeface="+mn-lt"/>
              </a:rPr>
              <a:t>Text </a:t>
            </a:r>
            <a:r>
              <a:rPr lang="en-US" altLang="zh-CN" b="1" dirty="0">
                <a:cs typeface="+mn-ea"/>
                <a:sym typeface="+mn-lt"/>
              </a:rPr>
              <a:t>here</a:t>
            </a:r>
          </a:p>
        </p:txBody>
      </p:sp>
      <p:sp>
        <p:nvSpPr>
          <p:cNvPr id="55" name="椭圆 54">
            <a:extLst>
              <a:ext uri="{FF2B5EF4-FFF2-40B4-BE49-F238E27FC236}">
                <a16:creationId xmlns:a16="http://schemas.microsoft.com/office/drawing/2014/main" id="{679899D2-E714-4138-A470-7639B16C95F6}"/>
              </a:ext>
            </a:extLst>
          </p:cNvPr>
          <p:cNvSpPr/>
          <p:nvPr/>
        </p:nvSpPr>
        <p:spPr bwMode="auto">
          <a:xfrm>
            <a:off x="4406626" y="3814593"/>
            <a:ext cx="1067386" cy="1072110"/>
          </a:xfrm>
          <a:prstGeom prst="ellipse">
            <a:avLst/>
          </a:prstGeom>
          <a:solidFill>
            <a:schemeClr val="accent2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5425" indent="-225425" algn="ctr" fontAlgn="base">
              <a:spcBef>
                <a:spcPct val="0"/>
              </a:spcBef>
              <a:spcAft>
                <a:spcPct val="0"/>
              </a:spcAft>
            </a:pPr>
            <a:endParaRPr sz="2000" b="1" kern="0">
              <a:solidFill>
                <a:prstClr val="black"/>
              </a:solidFill>
              <a:cs typeface="+mn-ea"/>
              <a:sym typeface="+mn-lt"/>
            </a:endParaRPr>
          </a:p>
        </p:txBody>
      </p:sp>
      <p:sp>
        <p:nvSpPr>
          <p:cNvPr id="56" name="任意多边形: 形状 55">
            <a:extLst>
              <a:ext uri="{FF2B5EF4-FFF2-40B4-BE49-F238E27FC236}">
                <a16:creationId xmlns:a16="http://schemas.microsoft.com/office/drawing/2014/main" id="{8887A3ED-FED8-4425-AD61-4043EA8B23E0}"/>
              </a:ext>
            </a:extLst>
          </p:cNvPr>
          <p:cNvSpPr/>
          <p:nvPr/>
        </p:nvSpPr>
        <p:spPr bwMode="auto">
          <a:xfrm>
            <a:off x="4720481" y="4184245"/>
            <a:ext cx="439644" cy="332809"/>
          </a:xfrm>
          <a:custGeom>
            <a:avLst/>
            <a:gdLst>
              <a:gd name="connsiteX0" fmla="*/ 132670 w 605373"/>
              <a:gd name="connsiteY0" fmla="*/ 166582 h 458266"/>
              <a:gd name="connsiteX1" fmla="*/ 132670 w 605373"/>
              <a:gd name="connsiteY1" fmla="*/ 239527 h 458266"/>
              <a:gd name="connsiteX2" fmla="*/ 178720 w 605373"/>
              <a:gd name="connsiteY2" fmla="*/ 239527 h 458266"/>
              <a:gd name="connsiteX3" fmla="*/ 178720 w 605373"/>
              <a:gd name="connsiteY3" fmla="*/ 166582 h 458266"/>
              <a:gd name="connsiteX4" fmla="*/ 349733 w 605373"/>
              <a:gd name="connsiteY4" fmla="*/ 81217 h 458266"/>
              <a:gd name="connsiteX5" fmla="*/ 360317 w 605373"/>
              <a:gd name="connsiteY5" fmla="*/ 93915 h 458266"/>
              <a:gd name="connsiteX6" fmla="*/ 360317 w 605373"/>
              <a:gd name="connsiteY6" fmla="*/ 164358 h 458266"/>
              <a:gd name="connsiteX7" fmla="*/ 387334 w 605373"/>
              <a:gd name="connsiteY7" fmla="*/ 202915 h 458266"/>
              <a:gd name="connsiteX8" fmla="*/ 360596 w 605373"/>
              <a:gd name="connsiteY8" fmla="*/ 241381 h 458266"/>
              <a:gd name="connsiteX9" fmla="*/ 360596 w 605373"/>
              <a:gd name="connsiteY9" fmla="*/ 312564 h 458266"/>
              <a:gd name="connsiteX10" fmla="*/ 349919 w 605373"/>
              <a:gd name="connsiteY10" fmla="*/ 325263 h 458266"/>
              <a:gd name="connsiteX11" fmla="*/ 336364 w 605373"/>
              <a:gd name="connsiteY11" fmla="*/ 313862 h 458266"/>
              <a:gd name="connsiteX12" fmla="*/ 208243 w 605373"/>
              <a:gd name="connsiteY12" fmla="*/ 257416 h 458266"/>
              <a:gd name="connsiteX13" fmla="*/ 208243 w 605373"/>
              <a:gd name="connsiteY13" fmla="*/ 268909 h 458266"/>
              <a:gd name="connsiteX14" fmla="*/ 179648 w 605373"/>
              <a:gd name="connsiteY14" fmla="*/ 268909 h 458266"/>
              <a:gd name="connsiteX15" fmla="*/ 190046 w 605373"/>
              <a:gd name="connsiteY15" fmla="*/ 310340 h 458266"/>
              <a:gd name="connsiteX16" fmla="*/ 240552 w 605373"/>
              <a:gd name="connsiteY16" fmla="*/ 317477 h 458266"/>
              <a:gd name="connsiteX17" fmla="*/ 243523 w 605373"/>
              <a:gd name="connsiteY17" fmla="*/ 346025 h 458266"/>
              <a:gd name="connsiteX18" fmla="*/ 243151 w 605373"/>
              <a:gd name="connsiteY18" fmla="*/ 383007 h 458266"/>
              <a:gd name="connsiteX19" fmla="*/ 233682 w 605373"/>
              <a:gd name="connsiteY19" fmla="*/ 419526 h 458266"/>
              <a:gd name="connsiteX20" fmla="*/ 203508 w 605373"/>
              <a:gd name="connsiteY20" fmla="*/ 456137 h 458266"/>
              <a:gd name="connsiteX21" fmla="*/ 162658 w 605373"/>
              <a:gd name="connsiteY21" fmla="*/ 457527 h 458266"/>
              <a:gd name="connsiteX22" fmla="*/ 105004 w 605373"/>
              <a:gd name="connsiteY22" fmla="*/ 455025 h 458266"/>
              <a:gd name="connsiteX23" fmla="*/ 8820 w 605373"/>
              <a:gd name="connsiteY23" fmla="*/ 455025 h 458266"/>
              <a:gd name="connsiteX24" fmla="*/ 0 w 605373"/>
              <a:gd name="connsiteY24" fmla="*/ 446219 h 458266"/>
              <a:gd name="connsiteX25" fmla="*/ 0 w 605373"/>
              <a:gd name="connsiteY25" fmla="*/ 365674 h 458266"/>
              <a:gd name="connsiteX26" fmla="*/ 8820 w 605373"/>
              <a:gd name="connsiteY26" fmla="*/ 356869 h 458266"/>
              <a:gd name="connsiteX27" fmla="*/ 58212 w 605373"/>
              <a:gd name="connsiteY27" fmla="*/ 356869 h 458266"/>
              <a:gd name="connsiteX28" fmla="*/ 77151 w 605373"/>
              <a:gd name="connsiteY28" fmla="*/ 348991 h 458266"/>
              <a:gd name="connsiteX29" fmla="*/ 81422 w 605373"/>
              <a:gd name="connsiteY29" fmla="*/ 343522 h 458266"/>
              <a:gd name="connsiteX30" fmla="*/ 82722 w 605373"/>
              <a:gd name="connsiteY30" fmla="*/ 340371 h 458266"/>
              <a:gd name="connsiteX31" fmla="*/ 92470 w 605373"/>
              <a:gd name="connsiteY31" fmla="*/ 324985 h 458266"/>
              <a:gd name="connsiteX32" fmla="*/ 146318 w 605373"/>
              <a:gd name="connsiteY32" fmla="*/ 302647 h 458266"/>
              <a:gd name="connsiteX33" fmla="*/ 138148 w 605373"/>
              <a:gd name="connsiteY33" fmla="*/ 269001 h 458266"/>
              <a:gd name="connsiteX34" fmla="*/ 131092 w 605373"/>
              <a:gd name="connsiteY34" fmla="*/ 269001 h 458266"/>
              <a:gd name="connsiteX35" fmla="*/ 103332 w 605373"/>
              <a:gd name="connsiteY35" fmla="*/ 241381 h 458266"/>
              <a:gd name="connsiteX36" fmla="*/ 103332 w 605373"/>
              <a:gd name="connsiteY36" fmla="*/ 230722 h 458266"/>
              <a:gd name="connsiteX37" fmla="*/ 94977 w 605373"/>
              <a:gd name="connsiteY37" fmla="*/ 230722 h 458266"/>
              <a:gd name="connsiteX38" fmla="*/ 85693 w 605373"/>
              <a:gd name="connsiteY38" fmla="*/ 221453 h 458266"/>
              <a:gd name="connsiteX39" fmla="*/ 85693 w 605373"/>
              <a:gd name="connsiteY39" fmla="*/ 186881 h 458266"/>
              <a:gd name="connsiteX40" fmla="*/ 94977 w 605373"/>
              <a:gd name="connsiteY40" fmla="*/ 177612 h 458266"/>
              <a:gd name="connsiteX41" fmla="*/ 103332 w 605373"/>
              <a:gd name="connsiteY41" fmla="*/ 177612 h 458266"/>
              <a:gd name="connsiteX42" fmla="*/ 103332 w 605373"/>
              <a:gd name="connsiteY42" fmla="*/ 165192 h 458266"/>
              <a:gd name="connsiteX43" fmla="*/ 131092 w 605373"/>
              <a:gd name="connsiteY43" fmla="*/ 137571 h 458266"/>
              <a:gd name="connsiteX44" fmla="*/ 207965 w 605373"/>
              <a:gd name="connsiteY44" fmla="*/ 137571 h 458266"/>
              <a:gd name="connsiteX45" fmla="*/ 207965 w 605373"/>
              <a:gd name="connsiteY45" fmla="*/ 149064 h 458266"/>
              <a:gd name="connsiteX46" fmla="*/ 336086 w 605373"/>
              <a:gd name="connsiteY46" fmla="*/ 92525 h 458266"/>
              <a:gd name="connsiteX47" fmla="*/ 349733 w 605373"/>
              <a:gd name="connsiteY47" fmla="*/ 81217 h 458266"/>
              <a:gd name="connsiteX48" fmla="*/ 499620 w 605373"/>
              <a:gd name="connsiteY48" fmla="*/ 45769 h 458266"/>
              <a:gd name="connsiteX49" fmla="*/ 495720 w 605373"/>
              <a:gd name="connsiteY49" fmla="*/ 49848 h 458266"/>
              <a:gd name="connsiteX50" fmla="*/ 495720 w 605373"/>
              <a:gd name="connsiteY50" fmla="*/ 54483 h 458266"/>
              <a:gd name="connsiteX51" fmla="*/ 491357 w 605373"/>
              <a:gd name="connsiteY51" fmla="*/ 60416 h 458266"/>
              <a:gd name="connsiteX52" fmla="*/ 473901 w 605373"/>
              <a:gd name="connsiteY52" fmla="*/ 82478 h 458266"/>
              <a:gd name="connsiteX53" fmla="*/ 486807 w 605373"/>
              <a:gd name="connsiteY53" fmla="*/ 104169 h 458266"/>
              <a:gd name="connsiteX54" fmla="*/ 502777 w 605373"/>
              <a:gd name="connsiteY54" fmla="*/ 111307 h 458266"/>
              <a:gd name="connsiteX55" fmla="*/ 508533 w 605373"/>
              <a:gd name="connsiteY55" fmla="*/ 114737 h 458266"/>
              <a:gd name="connsiteX56" fmla="*/ 506676 w 605373"/>
              <a:gd name="connsiteY56" fmla="*/ 128734 h 458266"/>
              <a:gd name="connsiteX57" fmla="*/ 496463 w 605373"/>
              <a:gd name="connsiteY57" fmla="*/ 130124 h 458266"/>
              <a:gd name="connsiteX58" fmla="*/ 480679 w 605373"/>
              <a:gd name="connsiteY58" fmla="*/ 125397 h 458266"/>
              <a:gd name="connsiteX59" fmla="*/ 476037 w 605373"/>
              <a:gd name="connsiteY59" fmla="*/ 127343 h 458266"/>
              <a:gd name="connsiteX60" fmla="*/ 473623 w 605373"/>
              <a:gd name="connsiteY60" fmla="*/ 135501 h 458266"/>
              <a:gd name="connsiteX61" fmla="*/ 476501 w 605373"/>
              <a:gd name="connsiteY61" fmla="*/ 141804 h 458266"/>
              <a:gd name="connsiteX62" fmla="*/ 490614 w 605373"/>
              <a:gd name="connsiteY62" fmla="*/ 145883 h 458266"/>
              <a:gd name="connsiteX63" fmla="*/ 494606 w 605373"/>
              <a:gd name="connsiteY63" fmla="*/ 150610 h 458266"/>
              <a:gd name="connsiteX64" fmla="*/ 494606 w 605373"/>
              <a:gd name="connsiteY64" fmla="*/ 156079 h 458266"/>
              <a:gd name="connsiteX65" fmla="*/ 498042 w 605373"/>
              <a:gd name="connsiteY65" fmla="*/ 159602 h 458266"/>
              <a:gd name="connsiteX66" fmla="*/ 505934 w 605373"/>
              <a:gd name="connsiteY66" fmla="*/ 159602 h 458266"/>
              <a:gd name="connsiteX67" fmla="*/ 509276 w 605373"/>
              <a:gd name="connsiteY67" fmla="*/ 156172 h 458266"/>
              <a:gd name="connsiteX68" fmla="*/ 509276 w 605373"/>
              <a:gd name="connsiteY68" fmla="*/ 148756 h 458266"/>
              <a:gd name="connsiteX69" fmla="*/ 512619 w 605373"/>
              <a:gd name="connsiteY69" fmla="*/ 144307 h 458266"/>
              <a:gd name="connsiteX70" fmla="*/ 526546 w 605373"/>
              <a:gd name="connsiteY70" fmla="*/ 135408 h 458266"/>
              <a:gd name="connsiteX71" fmla="*/ 518747 w 605373"/>
              <a:gd name="connsiteY71" fmla="*/ 97680 h 458266"/>
              <a:gd name="connsiteX72" fmla="*/ 504727 w 605373"/>
              <a:gd name="connsiteY72" fmla="*/ 91377 h 458266"/>
              <a:gd name="connsiteX73" fmla="*/ 497020 w 605373"/>
              <a:gd name="connsiteY73" fmla="*/ 87113 h 458266"/>
              <a:gd name="connsiteX74" fmla="*/ 498691 w 605373"/>
              <a:gd name="connsiteY74" fmla="*/ 75247 h 458266"/>
              <a:gd name="connsiteX75" fmla="*/ 503334 w 605373"/>
              <a:gd name="connsiteY75" fmla="*/ 74227 h 458266"/>
              <a:gd name="connsiteX76" fmla="*/ 520975 w 605373"/>
              <a:gd name="connsiteY76" fmla="*/ 77657 h 458266"/>
              <a:gd name="connsiteX77" fmla="*/ 525524 w 605373"/>
              <a:gd name="connsiteY77" fmla="*/ 75711 h 458266"/>
              <a:gd name="connsiteX78" fmla="*/ 528217 w 605373"/>
              <a:gd name="connsiteY78" fmla="*/ 66441 h 458266"/>
              <a:gd name="connsiteX79" fmla="*/ 526174 w 605373"/>
              <a:gd name="connsiteY79" fmla="*/ 62084 h 458266"/>
              <a:gd name="connsiteX80" fmla="*/ 515033 w 605373"/>
              <a:gd name="connsiteY80" fmla="*/ 58747 h 458266"/>
              <a:gd name="connsiteX81" fmla="*/ 509926 w 605373"/>
              <a:gd name="connsiteY81" fmla="*/ 53000 h 458266"/>
              <a:gd name="connsiteX82" fmla="*/ 502777 w 605373"/>
              <a:gd name="connsiteY82" fmla="*/ 45769 h 458266"/>
              <a:gd name="connsiteX83" fmla="*/ 502637 w 605373"/>
              <a:gd name="connsiteY83" fmla="*/ 0 h 458266"/>
              <a:gd name="connsiteX84" fmla="*/ 575291 w 605373"/>
              <a:gd name="connsiteY84" fmla="*/ 30104 h 458266"/>
              <a:gd name="connsiteX85" fmla="*/ 575291 w 605373"/>
              <a:gd name="connsiteY85" fmla="*/ 175175 h 458266"/>
              <a:gd name="connsiteX86" fmla="*/ 450504 w 605373"/>
              <a:gd name="connsiteY86" fmla="*/ 191119 h 458266"/>
              <a:gd name="connsiteX87" fmla="*/ 450225 w 605373"/>
              <a:gd name="connsiteY87" fmla="*/ 191026 h 458266"/>
              <a:gd name="connsiteX88" fmla="*/ 406587 w 605373"/>
              <a:gd name="connsiteY88" fmla="*/ 202891 h 458266"/>
              <a:gd name="connsiteX89" fmla="*/ 405472 w 605373"/>
              <a:gd name="connsiteY89" fmla="*/ 195383 h 458266"/>
              <a:gd name="connsiteX90" fmla="*/ 426642 w 605373"/>
              <a:gd name="connsiteY90" fmla="*/ 171467 h 458266"/>
              <a:gd name="connsiteX91" fmla="*/ 425620 w 605373"/>
              <a:gd name="connsiteY91" fmla="*/ 170633 h 458266"/>
              <a:gd name="connsiteX92" fmla="*/ 429984 w 605373"/>
              <a:gd name="connsiteY92" fmla="*/ 30104 h 458266"/>
              <a:gd name="connsiteX93" fmla="*/ 502637 w 605373"/>
              <a:gd name="connsiteY93" fmla="*/ 0 h 458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</a:cxnLst>
            <a:rect l="l" t="t" r="r" b="b"/>
            <a:pathLst>
              <a:path w="605373" h="458266">
                <a:moveTo>
                  <a:pt x="132670" y="166582"/>
                </a:moveTo>
                <a:lnTo>
                  <a:pt x="132670" y="239527"/>
                </a:lnTo>
                <a:lnTo>
                  <a:pt x="178720" y="239527"/>
                </a:lnTo>
                <a:lnTo>
                  <a:pt x="178720" y="166582"/>
                </a:lnTo>
                <a:close/>
                <a:moveTo>
                  <a:pt x="349733" y="81217"/>
                </a:moveTo>
                <a:cubicBezTo>
                  <a:pt x="355861" y="81959"/>
                  <a:pt x="360317" y="87613"/>
                  <a:pt x="360317" y="93915"/>
                </a:cubicBezTo>
                <a:lnTo>
                  <a:pt x="360317" y="164358"/>
                </a:lnTo>
                <a:cubicBezTo>
                  <a:pt x="375915" y="170197"/>
                  <a:pt x="387055" y="185120"/>
                  <a:pt x="387334" y="202915"/>
                </a:cubicBezTo>
                <a:cubicBezTo>
                  <a:pt x="387334" y="220619"/>
                  <a:pt x="376193" y="235541"/>
                  <a:pt x="360596" y="241381"/>
                </a:cubicBezTo>
                <a:lnTo>
                  <a:pt x="360596" y="312564"/>
                </a:lnTo>
                <a:cubicBezTo>
                  <a:pt x="360596" y="318867"/>
                  <a:pt x="356139" y="324521"/>
                  <a:pt x="349919" y="325263"/>
                </a:cubicBezTo>
                <a:cubicBezTo>
                  <a:pt x="342770" y="326097"/>
                  <a:pt x="336735" y="320721"/>
                  <a:pt x="336364" y="313862"/>
                </a:cubicBezTo>
                <a:cubicBezTo>
                  <a:pt x="297464" y="277065"/>
                  <a:pt x="241852" y="262884"/>
                  <a:pt x="208243" y="257416"/>
                </a:cubicBezTo>
                <a:lnTo>
                  <a:pt x="208243" y="268909"/>
                </a:lnTo>
                <a:lnTo>
                  <a:pt x="179648" y="268909"/>
                </a:lnTo>
                <a:lnTo>
                  <a:pt x="190046" y="310340"/>
                </a:lnTo>
                <a:cubicBezTo>
                  <a:pt x="204715" y="308486"/>
                  <a:pt x="229132" y="307096"/>
                  <a:pt x="240552" y="317477"/>
                </a:cubicBezTo>
                <a:cubicBezTo>
                  <a:pt x="253921" y="329804"/>
                  <a:pt x="243523" y="346025"/>
                  <a:pt x="243523" y="346025"/>
                </a:cubicBezTo>
                <a:cubicBezTo>
                  <a:pt x="243523" y="346025"/>
                  <a:pt x="262462" y="362801"/>
                  <a:pt x="243151" y="383007"/>
                </a:cubicBezTo>
                <a:cubicBezTo>
                  <a:pt x="243151" y="383007"/>
                  <a:pt x="255406" y="403213"/>
                  <a:pt x="233682" y="419526"/>
                </a:cubicBezTo>
                <a:cubicBezTo>
                  <a:pt x="233682" y="419526"/>
                  <a:pt x="243708" y="447610"/>
                  <a:pt x="203508" y="456137"/>
                </a:cubicBezTo>
                <a:cubicBezTo>
                  <a:pt x="191624" y="458732"/>
                  <a:pt x="176677" y="458640"/>
                  <a:pt x="162658" y="457527"/>
                </a:cubicBezTo>
                <a:cubicBezTo>
                  <a:pt x="140376" y="457991"/>
                  <a:pt x="118187" y="456230"/>
                  <a:pt x="105004" y="455025"/>
                </a:cubicBezTo>
                <a:lnTo>
                  <a:pt x="8820" y="455025"/>
                </a:lnTo>
                <a:cubicBezTo>
                  <a:pt x="3992" y="455025"/>
                  <a:pt x="0" y="451039"/>
                  <a:pt x="0" y="446219"/>
                </a:cubicBezTo>
                <a:lnTo>
                  <a:pt x="0" y="365674"/>
                </a:lnTo>
                <a:cubicBezTo>
                  <a:pt x="0" y="360855"/>
                  <a:pt x="3992" y="356869"/>
                  <a:pt x="8820" y="356869"/>
                </a:cubicBezTo>
                <a:lnTo>
                  <a:pt x="58212" y="356869"/>
                </a:lnTo>
                <a:cubicBezTo>
                  <a:pt x="65267" y="356869"/>
                  <a:pt x="72138" y="354088"/>
                  <a:pt x="77151" y="348991"/>
                </a:cubicBezTo>
                <a:cubicBezTo>
                  <a:pt x="79194" y="346859"/>
                  <a:pt x="80865" y="344912"/>
                  <a:pt x="81422" y="343522"/>
                </a:cubicBezTo>
                <a:cubicBezTo>
                  <a:pt x="81793" y="342595"/>
                  <a:pt x="82165" y="341483"/>
                  <a:pt x="82722" y="340371"/>
                </a:cubicBezTo>
                <a:cubicBezTo>
                  <a:pt x="84578" y="335736"/>
                  <a:pt x="87642" y="330082"/>
                  <a:pt x="92470" y="324985"/>
                </a:cubicBezTo>
                <a:cubicBezTo>
                  <a:pt x="92470" y="324985"/>
                  <a:pt x="120322" y="299032"/>
                  <a:pt x="146318" y="302647"/>
                </a:cubicBezTo>
                <a:lnTo>
                  <a:pt x="138148" y="269001"/>
                </a:lnTo>
                <a:lnTo>
                  <a:pt x="131092" y="269001"/>
                </a:lnTo>
                <a:cubicBezTo>
                  <a:pt x="115773" y="269001"/>
                  <a:pt x="103332" y="256581"/>
                  <a:pt x="103332" y="241381"/>
                </a:cubicBezTo>
                <a:lnTo>
                  <a:pt x="103332" y="230722"/>
                </a:lnTo>
                <a:lnTo>
                  <a:pt x="94977" y="230722"/>
                </a:lnTo>
                <a:cubicBezTo>
                  <a:pt x="89870" y="230722"/>
                  <a:pt x="85693" y="226551"/>
                  <a:pt x="85693" y="221453"/>
                </a:cubicBezTo>
                <a:lnTo>
                  <a:pt x="85693" y="186881"/>
                </a:lnTo>
                <a:cubicBezTo>
                  <a:pt x="85693" y="181783"/>
                  <a:pt x="89870" y="177612"/>
                  <a:pt x="94977" y="177612"/>
                </a:cubicBezTo>
                <a:lnTo>
                  <a:pt x="103332" y="177612"/>
                </a:lnTo>
                <a:lnTo>
                  <a:pt x="103332" y="165192"/>
                </a:lnTo>
                <a:cubicBezTo>
                  <a:pt x="103332" y="149898"/>
                  <a:pt x="115866" y="137571"/>
                  <a:pt x="131092" y="137571"/>
                </a:cubicBezTo>
                <a:lnTo>
                  <a:pt x="207965" y="137571"/>
                </a:lnTo>
                <a:lnTo>
                  <a:pt x="207965" y="149064"/>
                </a:lnTo>
                <a:cubicBezTo>
                  <a:pt x="241666" y="143503"/>
                  <a:pt x="297371" y="129229"/>
                  <a:pt x="336086" y="92525"/>
                </a:cubicBezTo>
                <a:cubicBezTo>
                  <a:pt x="336550" y="85666"/>
                  <a:pt x="342492" y="80290"/>
                  <a:pt x="349733" y="81217"/>
                </a:cubicBezTo>
                <a:close/>
                <a:moveTo>
                  <a:pt x="499620" y="45769"/>
                </a:moveTo>
                <a:cubicBezTo>
                  <a:pt x="496277" y="45955"/>
                  <a:pt x="495813" y="46511"/>
                  <a:pt x="495720" y="49848"/>
                </a:cubicBezTo>
                <a:lnTo>
                  <a:pt x="495720" y="54483"/>
                </a:lnTo>
                <a:cubicBezTo>
                  <a:pt x="495720" y="58932"/>
                  <a:pt x="495720" y="58747"/>
                  <a:pt x="491357" y="60416"/>
                </a:cubicBezTo>
                <a:cubicBezTo>
                  <a:pt x="480958" y="64216"/>
                  <a:pt x="474644" y="71261"/>
                  <a:pt x="473901" y="82478"/>
                </a:cubicBezTo>
                <a:cubicBezTo>
                  <a:pt x="473251" y="92489"/>
                  <a:pt x="478636" y="99163"/>
                  <a:pt x="486807" y="104169"/>
                </a:cubicBezTo>
                <a:cubicBezTo>
                  <a:pt x="491728" y="107135"/>
                  <a:pt x="497392" y="108989"/>
                  <a:pt x="502777" y="111307"/>
                </a:cubicBezTo>
                <a:cubicBezTo>
                  <a:pt x="504819" y="112326"/>
                  <a:pt x="506862" y="113253"/>
                  <a:pt x="508533" y="114737"/>
                </a:cubicBezTo>
                <a:cubicBezTo>
                  <a:pt x="513733" y="119001"/>
                  <a:pt x="512804" y="126046"/>
                  <a:pt x="506676" y="128734"/>
                </a:cubicBezTo>
                <a:cubicBezTo>
                  <a:pt x="503520" y="130217"/>
                  <a:pt x="499991" y="130588"/>
                  <a:pt x="496463" y="130124"/>
                </a:cubicBezTo>
                <a:cubicBezTo>
                  <a:pt x="490892" y="129383"/>
                  <a:pt x="485693" y="127992"/>
                  <a:pt x="480679" y="125397"/>
                </a:cubicBezTo>
                <a:cubicBezTo>
                  <a:pt x="477894" y="123821"/>
                  <a:pt x="476965" y="124284"/>
                  <a:pt x="476037" y="127343"/>
                </a:cubicBezTo>
                <a:cubicBezTo>
                  <a:pt x="475108" y="130124"/>
                  <a:pt x="474365" y="132812"/>
                  <a:pt x="473623" y="135501"/>
                </a:cubicBezTo>
                <a:cubicBezTo>
                  <a:pt x="472694" y="139209"/>
                  <a:pt x="473066" y="140136"/>
                  <a:pt x="476501" y="141804"/>
                </a:cubicBezTo>
                <a:cubicBezTo>
                  <a:pt x="480958" y="144029"/>
                  <a:pt x="485786" y="145141"/>
                  <a:pt x="490614" y="145883"/>
                </a:cubicBezTo>
                <a:cubicBezTo>
                  <a:pt x="494420" y="146532"/>
                  <a:pt x="494606" y="146624"/>
                  <a:pt x="494606" y="150610"/>
                </a:cubicBezTo>
                <a:lnTo>
                  <a:pt x="494606" y="156079"/>
                </a:lnTo>
                <a:cubicBezTo>
                  <a:pt x="494606" y="158304"/>
                  <a:pt x="495720" y="159602"/>
                  <a:pt x="498042" y="159602"/>
                </a:cubicBezTo>
                <a:cubicBezTo>
                  <a:pt x="500641" y="159787"/>
                  <a:pt x="503334" y="159787"/>
                  <a:pt x="505934" y="159602"/>
                </a:cubicBezTo>
                <a:cubicBezTo>
                  <a:pt x="508162" y="159509"/>
                  <a:pt x="509276" y="158397"/>
                  <a:pt x="509276" y="156172"/>
                </a:cubicBezTo>
                <a:cubicBezTo>
                  <a:pt x="509276" y="153669"/>
                  <a:pt x="509462" y="151259"/>
                  <a:pt x="509276" y="148756"/>
                </a:cubicBezTo>
                <a:cubicBezTo>
                  <a:pt x="509183" y="146254"/>
                  <a:pt x="510297" y="144956"/>
                  <a:pt x="512619" y="144307"/>
                </a:cubicBezTo>
                <a:cubicBezTo>
                  <a:pt x="518097" y="142824"/>
                  <a:pt x="522925" y="139857"/>
                  <a:pt x="526546" y="135408"/>
                </a:cubicBezTo>
                <a:cubicBezTo>
                  <a:pt x="536573" y="123172"/>
                  <a:pt x="532674" y="105281"/>
                  <a:pt x="518747" y="97680"/>
                </a:cubicBezTo>
                <a:cubicBezTo>
                  <a:pt x="514104" y="95270"/>
                  <a:pt x="509462" y="93416"/>
                  <a:pt x="504727" y="91377"/>
                </a:cubicBezTo>
                <a:cubicBezTo>
                  <a:pt x="502034" y="90265"/>
                  <a:pt x="499434" y="88967"/>
                  <a:pt x="497020" y="87113"/>
                </a:cubicBezTo>
                <a:cubicBezTo>
                  <a:pt x="492471" y="83405"/>
                  <a:pt x="493306" y="77565"/>
                  <a:pt x="498691" y="75247"/>
                </a:cubicBezTo>
                <a:cubicBezTo>
                  <a:pt x="500177" y="74506"/>
                  <a:pt x="501755" y="74320"/>
                  <a:pt x="503334" y="74227"/>
                </a:cubicBezTo>
                <a:cubicBezTo>
                  <a:pt x="509555" y="73857"/>
                  <a:pt x="515404" y="74969"/>
                  <a:pt x="520975" y="77657"/>
                </a:cubicBezTo>
                <a:cubicBezTo>
                  <a:pt x="523667" y="79048"/>
                  <a:pt x="524503" y="78584"/>
                  <a:pt x="525524" y="75711"/>
                </a:cubicBezTo>
                <a:cubicBezTo>
                  <a:pt x="526546" y="72652"/>
                  <a:pt x="527381" y="69500"/>
                  <a:pt x="528217" y="66441"/>
                </a:cubicBezTo>
                <a:cubicBezTo>
                  <a:pt x="528867" y="64309"/>
                  <a:pt x="528124" y="63011"/>
                  <a:pt x="526174" y="62084"/>
                </a:cubicBezTo>
                <a:cubicBezTo>
                  <a:pt x="522553" y="60508"/>
                  <a:pt x="518839" y="59396"/>
                  <a:pt x="515033" y="58747"/>
                </a:cubicBezTo>
                <a:cubicBezTo>
                  <a:pt x="509926" y="58005"/>
                  <a:pt x="509926" y="58005"/>
                  <a:pt x="509926" y="53000"/>
                </a:cubicBezTo>
                <a:cubicBezTo>
                  <a:pt x="509926" y="45769"/>
                  <a:pt x="509926" y="45769"/>
                  <a:pt x="502777" y="45769"/>
                </a:cubicBezTo>
                <a:close/>
                <a:moveTo>
                  <a:pt x="502637" y="0"/>
                </a:moveTo>
                <a:cubicBezTo>
                  <a:pt x="528937" y="0"/>
                  <a:pt x="555236" y="10035"/>
                  <a:pt x="575291" y="30104"/>
                </a:cubicBezTo>
                <a:cubicBezTo>
                  <a:pt x="615401" y="70149"/>
                  <a:pt x="615401" y="135130"/>
                  <a:pt x="575291" y="175175"/>
                </a:cubicBezTo>
                <a:cubicBezTo>
                  <a:pt x="541494" y="208917"/>
                  <a:pt x="489871" y="214293"/>
                  <a:pt x="450504" y="191119"/>
                </a:cubicBezTo>
                <a:lnTo>
                  <a:pt x="450225" y="191026"/>
                </a:lnTo>
                <a:cubicBezTo>
                  <a:pt x="434812" y="202613"/>
                  <a:pt x="418193" y="204745"/>
                  <a:pt x="406587" y="202891"/>
                </a:cubicBezTo>
                <a:cubicBezTo>
                  <a:pt x="402687" y="202243"/>
                  <a:pt x="401944" y="197052"/>
                  <a:pt x="405472" y="195383"/>
                </a:cubicBezTo>
                <a:cubicBezTo>
                  <a:pt x="416057" y="190192"/>
                  <a:pt x="422742" y="179903"/>
                  <a:pt x="426642" y="171467"/>
                </a:cubicBezTo>
                <a:lnTo>
                  <a:pt x="425620" y="170633"/>
                </a:lnTo>
                <a:cubicBezTo>
                  <a:pt x="389874" y="130310"/>
                  <a:pt x="391360" y="68666"/>
                  <a:pt x="429984" y="30104"/>
                </a:cubicBezTo>
                <a:cubicBezTo>
                  <a:pt x="450039" y="10035"/>
                  <a:pt x="476338" y="0"/>
                  <a:pt x="50263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ctr"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53" name="文本框 52">
            <a:extLst>
              <a:ext uri="{FF2B5EF4-FFF2-40B4-BE49-F238E27FC236}">
                <a16:creationId xmlns:a16="http://schemas.microsoft.com/office/drawing/2014/main" id="{E4E3EAFC-D4D9-4B62-A60F-220C199D46C7}"/>
              </a:ext>
            </a:extLst>
          </p:cNvPr>
          <p:cNvSpPr txBox="1"/>
          <p:nvPr/>
        </p:nvSpPr>
        <p:spPr bwMode="auto">
          <a:xfrm>
            <a:off x="4504944" y="4858666"/>
            <a:ext cx="870751" cy="830997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4800" b="1" dirty="0">
                <a:solidFill>
                  <a:schemeClr val="accent2">
                    <a:lumMod val="20000"/>
                    <a:lumOff val="80000"/>
                  </a:schemeClr>
                </a:solidFill>
                <a:cs typeface="+mn-ea"/>
                <a:sym typeface="+mn-lt"/>
              </a:rPr>
              <a:t>02</a:t>
            </a:r>
          </a:p>
        </p:txBody>
      </p:sp>
      <p:sp>
        <p:nvSpPr>
          <p:cNvPr id="54" name="文本框 53">
            <a:extLst>
              <a:ext uri="{FF2B5EF4-FFF2-40B4-BE49-F238E27FC236}">
                <a16:creationId xmlns:a16="http://schemas.microsoft.com/office/drawing/2014/main" id="{3495B739-E5A7-4F4A-95FD-24BDFE4B18B1}"/>
              </a:ext>
            </a:extLst>
          </p:cNvPr>
          <p:cNvSpPr txBox="1"/>
          <p:nvPr/>
        </p:nvSpPr>
        <p:spPr bwMode="auto">
          <a:xfrm>
            <a:off x="4343586" y="5496231"/>
            <a:ext cx="1193467" cy="452432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  <a:spcBef>
                <a:spcPct val="0"/>
              </a:spcBef>
            </a:pPr>
            <a:r>
              <a:rPr lang="en-US" altLang="zh-CN" b="1">
                <a:cs typeface="+mn-ea"/>
                <a:sym typeface="+mn-lt"/>
              </a:rPr>
              <a:t>Text </a:t>
            </a:r>
            <a:r>
              <a:rPr lang="en-US" altLang="zh-CN" b="1" dirty="0">
                <a:cs typeface="+mn-ea"/>
                <a:sym typeface="+mn-lt"/>
              </a:rPr>
              <a:t>here</a:t>
            </a:r>
          </a:p>
        </p:txBody>
      </p:sp>
      <p:sp>
        <p:nvSpPr>
          <p:cNvPr id="51" name="椭圆 50">
            <a:extLst>
              <a:ext uri="{FF2B5EF4-FFF2-40B4-BE49-F238E27FC236}">
                <a16:creationId xmlns:a16="http://schemas.microsoft.com/office/drawing/2014/main" id="{679899D2-E714-4138-A470-7639B16C95F6}"/>
              </a:ext>
            </a:extLst>
          </p:cNvPr>
          <p:cNvSpPr/>
          <p:nvPr/>
        </p:nvSpPr>
        <p:spPr bwMode="auto">
          <a:xfrm>
            <a:off x="9029346" y="3814593"/>
            <a:ext cx="1067386" cy="1072110"/>
          </a:xfrm>
          <a:prstGeom prst="ellipse">
            <a:avLst/>
          </a:prstGeom>
          <a:solidFill>
            <a:schemeClr val="bg1">
              <a:lumMod val="75000"/>
            </a:schemeClr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5425" indent="-225425" algn="ctr" fontAlgn="base">
              <a:spcBef>
                <a:spcPct val="0"/>
              </a:spcBef>
              <a:spcAft>
                <a:spcPct val="0"/>
              </a:spcAft>
            </a:pPr>
            <a:endParaRPr sz="2000" b="1" kern="0">
              <a:solidFill>
                <a:prstClr val="black"/>
              </a:solidFill>
              <a:cs typeface="+mn-ea"/>
              <a:sym typeface="+mn-lt"/>
            </a:endParaRPr>
          </a:p>
        </p:txBody>
      </p:sp>
      <p:sp>
        <p:nvSpPr>
          <p:cNvPr id="52" name="任意多边形: 形状 51">
            <a:extLst>
              <a:ext uri="{FF2B5EF4-FFF2-40B4-BE49-F238E27FC236}">
                <a16:creationId xmlns:a16="http://schemas.microsoft.com/office/drawing/2014/main" id="{8887A3ED-FED8-4425-AD61-4043EA8B23E0}"/>
              </a:ext>
            </a:extLst>
          </p:cNvPr>
          <p:cNvSpPr/>
          <p:nvPr/>
        </p:nvSpPr>
        <p:spPr bwMode="auto">
          <a:xfrm>
            <a:off x="9275137" y="4132720"/>
            <a:ext cx="575772" cy="435858"/>
          </a:xfrm>
          <a:custGeom>
            <a:avLst/>
            <a:gdLst>
              <a:gd name="connsiteX0" fmla="*/ 132670 w 605373"/>
              <a:gd name="connsiteY0" fmla="*/ 166582 h 458266"/>
              <a:gd name="connsiteX1" fmla="*/ 132670 w 605373"/>
              <a:gd name="connsiteY1" fmla="*/ 239527 h 458266"/>
              <a:gd name="connsiteX2" fmla="*/ 178720 w 605373"/>
              <a:gd name="connsiteY2" fmla="*/ 239527 h 458266"/>
              <a:gd name="connsiteX3" fmla="*/ 178720 w 605373"/>
              <a:gd name="connsiteY3" fmla="*/ 166582 h 458266"/>
              <a:gd name="connsiteX4" fmla="*/ 349733 w 605373"/>
              <a:gd name="connsiteY4" fmla="*/ 81217 h 458266"/>
              <a:gd name="connsiteX5" fmla="*/ 360317 w 605373"/>
              <a:gd name="connsiteY5" fmla="*/ 93915 h 458266"/>
              <a:gd name="connsiteX6" fmla="*/ 360317 w 605373"/>
              <a:gd name="connsiteY6" fmla="*/ 164358 h 458266"/>
              <a:gd name="connsiteX7" fmla="*/ 387334 w 605373"/>
              <a:gd name="connsiteY7" fmla="*/ 202915 h 458266"/>
              <a:gd name="connsiteX8" fmla="*/ 360596 w 605373"/>
              <a:gd name="connsiteY8" fmla="*/ 241381 h 458266"/>
              <a:gd name="connsiteX9" fmla="*/ 360596 w 605373"/>
              <a:gd name="connsiteY9" fmla="*/ 312564 h 458266"/>
              <a:gd name="connsiteX10" fmla="*/ 349919 w 605373"/>
              <a:gd name="connsiteY10" fmla="*/ 325263 h 458266"/>
              <a:gd name="connsiteX11" fmla="*/ 336364 w 605373"/>
              <a:gd name="connsiteY11" fmla="*/ 313862 h 458266"/>
              <a:gd name="connsiteX12" fmla="*/ 208243 w 605373"/>
              <a:gd name="connsiteY12" fmla="*/ 257416 h 458266"/>
              <a:gd name="connsiteX13" fmla="*/ 208243 w 605373"/>
              <a:gd name="connsiteY13" fmla="*/ 268909 h 458266"/>
              <a:gd name="connsiteX14" fmla="*/ 179648 w 605373"/>
              <a:gd name="connsiteY14" fmla="*/ 268909 h 458266"/>
              <a:gd name="connsiteX15" fmla="*/ 190046 w 605373"/>
              <a:gd name="connsiteY15" fmla="*/ 310340 h 458266"/>
              <a:gd name="connsiteX16" fmla="*/ 240552 w 605373"/>
              <a:gd name="connsiteY16" fmla="*/ 317477 h 458266"/>
              <a:gd name="connsiteX17" fmla="*/ 243523 w 605373"/>
              <a:gd name="connsiteY17" fmla="*/ 346025 h 458266"/>
              <a:gd name="connsiteX18" fmla="*/ 243151 w 605373"/>
              <a:gd name="connsiteY18" fmla="*/ 383007 h 458266"/>
              <a:gd name="connsiteX19" fmla="*/ 233682 w 605373"/>
              <a:gd name="connsiteY19" fmla="*/ 419526 h 458266"/>
              <a:gd name="connsiteX20" fmla="*/ 203508 w 605373"/>
              <a:gd name="connsiteY20" fmla="*/ 456137 h 458266"/>
              <a:gd name="connsiteX21" fmla="*/ 162658 w 605373"/>
              <a:gd name="connsiteY21" fmla="*/ 457527 h 458266"/>
              <a:gd name="connsiteX22" fmla="*/ 105004 w 605373"/>
              <a:gd name="connsiteY22" fmla="*/ 455025 h 458266"/>
              <a:gd name="connsiteX23" fmla="*/ 8820 w 605373"/>
              <a:gd name="connsiteY23" fmla="*/ 455025 h 458266"/>
              <a:gd name="connsiteX24" fmla="*/ 0 w 605373"/>
              <a:gd name="connsiteY24" fmla="*/ 446219 h 458266"/>
              <a:gd name="connsiteX25" fmla="*/ 0 w 605373"/>
              <a:gd name="connsiteY25" fmla="*/ 365674 h 458266"/>
              <a:gd name="connsiteX26" fmla="*/ 8820 w 605373"/>
              <a:gd name="connsiteY26" fmla="*/ 356869 h 458266"/>
              <a:gd name="connsiteX27" fmla="*/ 58212 w 605373"/>
              <a:gd name="connsiteY27" fmla="*/ 356869 h 458266"/>
              <a:gd name="connsiteX28" fmla="*/ 77151 w 605373"/>
              <a:gd name="connsiteY28" fmla="*/ 348991 h 458266"/>
              <a:gd name="connsiteX29" fmla="*/ 81422 w 605373"/>
              <a:gd name="connsiteY29" fmla="*/ 343522 h 458266"/>
              <a:gd name="connsiteX30" fmla="*/ 82722 w 605373"/>
              <a:gd name="connsiteY30" fmla="*/ 340371 h 458266"/>
              <a:gd name="connsiteX31" fmla="*/ 92470 w 605373"/>
              <a:gd name="connsiteY31" fmla="*/ 324985 h 458266"/>
              <a:gd name="connsiteX32" fmla="*/ 146318 w 605373"/>
              <a:gd name="connsiteY32" fmla="*/ 302647 h 458266"/>
              <a:gd name="connsiteX33" fmla="*/ 138148 w 605373"/>
              <a:gd name="connsiteY33" fmla="*/ 269001 h 458266"/>
              <a:gd name="connsiteX34" fmla="*/ 131092 w 605373"/>
              <a:gd name="connsiteY34" fmla="*/ 269001 h 458266"/>
              <a:gd name="connsiteX35" fmla="*/ 103332 w 605373"/>
              <a:gd name="connsiteY35" fmla="*/ 241381 h 458266"/>
              <a:gd name="connsiteX36" fmla="*/ 103332 w 605373"/>
              <a:gd name="connsiteY36" fmla="*/ 230722 h 458266"/>
              <a:gd name="connsiteX37" fmla="*/ 94977 w 605373"/>
              <a:gd name="connsiteY37" fmla="*/ 230722 h 458266"/>
              <a:gd name="connsiteX38" fmla="*/ 85693 w 605373"/>
              <a:gd name="connsiteY38" fmla="*/ 221453 h 458266"/>
              <a:gd name="connsiteX39" fmla="*/ 85693 w 605373"/>
              <a:gd name="connsiteY39" fmla="*/ 186881 h 458266"/>
              <a:gd name="connsiteX40" fmla="*/ 94977 w 605373"/>
              <a:gd name="connsiteY40" fmla="*/ 177612 h 458266"/>
              <a:gd name="connsiteX41" fmla="*/ 103332 w 605373"/>
              <a:gd name="connsiteY41" fmla="*/ 177612 h 458266"/>
              <a:gd name="connsiteX42" fmla="*/ 103332 w 605373"/>
              <a:gd name="connsiteY42" fmla="*/ 165192 h 458266"/>
              <a:gd name="connsiteX43" fmla="*/ 131092 w 605373"/>
              <a:gd name="connsiteY43" fmla="*/ 137571 h 458266"/>
              <a:gd name="connsiteX44" fmla="*/ 207965 w 605373"/>
              <a:gd name="connsiteY44" fmla="*/ 137571 h 458266"/>
              <a:gd name="connsiteX45" fmla="*/ 207965 w 605373"/>
              <a:gd name="connsiteY45" fmla="*/ 149064 h 458266"/>
              <a:gd name="connsiteX46" fmla="*/ 336086 w 605373"/>
              <a:gd name="connsiteY46" fmla="*/ 92525 h 458266"/>
              <a:gd name="connsiteX47" fmla="*/ 349733 w 605373"/>
              <a:gd name="connsiteY47" fmla="*/ 81217 h 458266"/>
              <a:gd name="connsiteX48" fmla="*/ 499620 w 605373"/>
              <a:gd name="connsiteY48" fmla="*/ 45769 h 458266"/>
              <a:gd name="connsiteX49" fmla="*/ 495720 w 605373"/>
              <a:gd name="connsiteY49" fmla="*/ 49848 h 458266"/>
              <a:gd name="connsiteX50" fmla="*/ 495720 w 605373"/>
              <a:gd name="connsiteY50" fmla="*/ 54483 h 458266"/>
              <a:gd name="connsiteX51" fmla="*/ 491357 w 605373"/>
              <a:gd name="connsiteY51" fmla="*/ 60416 h 458266"/>
              <a:gd name="connsiteX52" fmla="*/ 473901 w 605373"/>
              <a:gd name="connsiteY52" fmla="*/ 82478 h 458266"/>
              <a:gd name="connsiteX53" fmla="*/ 486807 w 605373"/>
              <a:gd name="connsiteY53" fmla="*/ 104169 h 458266"/>
              <a:gd name="connsiteX54" fmla="*/ 502777 w 605373"/>
              <a:gd name="connsiteY54" fmla="*/ 111307 h 458266"/>
              <a:gd name="connsiteX55" fmla="*/ 508533 w 605373"/>
              <a:gd name="connsiteY55" fmla="*/ 114737 h 458266"/>
              <a:gd name="connsiteX56" fmla="*/ 506676 w 605373"/>
              <a:gd name="connsiteY56" fmla="*/ 128734 h 458266"/>
              <a:gd name="connsiteX57" fmla="*/ 496463 w 605373"/>
              <a:gd name="connsiteY57" fmla="*/ 130124 h 458266"/>
              <a:gd name="connsiteX58" fmla="*/ 480679 w 605373"/>
              <a:gd name="connsiteY58" fmla="*/ 125397 h 458266"/>
              <a:gd name="connsiteX59" fmla="*/ 476037 w 605373"/>
              <a:gd name="connsiteY59" fmla="*/ 127343 h 458266"/>
              <a:gd name="connsiteX60" fmla="*/ 473623 w 605373"/>
              <a:gd name="connsiteY60" fmla="*/ 135501 h 458266"/>
              <a:gd name="connsiteX61" fmla="*/ 476501 w 605373"/>
              <a:gd name="connsiteY61" fmla="*/ 141804 h 458266"/>
              <a:gd name="connsiteX62" fmla="*/ 490614 w 605373"/>
              <a:gd name="connsiteY62" fmla="*/ 145883 h 458266"/>
              <a:gd name="connsiteX63" fmla="*/ 494606 w 605373"/>
              <a:gd name="connsiteY63" fmla="*/ 150610 h 458266"/>
              <a:gd name="connsiteX64" fmla="*/ 494606 w 605373"/>
              <a:gd name="connsiteY64" fmla="*/ 156079 h 458266"/>
              <a:gd name="connsiteX65" fmla="*/ 498042 w 605373"/>
              <a:gd name="connsiteY65" fmla="*/ 159602 h 458266"/>
              <a:gd name="connsiteX66" fmla="*/ 505934 w 605373"/>
              <a:gd name="connsiteY66" fmla="*/ 159602 h 458266"/>
              <a:gd name="connsiteX67" fmla="*/ 509276 w 605373"/>
              <a:gd name="connsiteY67" fmla="*/ 156172 h 458266"/>
              <a:gd name="connsiteX68" fmla="*/ 509276 w 605373"/>
              <a:gd name="connsiteY68" fmla="*/ 148756 h 458266"/>
              <a:gd name="connsiteX69" fmla="*/ 512619 w 605373"/>
              <a:gd name="connsiteY69" fmla="*/ 144307 h 458266"/>
              <a:gd name="connsiteX70" fmla="*/ 526546 w 605373"/>
              <a:gd name="connsiteY70" fmla="*/ 135408 h 458266"/>
              <a:gd name="connsiteX71" fmla="*/ 518747 w 605373"/>
              <a:gd name="connsiteY71" fmla="*/ 97680 h 458266"/>
              <a:gd name="connsiteX72" fmla="*/ 504727 w 605373"/>
              <a:gd name="connsiteY72" fmla="*/ 91377 h 458266"/>
              <a:gd name="connsiteX73" fmla="*/ 497020 w 605373"/>
              <a:gd name="connsiteY73" fmla="*/ 87113 h 458266"/>
              <a:gd name="connsiteX74" fmla="*/ 498691 w 605373"/>
              <a:gd name="connsiteY74" fmla="*/ 75247 h 458266"/>
              <a:gd name="connsiteX75" fmla="*/ 503334 w 605373"/>
              <a:gd name="connsiteY75" fmla="*/ 74227 h 458266"/>
              <a:gd name="connsiteX76" fmla="*/ 520975 w 605373"/>
              <a:gd name="connsiteY76" fmla="*/ 77657 h 458266"/>
              <a:gd name="connsiteX77" fmla="*/ 525524 w 605373"/>
              <a:gd name="connsiteY77" fmla="*/ 75711 h 458266"/>
              <a:gd name="connsiteX78" fmla="*/ 528217 w 605373"/>
              <a:gd name="connsiteY78" fmla="*/ 66441 h 458266"/>
              <a:gd name="connsiteX79" fmla="*/ 526174 w 605373"/>
              <a:gd name="connsiteY79" fmla="*/ 62084 h 458266"/>
              <a:gd name="connsiteX80" fmla="*/ 515033 w 605373"/>
              <a:gd name="connsiteY80" fmla="*/ 58747 h 458266"/>
              <a:gd name="connsiteX81" fmla="*/ 509926 w 605373"/>
              <a:gd name="connsiteY81" fmla="*/ 53000 h 458266"/>
              <a:gd name="connsiteX82" fmla="*/ 502777 w 605373"/>
              <a:gd name="connsiteY82" fmla="*/ 45769 h 458266"/>
              <a:gd name="connsiteX83" fmla="*/ 502637 w 605373"/>
              <a:gd name="connsiteY83" fmla="*/ 0 h 458266"/>
              <a:gd name="connsiteX84" fmla="*/ 575291 w 605373"/>
              <a:gd name="connsiteY84" fmla="*/ 30104 h 458266"/>
              <a:gd name="connsiteX85" fmla="*/ 575291 w 605373"/>
              <a:gd name="connsiteY85" fmla="*/ 175175 h 458266"/>
              <a:gd name="connsiteX86" fmla="*/ 450504 w 605373"/>
              <a:gd name="connsiteY86" fmla="*/ 191119 h 458266"/>
              <a:gd name="connsiteX87" fmla="*/ 450225 w 605373"/>
              <a:gd name="connsiteY87" fmla="*/ 191026 h 458266"/>
              <a:gd name="connsiteX88" fmla="*/ 406587 w 605373"/>
              <a:gd name="connsiteY88" fmla="*/ 202891 h 458266"/>
              <a:gd name="connsiteX89" fmla="*/ 405472 w 605373"/>
              <a:gd name="connsiteY89" fmla="*/ 195383 h 458266"/>
              <a:gd name="connsiteX90" fmla="*/ 426642 w 605373"/>
              <a:gd name="connsiteY90" fmla="*/ 171467 h 458266"/>
              <a:gd name="connsiteX91" fmla="*/ 425620 w 605373"/>
              <a:gd name="connsiteY91" fmla="*/ 170633 h 458266"/>
              <a:gd name="connsiteX92" fmla="*/ 429984 w 605373"/>
              <a:gd name="connsiteY92" fmla="*/ 30104 h 458266"/>
              <a:gd name="connsiteX93" fmla="*/ 502637 w 605373"/>
              <a:gd name="connsiteY93" fmla="*/ 0 h 458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</a:cxnLst>
            <a:rect l="l" t="t" r="r" b="b"/>
            <a:pathLst>
              <a:path w="605373" h="458266">
                <a:moveTo>
                  <a:pt x="132670" y="166582"/>
                </a:moveTo>
                <a:lnTo>
                  <a:pt x="132670" y="239527"/>
                </a:lnTo>
                <a:lnTo>
                  <a:pt x="178720" y="239527"/>
                </a:lnTo>
                <a:lnTo>
                  <a:pt x="178720" y="166582"/>
                </a:lnTo>
                <a:close/>
                <a:moveTo>
                  <a:pt x="349733" y="81217"/>
                </a:moveTo>
                <a:cubicBezTo>
                  <a:pt x="355861" y="81959"/>
                  <a:pt x="360317" y="87613"/>
                  <a:pt x="360317" y="93915"/>
                </a:cubicBezTo>
                <a:lnTo>
                  <a:pt x="360317" y="164358"/>
                </a:lnTo>
                <a:cubicBezTo>
                  <a:pt x="375915" y="170197"/>
                  <a:pt x="387055" y="185120"/>
                  <a:pt x="387334" y="202915"/>
                </a:cubicBezTo>
                <a:cubicBezTo>
                  <a:pt x="387334" y="220619"/>
                  <a:pt x="376193" y="235541"/>
                  <a:pt x="360596" y="241381"/>
                </a:cubicBezTo>
                <a:lnTo>
                  <a:pt x="360596" y="312564"/>
                </a:lnTo>
                <a:cubicBezTo>
                  <a:pt x="360596" y="318867"/>
                  <a:pt x="356139" y="324521"/>
                  <a:pt x="349919" y="325263"/>
                </a:cubicBezTo>
                <a:cubicBezTo>
                  <a:pt x="342770" y="326097"/>
                  <a:pt x="336735" y="320721"/>
                  <a:pt x="336364" y="313862"/>
                </a:cubicBezTo>
                <a:cubicBezTo>
                  <a:pt x="297464" y="277065"/>
                  <a:pt x="241852" y="262884"/>
                  <a:pt x="208243" y="257416"/>
                </a:cubicBezTo>
                <a:lnTo>
                  <a:pt x="208243" y="268909"/>
                </a:lnTo>
                <a:lnTo>
                  <a:pt x="179648" y="268909"/>
                </a:lnTo>
                <a:lnTo>
                  <a:pt x="190046" y="310340"/>
                </a:lnTo>
                <a:cubicBezTo>
                  <a:pt x="204715" y="308486"/>
                  <a:pt x="229132" y="307096"/>
                  <a:pt x="240552" y="317477"/>
                </a:cubicBezTo>
                <a:cubicBezTo>
                  <a:pt x="253921" y="329804"/>
                  <a:pt x="243523" y="346025"/>
                  <a:pt x="243523" y="346025"/>
                </a:cubicBezTo>
                <a:cubicBezTo>
                  <a:pt x="243523" y="346025"/>
                  <a:pt x="262462" y="362801"/>
                  <a:pt x="243151" y="383007"/>
                </a:cubicBezTo>
                <a:cubicBezTo>
                  <a:pt x="243151" y="383007"/>
                  <a:pt x="255406" y="403213"/>
                  <a:pt x="233682" y="419526"/>
                </a:cubicBezTo>
                <a:cubicBezTo>
                  <a:pt x="233682" y="419526"/>
                  <a:pt x="243708" y="447610"/>
                  <a:pt x="203508" y="456137"/>
                </a:cubicBezTo>
                <a:cubicBezTo>
                  <a:pt x="191624" y="458732"/>
                  <a:pt x="176677" y="458640"/>
                  <a:pt x="162658" y="457527"/>
                </a:cubicBezTo>
                <a:cubicBezTo>
                  <a:pt x="140376" y="457991"/>
                  <a:pt x="118187" y="456230"/>
                  <a:pt x="105004" y="455025"/>
                </a:cubicBezTo>
                <a:lnTo>
                  <a:pt x="8820" y="455025"/>
                </a:lnTo>
                <a:cubicBezTo>
                  <a:pt x="3992" y="455025"/>
                  <a:pt x="0" y="451039"/>
                  <a:pt x="0" y="446219"/>
                </a:cubicBezTo>
                <a:lnTo>
                  <a:pt x="0" y="365674"/>
                </a:lnTo>
                <a:cubicBezTo>
                  <a:pt x="0" y="360855"/>
                  <a:pt x="3992" y="356869"/>
                  <a:pt x="8820" y="356869"/>
                </a:cubicBezTo>
                <a:lnTo>
                  <a:pt x="58212" y="356869"/>
                </a:lnTo>
                <a:cubicBezTo>
                  <a:pt x="65267" y="356869"/>
                  <a:pt x="72138" y="354088"/>
                  <a:pt x="77151" y="348991"/>
                </a:cubicBezTo>
                <a:cubicBezTo>
                  <a:pt x="79194" y="346859"/>
                  <a:pt x="80865" y="344912"/>
                  <a:pt x="81422" y="343522"/>
                </a:cubicBezTo>
                <a:cubicBezTo>
                  <a:pt x="81793" y="342595"/>
                  <a:pt x="82165" y="341483"/>
                  <a:pt x="82722" y="340371"/>
                </a:cubicBezTo>
                <a:cubicBezTo>
                  <a:pt x="84578" y="335736"/>
                  <a:pt x="87642" y="330082"/>
                  <a:pt x="92470" y="324985"/>
                </a:cubicBezTo>
                <a:cubicBezTo>
                  <a:pt x="92470" y="324985"/>
                  <a:pt x="120322" y="299032"/>
                  <a:pt x="146318" y="302647"/>
                </a:cubicBezTo>
                <a:lnTo>
                  <a:pt x="138148" y="269001"/>
                </a:lnTo>
                <a:lnTo>
                  <a:pt x="131092" y="269001"/>
                </a:lnTo>
                <a:cubicBezTo>
                  <a:pt x="115773" y="269001"/>
                  <a:pt x="103332" y="256581"/>
                  <a:pt x="103332" y="241381"/>
                </a:cubicBezTo>
                <a:lnTo>
                  <a:pt x="103332" y="230722"/>
                </a:lnTo>
                <a:lnTo>
                  <a:pt x="94977" y="230722"/>
                </a:lnTo>
                <a:cubicBezTo>
                  <a:pt x="89870" y="230722"/>
                  <a:pt x="85693" y="226551"/>
                  <a:pt x="85693" y="221453"/>
                </a:cubicBezTo>
                <a:lnTo>
                  <a:pt x="85693" y="186881"/>
                </a:lnTo>
                <a:cubicBezTo>
                  <a:pt x="85693" y="181783"/>
                  <a:pt x="89870" y="177612"/>
                  <a:pt x="94977" y="177612"/>
                </a:cubicBezTo>
                <a:lnTo>
                  <a:pt x="103332" y="177612"/>
                </a:lnTo>
                <a:lnTo>
                  <a:pt x="103332" y="165192"/>
                </a:lnTo>
                <a:cubicBezTo>
                  <a:pt x="103332" y="149898"/>
                  <a:pt x="115866" y="137571"/>
                  <a:pt x="131092" y="137571"/>
                </a:cubicBezTo>
                <a:lnTo>
                  <a:pt x="207965" y="137571"/>
                </a:lnTo>
                <a:lnTo>
                  <a:pt x="207965" y="149064"/>
                </a:lnTo>
                <a:cubicBezTo>
                  <a:pt x="241666" y="143503"/>
                  <a:pt x="297371" y="129229"/>
                  <a:pt x="336086" y="92525"/>
                </a:cubicBezTo>
                <a:cubicBezTo>
                  <a:pt x="336550" y="85666"/>
                  <a:pt x="342492" y="80290"/>
                  <a:pt x="349733" y="81217"/>
                </a:cubicBezTo>
                <a:close/>
                <a:moveTo>
                  <a:pt x="499620" y="45769"/>
                </a:moveTo>
                <a:cubicBezTo>
                  <a:pt x="496277" y="45955"/>
                  <a:pt x="495813" y="46511"/>
                  <a:pt x="495720" y="49848"/>
                </a:cubicBezTo>
                <a:lnTo>
                  <a:pt x="495720" y="54483"/>
                </a:lnTo>
                <a:cubicBezTo>
                  <a:pt x="495720" y="58932"/>
                  <a:pt x="495720" y="58747"/>
                  <a:pt x="491357" y="60416"/>
                </a:cubicBezTo>
                <a:cubicBezTo>
                  <a:pt x="480958" y="64216"/>
                  <a:pt x="474644" y="71261"/>
                  <a:pt x="473901" y="82478"/>
                </a:cubicBezTo>
                <a:cubicBezTo>
                  <a:pt x="473251" y="92489"/>
                  <a:pt x="478636" y="99163"/>
                  <a:pt x="486807" y="104169"/>
                </a:cubicBezTo>
                <a:cubicBezTo>
                  <a:pt x="491728" y="107135"/>
                  <a:pt x="497392" y="108989"/>
                  <a:pt x="502777" y="111307"/>
                </a:cubicBezTo>
                <a:cubicBezTo>
                  <a:pt x="504819" y="112326"/>
                  <a:pt x="506862" y="113253"/>
                  <a:pt x="508533" y="114737"/>
                </a:cubicBezTo>
                <a:cubicBezTo>
                  <a:pt x="513733" y="119001"/>
                  <a:pt x="512804" y="126046"/>
                  <a:pt x="506676" y="128734"/>
                </a:cubicBezTo>
                <a:cubicBezTo>
                  <a:pt x="503520" y="130217"/>
                  <a:pt x="499991" y="130588"/>
                  <a:pt x="496463" y="130124"/>
                </a:cubicBezTo>
                <a:cubicBezTo>
                  <a:pt x="490892" y="129383"/>
                  <a:pt x="485693" y="127992"/>
                  <a:pt x="480679" y="125397"/>
                </a:cubicBezTo>
                <a:cubicBezTo>
                  <a:pt x="477894" y="123821"/>
                  <a:pt x="476965" y="124284"/>
                  <a:pt x="476037" y="127343"/>
                </a:cubicBezTo>
                <a:cubicBezTo>
                  <a:pt x="475108" y="130124"/>
                  <a:pt x="474365" y="132812"/>
                  <a:pt x="473623" y="135501"/>
                </a:cubicBezTo>
                <a:cubicBezTo>
                  <a:pt x="472694" y="139209"/>
                  <a:pt x="473066" y="140136"/>
                  <a:pt x="476501" y="141804"/>
                </a:cubicBezTo>
                <a:cubicBezTo>
                  <a:pt x="480958" y="144029"/>
                  <a:pt x="485786" y="145141"/>
                  <a:pt x="490614" y="145883"/>
                </a:cubicBezTo>
                <a:cubicBezTo>
                  <a:pt x="494420" y="146532"/>
                  <a:pt x="494606" y="146624"/>
                  <a:pt x="494606" y="150610"/>
                </a:cubicBezTo>
                <a:lnTo>
                  <a:pt x="494606" y="156079"/>
                </a:lnTo>
                <a:cubicBezTo>
                  <a:pt x="494606" y="158304"/>
                  <a:pt x="495720" y="159602"/>
                  <a:pt x="498042" y="159602"/>
                </a:cubicBezTo>
                <a:cubicBezTo>
                  <a:pt x="500641" y="159787"/>
                  <a:pt x="503334" y="159787"/>
                  <a:pt x="505934" y="159602"/>
                </a:cubicBezTo>
                <a:cubicBezTo>
                  <a:pt x="508162" y="159509"/>
                  <a:pt x="509276" y="158397"/>
                  <a:pt x="509276" y="156172"/>
                </a:cubicBezTo>
                <a:cubicBezTo>
                  <a:pt x="509276" y="153669"/>
                  <a:pt x="509462" y="151259"/>
                  <a:pt x="509276" y="148756"/>
                </a:cubicBezTo>
                <a:cubicBezTo>
                  <a:pt x="509183" y="146254"/>
                  <a:pt x="510297" y="144956"/>
                  <a:pt x="512619" y="144307"/>
                </a:cubicBezTo>
                <a:cubicBezTo>
                  <a:pt x="518097" y="142824"/>
                  <a:pt x="522925" y="139857"/>
                  <a:pt x="526546" y="135408"/>
                </a:cubicBezTo>
                <a:cubicBezTo>
                  <a:pt x="536573" y="123172"/>
                  <a:pt x="532674" y="105281"/>
                  <a:pt x="518747" y="97680"/>
                </a:cubicBezTo>
                <a:cubicBezTo>
                  <a:pt x="514104" y="95270"/>
                  <a:pt x="509462" y="93416"/>
                  <a:pt x="504727" y="91377"/>
                </a:cubicBezTo>
                <a:cubicBezTo>
                  <a:pt x="502034" y="90265"/>
                  <a:pt x="499434" y="88967"/>
                  <a:pt x="497020" y="87113"/>
                </a:cubicBezTo>
                <a:cubicBezTo>
                  <a:pt x="492471" y="83405"/>
                  <a:pt x="493306" y="77565"/>
                  <a:pt x="498691" y="75247"/>
                </a:cubicBezTo>
                <a:cubicBezTo>
                  <a:pt x="500177" y="74506"/>
                  <a:pt x="501755" y="74320"/>
                  <a:pt x="503334" y="74227"/>
                </a:cubicBezTo>
                <a:cubicBezTo>
                  <a:pt x="509555" y="73857"/>
                  <a:pt x="515404" y="74969"/>
                  <a:pt x="520975" y="77657"/>
                </a:cubicBezTo>
                <a:cubicBezTo>
                  <a:pt x="523667" y="79048"/>
                  <a:pt x="524503" y="78584"/>
                  <a:pt x="525524" y="75711"/>
                </a:cubicBezTo>
                <a:cubicBezTo>
                  <a:pt x="526546" y="72652"/>
                  <a:pt x="527381" y="69500"/>
                  <a:pt x="528217" y="66441"/>
                </a:cubicBezTo>
                <a:cubicBezTo>
                  <a:pt x="528867" y="64309"/>
                  <a:pt x="528124" y="63011"/>
                  <a:pt x="526174" y="62084"/>
                </a:cubicBezTo>
                <a:cubicBezTo>
                  <a:pt x="522553" y="60508"/>
                  <a:pt x="518839" y="59396"/>
                  <a:pt x="515033" y="58747"/>
                </a:cubicBezTo>
                <a:cubicBezTo>
                  <a:pt x="509926" y="58005"/>
                  <a:pt x="509926" y="58005"/>
                  <a:pt x="509926" y="53000"/>
                </a:cubicBezTo>
                <a:cubicBezTo>
                  <a:pt x="509926" y="45769"/>
                  <a:pt x="509926" y="45769"/>
                  <a:pt x="502777" y="45769"/>
                </a:cubicBezTo>
                <a:close/>
                <a:moveTo>
                  <a:pt x="502637" y="0"/>
                </a:moveTo>
                <a:cubicBezTo>
                  <a:pt x="528937" y="0"/>
                  <a:pt x="555236" y="10035"/>
                  <a:pt x="575291" y="30104"/>
                </a:cubicBezTo>
                <a:cubicBezTo>
                  <a:pt x="615401" y="70149"/>
                  <a:pt x="615401" y="135130"/>
                  <a:pt x="575291" y="175175"/>
                </a:cubicBezTo>
                <a:cubicBezTo>
                  <a:pt x="541494" y="208917"/>
                  <a:pt x="489871" y="214293"/>
                  <a:pt x="450504" y="191119"/>
                </a:cubicBezTo>
                <a:lnTo>
                  <a:pt x="450225" y="191026"/>
                </a:lnTo>
                <a:cubicBezTo>
                  <a:pt x="434812" y="202613"/>
                  <a:pt x="418193" y="204745"/>
                  <a:pt x="406587" y="202891"/>
                </a:cubicBezTo>
                <a:cubicBezTo>
                  <a:pt x="402687" y="202243"/>
                  <a:pt x="401944" y="197052"/>
                  <a:pt x="405472" y="195383"/>
                </a:cubicBezTo>
                <a:cubicBezTo>
                  <a:pt x="416057" y="190192"/>
                  <a:pt x="422742" y="179903"/>
                  <a:pt x="426642" y="171467"/>
                </a:cubicBezTo>
                <a:lnTo>
                  <a:pt x="425620" y="170633"/>
                </a:lnTo>
                <a:cubicBezTo>
                  <a:pt x="389874" y="130310"/>
                  <a:pt x="391360" y="68666"/>
                  <a:pt x="429984" y="30104"/>
                </a:cubicBezTo>
                <a:cubicBezTo>
                  <a:pt x="450039" y="10035"/>
                  <a:pt x="476338" y="0"/>
                  <a:pt x="50263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49" name="文本框 48">
            <a:extLst>
              <a:ext uri="{FF2B5EF4-FFF2-40B4-BE49-F238E27FC236}">
                <a16:creationId xmlns:a16="http://schemas.microsoft.com/office/drawing/2014/main" id="{E4E3EAFC-D4D9-4B62-A60F-220C199D46C7}"/>
              </a:ext>
            </a:extLst>
          </p:cNvPr>
          <p:cNvSpPr txBox="1"/>
          <p:nvPr/>
        </p:nvSpPr>
        <p:spPr bwMode="auto">
          <a:xfrm>
            <a:off x="9127664" y="4858666"/>
            <a:ext cx="870751" cy="830997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4800" b="1">
                <a:solidFill>
                  <a:schemeClr val="bg1">
                    <a:lumMod val="95000"/>
                  </a:schemeClr>
                </a:solidFill>
                <a:cs typeface="+mn-ea"/>
                <a:sym typeface="+mn-lt"/>
              </a:rPr>
              <a:t>04</a:t>
            </a:r>
            <a:endParaRPr lang="en-US" altLang="zh-CN" sz="4800" b="1" dirty="0">
              <a:solidFill>
                <a:schemeClr val="bg1">
                  <a:lumMod val="9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50" name="文本框 49">
            <a:extLst>
              <a:ext uri="{FF2B5EF4-FFF2-40B4-BE49-F238E27FC236}">
                <a16:creationId xmlns:a16="http://schemas.microsoft.com/office/drawing/2014/main" id="{3495B739-E5A7-4F4A-95FD-24BDFE4B18B1}"/>
              </a:ext>
            </a:extLst>
          </p:cNvPr>
          <p:cNvSpPr txBox="1"/>
          <p:nvPr/>
        </p:nvSpPr>
        <p:spPr bwMode="auto">
          <a:xfrm>
            <a:off x="8966306" y="5496231"/>
            <a:ext cx="1193467" cy="452432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30000"/>
              </a:lnSpc>
              <a:spcBef>
                <a:spcPct val="0"/>
              </a:spcBef>
            </a:pPr>
            <a:r>
              <a:rPr lang="en-US" altLang="zh-CN" b="1">
                <a:cs typeface="+mn-ea"/>
                <a:sym typeface="+mn-lt"/>
              </a:rPr>
              <a:t>Text </a:t>
            </a:r>
            <a:r>
              <a:rPr lang="en-US" altLang="zh-CN" b="1" dirty="0">
                <a:cs typeface="+mn-ea"/>
                <a:sym typeface="+mn-lt"/>
              </a:rPr>
              <a:t>here</a:t>
            </a:r>
          </a:p>
        </p:txBody>
      </p:sp>
      <p:sp>
        <p:nvSpPr>
          <p:cNvPr id="47" name="文本框 46">
            <a:extLst>
              <a:ext uri="{FF2B5EF4-FFF2-40B4-BE49-F238E27FC236}">
                <a16:creationId xmlns:a16="http://schemas.microsoft.com/office/drawing/2014/main" id="{64DC2847-DA63-4AF3-B015-B0D0DC7F9B4A}"/>
              </a:ext>
            </a:extLst>
          </p:cNvPr>
          <p:cNvSpPr txBox="1"/>
          <p:nvPr/>
        </p:nvSpPr>
        <p:spPr>
          <a:xfrm>
            <a:off x="673100" y="1601885"/>
            <a:ext cx="10845800" cy="89851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SzPct val="25000"/>
            </a:pPr>
            <a:r>
              <a:rPr lang="en-US" sz="2400" b="1" dirty="0">
                <a:cs typeface="+mn-ea"/>
                <a:sym typeface="+mn-lt"/>
              </a:rPr>
              <a:t>Unified fonts make</a:t>
            </a:r>
          </a:p>
          <a:p>
            <a:pPr algn="ctr">
              <a:buSzPct val="25000"/>
            </a:pPr>
            <a:r>
              <a:rPr lang="en-US" sz="2400" b="1" dirty="0">
                <a:cs typeface="+mn-ea"/>
                <a:sym typeface="+mn-lt"/>
              </a:rPr>
              <a:t>reading more fluent.</a:t>
            </a:r>
          </a:p>
        </p:txBody>
      </p:sp>
      <p:sp>
        <p:nvSpPr>
          <p:cNvPr id="48" name="文本框 47">
            <a:extLst>
              <a:ext uri="{FF2B5EF4-FFF2-40B4-BE49-F238E27FC236}">
                <a16:creationId xmlns:a16="http://schemas.microsoft.com/office/drawing/2014/main" id="{23E9BBEA-FB54-47C3-BA28-CE85931B8740}"/>
              </a:ext>
            </a:extLst>
          </p:cNvPr>
          <p:cNvSpPr txBox="1"/>
          <p:nvPr/>
        </p:nvSpPr>
        <p:spPr>
          <a:xfrm>
            <a:off x="673100" y="2500403"/>
            <a:ext cx="10845800" cy="614046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50000"/>
              </a:lnSpc>
              <a:buSzPct val="25000"/>
            </a:pPr>
            <a:r>
              <a:rPr lang="en-US" sz="1100" dirty="0">
                <a:cs typeface="+mn-ea"/>
                <a:sym typeface="+mn-lt"/>
              </a:rPr>
              <a:t>Theme color makes PPT </a:t>
            </a:r>
            <a:r>
              <a:rPr lang="en-US" sz="1100">
                <a:cs typeface="+mn-ea"/>
                <a:sym typeface="+mn-lt"/>
              </a:rPr>
              <a:t>more convenient </a:t>
            </a:r>
            <a:r>
              <a:rPr lang="en-US" sz="1100" dirty="0">
                <a:cs typeface="+mn-ea"/>
                <a:sym typeface="+mn-lt"/>
              </a:rPr>
              <a:t>to change.</a:t>
            </a:r>
          </a:p>
          <a:p>
            <a:pPr algn="ctr">
              <a:lnSpc>
                <a:spcPct val="150000"/>
              </a:lnSpc>
              <a:buSzPct val="25000"/>
            </a:pPr>
            <a:r>
              <a:rPr lang="en-US" sz="1100" dirty="0">
                <a:cs typeface="+mn-ea"/>
                <a:sym typeface="+mn-lt"/>
              </a:rPr>
              <a:t>Adjust the spacing to adapt to Chinese typesetting, use the reference line in PPT.</a:t>
            </a:r>
          </a:p>
        </p:txBody>
      </p:sp>
      <p:cxnSp>
        <p:nvCxnSpPr>
          <p:cNvPr id="46" name="直接连接符 45"/>
          <p:cNvCxnSpPr/>
          <p:nvPr/>
        </p:nvCxnSpPr>
        <p:spPr>
          <a:xfrm>
            <a:off x="4745063" y="1533354"/>
            <a:ext cx="2701873" cy="0"/>
          </a:xfrm>
          <a:prstGeom prst="line">
            <a:avLst/>
          </a:prstGeom>
          <a:ln w="28575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385527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cs typeface="+mn-ea"/>
              <a:sym typeface="+mn-lt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sz="8800" i="1" dirty="0">
                <a:latin typeface="+mn-lt"/>
                <a:ea typeface="+mn-ea"/>
                <a:cs typeface="+mn-ea"/>
                <a:sym typeface="+mn-lt"/>
              </a:rPr>
              <a:t>Thanks</a:t>
            </a:r>
            <a:br>
              <a:rPr lang="en-US" altLang="zh-CN" i="1" dirty="0">
                <a:latin typeface="+mn-lt"/>
                <a:ea typeface="+mn-ea"/>
                <a:cs typeface="+mn-ea"/>
                <a:sym typeface="+mn-lt"/>
              </a:rPr>
            </a:br>
            <a:r>
              <a:rPr lang="en-US" altLang="zh-CN" i="1" dirty="0">
                <a:latin typeface="+mn-lt"/>
                <a:ea typeface="+mn-ea"/>
                <a:cs typeface="+mn-ea"/>
                <a:sym typeface="+mn-lt"/>
              </a:rPr>
              <a:t>And Your  Slogan Here</a:t>
            </a:r>
            <a:endParaRPr lang="zh-CN" altLang="en-US" i="1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 dirty="0">
                <a:cs typeface="+mn-ea"/>
                <a:sym typeface="+mn-lt"/>
              </a:rPr>
              <a:t>OfficePLUS</a:t>
            </a:r>
            <a:endParaRPr lang="en-US" altLang="en-US" dirty="0"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Speaker name  and title</a:t>
            </a:r>
            <a:endParaRPr lang="en-US" altLang="zh-CN" dirty="0"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4237193" y="1028700"/>
            <a:ext cx="3704913" cy="936625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/>
          <a:p>
            <a:pPr algn="ctr"/>
            <a:r>
              <a:rPr lang="zh-CN" altLang="en-US" sz="3600" spc="300" dirty="0">
                <a:solidFill>
                  <a:schemeClr val="accent1"/>
                </a:solidFill>
                <a:cs typeface="+mn-ea"/>
                <a:sym typeface="+mn-lt"/>
              </a:rPr>
              <a:t>CONTE</a:t>
            </a:r>
            <a:r>
              <a:rPr lang="zh-CN" altLang="en-US" sz="100" spc="300" dirty="0">
                <a:solidFill>
                  <a:schemeClr val="accent1"/>
                </a:solidFill>
                <a:cs typeface="+mn-ea"/>
                <a:sym typeface="+mn-lt"/>
              </a:rPr>
              <a:t> </a:t>
            </a:r>
            <a:r>
              <a:rPr lang="zh-CN" altLang="en-US" sz="3600" spc="300" dirty="0">
                <a:solidFill>
                  <a:schemeClr val="accent1"/>
                </a:solidFill>
                <a:cs typeface="+mn-ea"/>
                <a:sym typeface="+mn-lt"/>
              </a:rPr>
              <a:t>NTS</a:t>
            </a:r>
          </a:p>
        </p:txBody>
      </p:sp>
      <p:grpSp>
        <p:nvGrpSpPr>
          <p:cNvPr id="23" name="组合 22"/>
          <p:cNvGrpSpPr/>
          <p:nvPr/>
        </p:nvGrpSpPr>
        <p:grpSpPr>
          <a:xfrm>
            <a:off x="6527800" y="2291716"/>
            <a:ext cx="4121150" cy="723231"/>
            <a:chOff x="6546850" y="2247900"/>
            <a:chExt cx="4121150" cy="723231"/>
          </a:xfrm>
        </p:grpSpPr>
        <p:sp>
          <p:nvSpPr>
            <p:cNvPr id="25" name="文本框 24">
              <a:extLst>
                <a:ext uri="{FF2B5EF4-FFF2-40B4-BE49-F238E27FC236}">
                  <a16:creationId xmlns:a16="http://schemas.microsoft.com/office/drawing/2014/main" id="{921D2456-A6A6-43F5-AD86-0A010D24A2F0}"/>
                </a:ext>
              </a:extLst>
            </p:cNvPr>
            <p:cNvSpPr txBox="1"/>
            <p:nvPr/>
          </p:nvSpPr>
          <p:spPr>
            <a:xfrm>
              <a:off x="6546850" y="2247900"/>
              <a:ext cx="4121150" cy="342091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zh-CN" altLang="en-US" sz="1600" b="1" dirty="0">
                  <a:cs typeface="+mn-ea"/>
                  <a:sym typeface="+mn-lt"/>
                </a:rPr>
                <a:t>尽量减少外出活动</a:t>
              </a:r>
            </a:p>
          </p:txBody>
        </p:sp>
        <p:sp>
          <p:nvSpPr>
            <p:cNvPr id="26" name="矩形 25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6546850" y="2589994"/>
              <a:ext cx="4121150" cy="381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Copy paste fonts. Choose the only </a:t>
              </a:r>
              <a:r>
                <a:rPr lang="en-US" altLang="zh-CN" sz="1100">
                  <a:cs typeface="+mn-ea"/>
                  <a:sym typeface="+mn-lt"/>
                </a:rPr>
                <a:t>option 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to </a:t>
              </a:r>
              <a:r>
                <a:rPr lang="en-US" altLang="zh-CN" sz="1100" dirty="0">
                  <a:cs typeface="+mn-ea"/>
                  <a:sym typeface="+mn-lt"/>
                </a:rPr>
                <a:t>retain text……</a:t>
              </a:r>
            </a:p>
          </p:txBody>
        </p:sp>
      </p:grpSp>
      <p:sp>
        <p:nvSpPr>
          <p:cNvPr id="24" name="矩形: 圆角 23"/>
          <p:cNvSpPr/>
          <p:nvPr/>
        </p:nvSpPr>
        <p:spPr>
          <a:xfrm>
            <a:off x="5765800" y="2329481"/>
            <a:ext cx="647700" cy="647700"/>
          </a:xfrm>
          <a:prstGeom prst="roundRect">
            <a:avLst>
              <a:gd name="adj" fmla="val 9167"/>
            </a:avLst>
          </a:prstGeom>
          <a:noFill/>
          <a:ln w="12700" cap="rnd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r>
              <a:rPr lang="en-US" altLang="zh-CN" sz="2400">
                <a:solidFill>
                  <a:schemeClr val="accent1"/>
                </a:solidFill>
                <a:cs typeface="+mn-ea"/>
                <a:sym typeface="+mn-lt"/>
              </a:rPr>
              <a:t>0</a:t>
            </a:r>
            <a:r>
              <a:rPr lang="en-US" altLang="zh-CN" sz="100">
                <a:solidFill>
                  <a:schemeClr val="accent1"/>
                </a:solidFill>
                <a:cs typeface="+mn-ea"/>
                <a:sym typeface="+mn-lt"/>
              </a:rPr>
              <a:t> </a:t>
            </a:r>
            <a:r>
              <a:rPr lang="en-US" altLang="zh-CN" sz="2400">
                <a:solidFill>
                  <a:schemeClr val="accent1"/>
                </a:solidFill>
                <a:cs typeface="+mn-ea"/>
                <a:sym typeface="+mn-lt"/>
              </a:rPr>
              <a:t>1</a:t>
            </a:r>
            <a:endParaRPr lang="zh-CN" altLang="en-US" sz="24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grpSp>
        <p:nvGrpSpPr>
          <p:cNvPr id="19" name="组合 18"/>
          <p:cNvGrpSpPr/>
          <p:nvPr/>
        </p:nvGrpSpPr>
        <p:grpSpPr>
          <a:xfrm>
            <a:off x="6527800" y="4326702"/>
            <a:ext cx="4121150" cy="723231"/>
            <a:chOff x="6546850" y="2247900"/>
            <a:chExt cx="4121150" cy="723231"/>
          </a:xfrm>
        </p:grpSpPr>
        <p:sp>
          <p:nvSpPr>
            <p:cNvPr id="21" name="文本框 20">
              <a:extLst>
                <a:ext uri="{FF2B5EF4-FFF2-40B4-BE49-F238E27FC236}">
                  <a16:creationId xmlns:a16="http://schemas.microsoft.com/office/drawing/2014/main" id="{921D2456-A6A6-43F5-AD86-0A010D24A2F0}"/>
                </a:ext>
              </a:extLst>
            </p:cNvPr>
            <p:cNvSpPr txBox="1"/>
            <p:nvPr/>
          </p:nvSpPr>
          <p:spPr>
            <a:xfrm>
              <a:off x="6546850" y="2247900"/>
              <a:ext cx="4121150" cy="342091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zh-CN" altLang="en-US" sz="1600" b="1" dirty="0">
                  <a:cs typeface="+mn-ea"/>
                  <a:sym typeface="+mn-lt"/>
                </a:rPr>
                <a:t>健康监测与就医</a:t>
              </a:r>
            </a:p>
          </p:txBody>
        </p:sp>
        <p:sp>
          <p:nvSpPr>
            <p:cNvPr id="22" name="矩形 21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6546850" y="2589994"/>
              <a:ext cx="4121150" cy="381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Copy paste fonts. Choose the only </a:t>
              </a:r>
              <a:r>
                <a:rPr lang="en-US" altLang="zh-CN" sz="1100">
                  <a:cs typeface="+mn-ea"/>
                  <a:sym typeface="+mn-lt"/>
                </a:rPr>
                <a:t>option 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to </a:t>
              </a:r>
              <a:r>
                <a:rPr lang="en-US" altLang="zh-CN" sz="1100" dirty="0">
                  <a:cs typeface="+mn-ea"/>
                  <a:sym typeface="+mn-lt"/>
                </a:rPr>
                <a:t>retain text……</a:t>
              </a:r>
            </a:p>
          </p:txBody>
        </p:sp>
      </p:grpSp>
      <p:sp>
        <p:nvSpPr>
          <p:cNvPr id="20" name="矩形: 圆角 19"/>
          <p:cNvSpPr/>
          <p:nvPr/>
        </p:nvSpPr>
        <p:spPr>
          <a:xfrm>
            <a:off x="5765800" y="4364467"/>
            <a:ext cx="647700" cy="647700"/>
          </a:xfrm>
          <a:prstGeom prst="roundRect">
            <a:avLst>
              <a:gd name="adj" fmla="val 9167"/>
            </a:avLst>
          </a:prstGeom>
          <a:noFill/>
          <a:ln w="12700" cap="rnd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r>
              <a:rPr lang="en-US" altLang="zh-CN" sz="2400">
                <a:solidFill>
                  <a:schemeClr val="accent1"/>
                </a:solidFill>
                <a:cs typeface="+mn-ea"/>
                <a:sym typeface="+mn-lt"/>
              </a:rPr>
              <a:t>0</a:t>
            </a:r>
            <a:r>
              <a:rPr lang="en-US" altLang="zh-CN" sz="100">
                <a:solidFill>
                  <a:schemeClr val="accent1"/>
                </a:solidFill>
                <a:cs typeface="+mn-ea"/>
                <a:sym typeface="+mn-lt"/>
              </a:rPr>
              <a:t> </a:t>
            </a:r>
            <a:r>
              <a:rPr lang="en-US" altLang="zh-CN" sz="2400">
                <a:solidFill>
                  <a:schemeClr val="accent1"/>
                </a:solidFill>
                <a:cs typeface="+mn-ea"/>
                <a:sym typeface="+mn-lt"/>
              </a:rPr>
              <a:t>3</a:t>
            </a:r>
            <a:endParaRPr lang="zh-CN" altLang="en-US" sz="24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sp>
        <p:nvSpPr>
          <p:cNvPr id="15" name="矩形: 圆角 14"/>
          <p:cNvSpPr/>
          <p:nvPr/>
        </p:nvSpPr>
        <p:spPr>
          <a:xfrm>
            <a:off x="5765800" y="3346974"/>
            <a:ext cx="647700" cy="647700"/>
          </a:xfrm>
          <a:prstGeom prst="roundRect">
            <a:avLst>
              <a:gd name="adj" fmla="val 9167"/>
            </a:avLst>
          </a:prstGeom>
          <a:noFill/>
          <a:ln w="12700" cap="rnd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r>
              <a:rPr lang="en-US" altLang="zh-CN" sz="2400">
                <a:solidFill>
                  <a:schemeClr val="accent1"/>
                </a:solidFill>
                <a:cs typeface="+mn-ea"/>
                <a:sym typeface="+mn-lt"/>
              </a:rPr>
              <a:t>0</a:t>
            </a:r>
            <a:r>
              <a:rPr lang="en-US" altLang="zh-CN" sz="100">
                <a:solidFill>
                  <a:schemeClr val="accent1"/>
                </a:solidFill>
                <a:cs typeface="+mn-ea"/>
                <a:sym typeface="+mn-lt"/>
              </a:rPr>
              <a:t> </a:t>
            </a:r>
            <a:r>
              <a:rPr lang="en-US" altLang="zh-CN" sz="2400">
                <a:solidFill>
                  <a:schemeClr val="accent1"/>
                </a:solidFill>
                <a:cs typeface="+mn-ea"/>
                <a:sym typeface="+mn-lt"/>
              </a:rPr>
              <a:t>2</a:t>
            </a:r>
            <a:endParaRPr lang="zh-CN" altLang="en-US" sz="24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grpSp>
        <p:nvGrpSpPr>
          <p:cNvPr id="16" name="组合 15"/>
          <p:cNvGrpSpPr/>
          <p:nvPr/>
        </p:nvGrpSpPr>
        <p:grpSpPr>
          <a:xfrm>
            <a:off x="1530350" y="3309209"/>
            <a:ext cx="4121150" cy="723231"/>
            <a:chOff x="6546850" y="2247900"/>
            <a:chExt cx="4121150" cy="723231"/>
          </a:xfrm>
        </p:grpSpPr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921D2456-A6A6-43F5-AD86-0A010D24A2F0}"/>
                </a:ext>
              </a:extLst>
            </p:cNvPr>
            <p:cNvSpPr txBox="1"/>
            <p:nvPr/>
          </p:nvSpPr>
          <p:spPr>
            <a:xfrm>
              <a:off x="6546850" y="2247900"/>
              <a:ext cx="4121150" cy="342091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/>
              <a:r>
                <a:rPr lang="zh-CN" altLang="en-US" sz="1600" b="1" dirty="0">
                  <a:cs typeface="+mn-ea"/>
                  <a:sym typeface="+mn-lt"/>
                </a:rPr>
                <a:t>个人防护和手卫生</a:t>
              </a:r>
            </a:p>
          </p:txBody>
        </p: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6546850" y="2589994"/>
              <a:ext cx="4121150" cy="381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5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Copy paste fonts. Choose the only </a:t>
              </a:r>
              <a:r>
                <a:rPr lang="en-US" altLang="zh-CN" sz="1100">
                  <a:cs typeface="+mn-ea"/>
                  <a:sym typeface="+mn-lt"/>
                </a:rPr>
                <a:t>option 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to </a:t>
              </a:r>
              <a:r>
                <a:rPr lang="en-US" altLang="zh-CN" sz="1100" dirty="0">
                  <a:cs typeface="+mn-ea"/>
                  <a:sym typeface="+mn-lt"/>
                </a:rPr>
                <a:t>retain text……</a:t>
              </a:r>
            </a:p>
          </p:txBody>
        </p:sp>
      </p:grpSp>
      <p:sp>
        <p:nvSpPr>
          <p:cNvPr id="11" name="矩形: 圆角 10"/>
          <p:cNvSpPr/>
          <p:nvPr/>
        </p:nvSpPr>
        <p:spPr>
          <a:xfrm>
            <a:off x="5765800" y="5381959"/>
            <a:ext cx="647700" cy="647700"/>
          </a:xfrm>
          <a:prstGeom prst="roundRect">
            <a:avLst>
              <a:gd name="adj" fmla="val 9167"/>
            </a:avLst>
          </a:prstGeom>
          <a:noFill/>
          <a:ln w="12700" cap="rnd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r>
              <a:rPr lang="en-US" altLang="zh-CN" sz="2400">
                <a:solidFill>
                  <a:schemeClr val="accent1"/>
                </a:solidFill>
                <a:cs typeface="+mn-ea"/>
                <a:sym typeface="+mn-lt"/>
              </a:rPr>
              <a:t>0</a:t>
            </a:r>
            <a:r>
              <a:rPr lang="en-US" altLang="zh-CN" sz="100">
                <a:solidFill>
                  <a:schemeClr val="accent1"/>
                </a:solidFill>
                <a:cs typeface="+mn-ea"/>
                <a:sym typeface="+mn-lt"/>
              </a:rPr>
              <a:t> </a:t>
            </a:r>
            <a:r>
              <a:rPr lang="en-US" altLang="zh-CN" sz="2400">
                <a:solidFill>
                  <a:schemeClr val="accent1"/>
                </a:solidFill>
                <a:cs typeface="+mn-ea"/>
                <a:sym typeface="+mn-lt"/>
              </a:rPr>
              <a:t>4</a:t>
            </a:r>
            <a:endParaRPr lang="zh-CN" altLang="en-US" sz="24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grpSp>
        <p:nvGrpSpPr>
          <p:cNvPr id="12" name="组合 11"/>
          <p:cNvGrpSpPr/>
          <p:nvPr/>
        </p:nvGrpSpPr>
        <p:grpSpPr>
          <a:xfrm>
            <a:off x="1530350" y="5344194"/>
            <a:ext cx="4121150" cy="723231"/>
            <a:chOff x="6546850" y="2247900"/>
            <a:chExt cx="4121150" cy="723231"/>
          </a:xfrm>
        </p:grpSpPr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921D2456-A6A6-43F5-AD86-0A010D24A2F0}"/>
                </a:ext>
              </a:extLst>
            </p:cNvPr>
            <p:cNvSpPr txBox="1"/>
            <p:nvPr/>
          </p:nvSpPr>
          <p:spPr>
            <a:xfrm>
              <a:off x="6546850" y="2247900"/>
              <a:ext cx="4121150" cy="342091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/>
              <a:r>
                <a:rPr lang="zh-CN" altLang="en-US" sz="1600" b="1" dirty="0">
                  <a:cs typeface="+mn-ea"/>
                  <a:sym typeface="+mn-lt"/>
                </a:rPr>
                <a:t>保持良好卫生和健康习惯</a:t>
              </a:r>
            </a:p>
          </p:txBody>
        </p:sp>
        <p:sp>
          <p:nvSpPr>
            <p:cNvPr id="14" name="矩形 13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6546850" y="2589994"/>
              <a:ext cx="4121150" cy="381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5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Copy paste fonts. Choose the only </a:t>
              </a:r>
              <a:r>
                <a:rPr lang="en-US" altLang="zh-CN" sz="1100">
                  <a:cs typeface="+mn-ea"/>
                  <a:sym typeface="+mn-lt"/>
                </a:rPr>
                <a:t>option 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to </a:t>
              </a:r>
              <a:r>
                <a:rPr lang="en-US" altLang="zh-CN" sz="1100" dirty="0">
                  <a:cs typeface="+mn-ea"/>
                  <a:sym typeface="+mn-lt"/>
                </a:rPr>
                <a:t>retain text……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734823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512149" y="2951599"/>
            <a:ext cx="5572087" cy="895350"/>
          </a:xfrm>
        </p:spPr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尽量减少外出活动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5512149" y="3846949"/>
            <a:ext cx="5572087" cy="1015623"/>
          </a:xfrm>
        </p:spPr>
        <p:txBody>
          <a:bodyPr/>
          <a:lstStyle/>
          <a:p>
            <a:pPr lvl="0"/>
            <a:r>
              <a:rPr lang="en-US" altLang="zh-CN">
                <a:cs typeface="+mn-ea"/>
                <a:sym typeface="+mn-lt"/>
              </a:rPr>
              <a:t>Supporting text  here.</a:t>
            </a:r>
          </a:p>
          <a:p>
            <a:pPr lvl="0"/>
            <a:r>
              <a:rPr lang="en-US" altLang="zh-CN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653575" y="238681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cs typeface="+mn-ea"/>
                <a:sym typeface="+mn-lt"/>
              </a:rPr>
              <a:t>/</a:t>
            </a:r>
            <a:r>
              <a:rPr lang="en-US" altLang="zh-CN" sz="100" spc="100" dirty="0">
                <a:solidFill>
                  <a:schemeClr val="bg1"/>
                </a:solidFill>
                <a:cs typeface="+mn-ea"/>
                <a:sym typeface="+mn-lt"/>
              </a:rPr>
              <a:t> </a:t>
            </a:r>
            <a:r>
              <a:rPr lang="en-US" altLang="zh-CN" spc="100" dirty="0">
                <a:solidFill>
                  <a:schemeClr val="bg1"/>
                </a:solidFill>
                <a:cs typeface="+mn-ea"/>
                <a:sym typeface="+mn-lt"/>
              </a:rPr>
              <a:t>01</a:t>
            </a:r>
            <a:endParaRPr lang="zh-CN" altLang="en-US" spc="1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尽量减少外出活动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4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921AE7E5-F9A8-46DC-A3B8-94BF6A2C9D93}"/>
              </a:ext>
            </a:extLst>
          </p:cNvPr>
          <p:cNvSpPr txBox="1"/>
          <p:nvPr/>
        </p:nvSpPr>
        <p:spPr>
          <a:xfrm>
            <a:off x="3048028" y="1577062"/>
            <a:ext cx="1828978" cy="140106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</a:t>
            </a:r>
            <a:r>
              <a:rPr lang="en-US" altLang="zh-CN" sz="1100">
                <a:cs typeface="+mn-ea"/>
                <a:sym typeface="+mn-lt"/>
              </a:rPr>
              <a:t>to retai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n </a:t>
            </a:r>
            <a:r>
              <a:rPr lang="en-US" altLang="zh-CN" sz="1100" dirty="0">
                <a:cs typeface="+mn-ea"/>
                <a:sym typeface="+mn-lt"/>
              </a:rPr>
              <a:t>text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endParaRPr lang="en-US" altLang="zh-CN" sz="1100" dirty="0">
              <a:cs typeface="+mn-ea"/>
              <a:sym typeface="+mn-lt"/>
            </a:endParaRP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… …</a:t>
            </a: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74F68E1B-3302-46D8-84C6-3382054D3536}"/>
              </a:ext>
            </a:extLst>
          </p:cNvPr>
          <p:cNvSpPr/>
          <p:nvPr/>
        </p:nvSpPr>
        <p:spPr>
          <a:xfrm>
            <a:off x="3048028" y="1130300"/>
            <a:ext cx="1828978" cy="446763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lvl="0" algn="ctr"/>
            <a:r>
              <a:rPr lang="en-US" altLang="zh-CN" sz="1600" b="1">
                <a:cs typeface="+mn-ea"/>
                <a:sym typeface="+mn-lt"/>
              </a:rPr>
              <a:t>Text h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sz="1600" b="1">
                <a:cs typeface="+mn-ea"/>
                <a:sym typeface="+mn-lt"/>
              </a:rPr>
              <a:t>ere</a:t>
            </a:r>
            <a:endParaRPr lang="zh-CN" altLang="en-US" sz="1600" b="1" dirty="0">
              <a:cs typeface="+mn-ea"/>
              <a:sym typeface="+mn-lt"/>
            </a:endParaRPr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921AE7E5-F9A8-46DC-A3B8-94BF6A2C9D93}"/>
              </a:ext>
            </a:extLst>
          </p:cNvPr>
          <p:cNvSpPr txBox="1"/>
          <p:nvPr/>
        </p:nvSpPr>
        <p:spPr>
          <a:xfrm>
            <a:off x="7302294" y="1577062"/>
            <a:ext cx="1828978" cy="140106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</a:t>
            </a:r>
            <a:r>
              <a:rPr lang="en-US" altLang="zh-CN" sz="1100">
                <a:cs typeface="+mn-ea"/>
                <a:sym typeface="+mn-lt"/>
              </a:rPr>
              <a:t>to retai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n </a:t>
            </a:r>
            <a:r>
              <a:rPr lang="en-US" altLang="zh-CN" sz="1100" dirty="0">
                <a:cs typeface="+mn-ea"/>
                <a:sym typeface="+mn-lt"/>
              </a:rPr>
              <a:t>text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endParaRPr lang="en-US" altLang="zh-CN" sz="1100" dirty="0">
              <a:cs typeface="+mn-ea"/>
              <a:sym typeface="+mn-lt"/>
            </a:endParaRP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… …</a:t>
            </a:r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74F68E1B-3302-46D8-84C6-3382054D3536}"/>
              </a:ext>
            </a:extLst>
          </p:cNvPr>
          <p:cNvSpPr/>
          <p:nvPr/>
        </p:nvSpPr>
        <p:spPr>
          <a:xfrm>
            <a:off x="7302294" y="1130300"/>
            <a:ext cx="1828978" cy="446763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lvl="0" algn="ctr"/>
            <a:r>
              <a:rPr lang="en-US" altLang="zh-CN" sz="1600" b="1">
                <a:cs typeface="+mn-ea"/>
                <a:sym typeface="+mn-lt"/>
              </a:rPr>
              <a:t>Text h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sz="1600" b="1">
                <a:cs typeface="+mn-ea"/>
                <a:sym typeface="+mn-lt"/>
              </a:rPr>
              <a:t>ere</a:t>
            </a:r>
            <a:endParaRPr lang="zh-CN" altLang="en-US" sz="1600" b="1" dirty="0">
              <a:cs typeface="+mn-ea"/>
              <a:sym typeface="+mn-lt"/>
            </a:endParaRPr>
          </a:p>
        </p:txBody>
      </p:sp>
      <p:sp>
        <p:nvSpPr>
          <p:cNvPr id="8" name="箭头: 右 7"/>
          <p:cNvSpPr/>
          <p:nvPr/>
        </p:nvSpPr>
        <p:spPr>
          <a:xfrm>
            <a:off x="2657756" y="3513387"/>
            <a:ext cx="484446" cy="237627"/>
          </a:xfrm>
          <a:prstGeom prst="rightArrow">
            <a:avLst>
              <a:gd name="adj1" fmla="val 50000"/>
              <a:gd name="adj2" fmla="val 83521"/>
            </a:avLst>
          </a:prstGeom>
          <a:solidFill>
            <a:schemeClr val="bg1">
              <a:lumMod val="95000"/>
            </a:schemeClr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/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9" name="箭头: 右 8"/>
          <p:cNvSpPr/>
          <p:nvPr/>
        </p:nvSpPr>
        <p:spPr>
          <a:xfrm>
            <a:off x="4782834" y="3513387"/>
            <a:ext cx="484446" cy="237627"/>
          </a:xfrm>
          <a:prstGeom prst="rightArrow">
            <a:avLst>
              <a:gd name="adj1" fmla="val 50000"/>
              <a:gd name="adj2" fmla="val 83521"/>
            </a:avLst>
          </a:prstGeom>
          <a:solidFill>
            <a:schemeClr val="bg1">
              <a:lumMod val="95000"/>
            </a:schemeClr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/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0" name="箭头: 右 9"/>
          <p:cNvSpPr/>
          <p:nvPr/>
        </p:nvSpPr>
        <p:spPr>
          <a:xfrm>
            <a:off x="6907912" y="3513387"/>
            <a:ext cx="484446" cy="237627"/>
          </a:xfrm>
          <a:prstGeom prst="rightArrow">
            <a:avLst>
              <a:gd name="adj1" fmla="val 50000"/>
              <a:gd name="adj2" fmla="val 83521"/>
            </a:avLst>
          </a:prstGeom>
          <a:solidFill>
            <a:schemeClr val="bg1">
              <a:lumMod val="95000"/>
            </a:schemeClr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/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1" name="箭头: 右 10"/>
          <p:cNvSpPr/>
          <p:nvPr/>
        </p:nvSpPr>
        <p:spPr>
          <a:xfrm>
            <a:off x="9032990" y="3513387"/>
            <a:ext cx="484446" cy="237627"/>
          </a:xfrm>
          <a:prstGeom prst="rightArrow">
            <a:avLst>
              <a:gd name="adj1" fmla="val 50000"/>
              <a:gd name="adj2" fmla="val 83521"/>
            </a:avLst>
          </a:prstGeom>
          <a:solidFill>
            <a:schemeClr val="bg1">
              <a:lumMod val="95000"/>
            </a:schemeClr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/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34" name="任意多边形: 形状 33"/>
          <p:cNvSpPr/>
          <p:nvPr/>
        </p:nvSpPr>
        <p:spPr bwMode="auto">
          <a:xfrm>
            <a:off x="1367841" y="3113430"/>
            <a:ext cx="935086" cy="1037540"/>
          </a:xfrm>
          <a:custGeom>
            <a:avLst/>
            <a:gdLst>
              <a:gd name="T0" fmla="*/ 668 w 1369"/>
              <a:gd name="T1" fmla="*/ 0 h 1519"/>
              <a:gd name="T2" fmla="*/ 702 w 1369"/>
              <a:gd name="T3" fmla="*/ 0 h 1519"/>
              <a:gd name="T4" fmla="*/ 736 w 1369"/>
              <a:gd name="T5" fmla="*/ 7 h 1519"/>
              <a:gd name="T6" fmla="*/ 768 w 1369"/>
              <a:gd name="T7" fmla="*/ 21 h 1519"/>
              <a:gd name="T8" fmla="*/ 1284 w 1369"/>
              <a:gd name="T9" fmla="*/ 318 h 1519"/>
              <a:gd name="T10" fmla="*/ 1313 w 1369"/>
              <a:gd name="T11" fmla="*/ 339 h 1519"/>
              <a:gd name="T12" fmla="*/ 1337 w 1369"/>
              <a:gd name="T13" fmla="*/ 364 h 1519"/>
              <a:gd name="T14" fmla="*/ 1354 w 1369"/>
              <a:gd name="T15" fmla="*/ 395 h 1519"/>
              <a:gd name="T16" fmla="*/ 1364 w 1369"/>
              <a:gd name="T17" fmla="*/ 429 h 1519"/>
              <a:gd name="T18" fmla="*/ 1369 w 1369"/>
              <a:gd name="T19" fmla="*/ 465 h 1519"/>
              <a:gd name="T20" fmla="*/ 1369 w 1369"/>
              <a:gd name="T21" fmla="*/ 1054 h 1519"/>
              <a:gd name="T22" fmla="*/ 1364 w 1369"/>
              <a:gd name="T23" fmla="*/ 1090 h 1519"/>
              <a:gd name="T24" fmla="*/ 1354 w 1369"/>
              <a:gd name="T25" fmla="*/ 1124 h 1519"/>
              <a:gd name="T26" fmla="*/ 1337 w 1369"/>
              <a:gd name="T27" fmla="*/ 1154 h 1519"/>
              <a:gd name="T28" fmla="*/ 1313 w 1369"/>
              <a:gd name="T29" fmla="*/ 1181 h 1519"/>
              <a:gd name="T30" fmla="*/ 1284 w 1369"/>
              <a:gd name="T31" fmla="*/ 1201 h 1519"/>
              <a:gd name="T32" fmla="*/ 768 w 1369"/>
              <a:gd name="T33" fmla="*/ 1497 h 1519"/>
              <a:gd name="T34" fmla="*/ 736 w 1369"/>
              <a:gd name="T35" fmla="*/ 1512 h 1519"/>
              <a:gd name="T36" fmla="*/ 702 w 1369"/>
              <a:gd name="T37" fmla="*/ 1519 h 1519"/>
              <a:gd name="T38" fmla="*/ 668 w 1369"/>
              <a:gd name="T39" fmla="*/ 1519 h 1519"/>
              <a:gd name="T40" fmla="*/ 632 w 1369"/>
              <a:gd name="T41" fmla="*/ 1512 h 1519"/>
              <a:gd name="T42" fmla="*/ 599 w 1369"/>
              <a:gd name="T43" fmla="*/ 1497 h 1519"/>
              <a:gd name="T44" fmla="*/ 85 w 1369"/>
              <a:gd name="T45" fmla="*/ 1201 h 1519"/>
              <a:gd name="T46" fmla="*/ 56 w 1369"/>
              <a:gd name="T47" fmla="*/ 1181 h 1519"/>
              <a:gd name="T48" fmla="*/ 32 w 1369"/>
              <a:gd name="T49" fmla="*/ 1154 h 1519"/>
              <a:gd name="T50" fmla="*/ 15 w 1369"/>
              <a:gd name="T51" fmla="*/ 1124 h 1519"/>
              <a:gd name="T52" fmla="*/ 3 w 1369"/>
              <a:gd name="T53" fmla="*/ 1090 h 1519"/>
              <a:gd name="T54" fmla="*/ 0 w 1369"/>
              <a:gd name="T55" fmla="*/ 1054 h 1519"/>
              <a:gd name="T56" fmla="*/ 0 w 1369"/>
              <a:gd name="T57" fmla="*/ 465 h 1519"/>
              <a:gd name="T58" fmla="*/ 3 w 1369"/>
              <a:gd name="T59" fmla="*/ 429 h 1519"/>
              <a:gd name="T60" fmla="*/ 15 w 1369"/>
              <a:gd name="T61" fmla="*/ 395 h 1519"/>
              <a:gd name="T62" fmla="*/ 32 w 1369"/>
              <a:gd name="T63" fmla="*/ 364 h 1519"/>
              <a:gd name="T64" fmla="*/ 56 w 1369"/>
              <a:gd name="T65" fmla="*/ 339 h 1519"/>
              <a:gd name="T66" fmla="*/ 85 w 1369"/>
              <a:gd name="T67" fmla="*/ 318 h 1519"/>
              <a:gd name="T68" fmla="*/ 599 w 1369"/>
              <a:gd name="T69" fmla="*/ 21 h 1519"/>
              <a:gd name="T70" fmla="*/ 632 w 1369"/>
              <a:gd name="T71" fmla="*/ 7 h 1519"/>
              <a:gd name="T72" fmla="*/ 668 w 1369"/>
              <a:gd name="T73" fmla="*/ 0 h 15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369" h="1519">
                <a:moveTo>
                  <a:pt x="668" y="0"/>
                </a:moveTo>
                <a:lnTo>
                  <a:pt x="702" y="0"/>
                </a:lnTo>
                <a:lnTo>
                  <a:pt x="736" y="7"/>
                </a:lnTo>
                <a:lnTo>
                  <a:pt x="768" y="21"/>
                </a:lnTo>
                <a:lnTo>
                  <a:pt x="1284" y="318"/>
                </a:lnTo>
                <a:lnTo>
                  <a:pt x="1313" y="339"/>
                </a:lnTo>
                <a:lnTo>
                  <a:pt x="1337" y="364"/>
                </a:lnTo>
                <a:lnTo>
                  <a:pt x="1354" y="395"/>
                </a:lnTo>
                <a:lnTo>
                  <a:pt x="1364" y="429"/>
                </a:lnTo>
                <a:lnTo>
                  <a:pt x="1369" y="465"/>
                </a:lnTo>
                <a:lnTo>
                  <a:pt x="1369" y="1054"/>
                </a:lnTo>
                <a:lnTo>
                  <a:pt x="1364" y="1090"/>
                </a:lnTo>
                <a:lnTo>
                  <a:pt x="1354" y="1124"/>
                </a:lnTo>
                <a:lnTo>
                  <a:pt x="1337" y="1154"/>
                </a:lnTo>
                <a:lnTo>
                  <a:pt x="1313" y="1181"/>
                </a:lnTo>
                <a:lnTo>
                  <a:pt x="1284" y="1201"/>
                </a:lnTo>
                <a:lnTo>
                  <a:pt x="768" y="1497"/>
                </a:lnTo>
                <a:lnTo>
                  <a:pt x="736" y="1512"/>
                </a:lnTo>
                <a:lnTo>
                  <a:pt x="702" y="1519"/>
                </a:lnTo>
                <a:lnTo>
                  <a:pt x="668" y="1519"/>
                </a:lnTo>
                <a:lnTo>
                  <a:pt x="632" y="1512"/>
                </a:lnTo>
                <a:lnTo>
                  <a:pt x="599" y="1497"/>
                </a:lnTo>
                <a:lnTo>
                  <a:pt x="85" y="1201"/>
                </a:lnTo>
                <a:lnTo>
                  <a:pt x="56" y="1181"/>
                </a:lnTo>
                <a:lnTo>
                  <a:pt x="32" y="1154"/>
                </a:lnTo>
                <a:lnTo>
                  <a:pt x="15" y="1124"/>
                </a:lnTo>
                <a:lnTo>
                  <a:pt x="3" y="1090"/>
                </a:lnTo>
                <a:lnTo>
                  <a:pt x="0" y="1054"/>
                </a:lnTo>
                <a:lnTo>
                  <a:pt x="0" y="465"/>
                </a:lnTo>
                <a:lnTo>
                  <a:pt x="3" y="429"/>
                </a:lnTo>
                <a:lnTo>
                  <a:pt x="15" y="395"/>
                </a:lnTo>
                <a:lnTo>
                  <a:pt x="32" y="364"/>
                </a:lnTo>
                <a:lnTo>
                  <a:pt x="56" y="339"/>
                </a:lnTo>
                <a:lnTo>
                  <a:pt x="85" y="318"/>
                </a:lnTo>
                <a:lnTo>
                  <a:pt x="599" y="21"/>
                </a:lnTo>
                <a:lnTo>
                  <a:pt x="632" y="7"/>
                </a:lnTo>
                <a:lnTo>
                  <a:pt x="668" y="0"/>
                </a:lnTo>
                <a:close/>
              </a:path>
            </a:pathLst>
          </a:cu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algn="ctr"/>
            <a:endParaRPr lang="ru-RU" sz="1600" i="1" u="sng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sp>
        <p:nvSpPr>
          <p:cNvPr id="35" name="任意多边形: 形状 34"/>
          <p:cNvSpPr/>
          <p:nvPr/>
        </p:nvSpPr>
        <p:spPr>
          <a:xfrm>
            <a:off x="1614898" y="3405852"/>
            <a:ext cx="440973" cy="452697"/>
          </a:xfrm>
          <a:custGeom>
            <a:avLst/>
            <a:gdLst>
              <a:gd name="connsiteX0" fmla="*/ 549811 w 591833"/>
              <a:gd name="connsiteY0" fmla="*/ 523595 h 607569"/>
              <a:gd name="connsiteX1" fmla="*/ 591833 w 591833"/>
              <a:gd name="connsiteY1" fmla="*/ 565582 h 607569"/>
              <a:gd name="connsiteX2" fmla="*/ 549811 w 591833"/>
              <a:gd name="connsiteY2" fmla="*/ 607569 h 607569"/>
              <a:gd name="connsiteX3" fmla="*/ 507789 w 591833"/>
              <a:gd name="connsiteY3" fmla="*/ 565582 h 607569"/>
              <a:gd name="connsiteX4" fmla="*/ 549811 w 591833"/>
              <a:gd name="connsiteY4" fmla="*/ 523595 h 607569"/>
              <a:gd name="connsiteX5" fmla="*/ 295917 w 591833"/>
              <a:gd name="connsiteY5" fmla="*/ 523595 h 607569"/>
              <a:gd name="connsiteX6" fmla="*/ 338010 w 591833"/>
              <a:gd name="connsiteY6" fmla="*/ 565582 h 607569"/>
              <a:gd name="connsiteX7" fmla="*/ 295917 w 591833"/>
              <a:gd name="connsiteY7" fmla="*/ 607569 h 607569"/>
              <a:gd name="connsiteX8" fmla="*/ 253824 w 591833"/>
              <a:gd name="connsiteY8" fmla="*/ 565582 h 607569"/>
              <a:gd name="connsiteX9" fmla="*/ 295917 w 591833"/>
              <a:gd name="connsiteY9" fmla="*/ 523595 h 607569"/>
              <a:gd name="connsiteX10" fmla="*/ 42022 w 591833"/>
              <a:gd name="connsiteY10" fmla="*/ 523595 h 607569"/>
              <a:gd name="connsiteX11" fmla="*/ 84044 w 591833"/>
              <a:gd name="connsiteY11" fmla="*/ 565582 h 607569"/>
              <a:gd name="connsiteX12" fmla="*/ 42022 w 591833"/>
              <a:gd name="connsiteY12" fmla="*/ 607569 h 607569"/>
              <a:gd name="connsiteX13" fmla="*/ 0 w 591833"/>
              <a:gd name="connsiteY13" fmla="*/ 565582 h 607569"/>
              <a:gd name="connsiteX14" fmla="*/ 42022 w 591833"/>
              <a:gd name="connsiteY14" fmla="*/ 523595 h 607569"/>
              <a:gd name="connsiteX15" fmla="*/ 275789 w 591833"/>
              <a:gd name="connsiteY15" fmla="*/ 358260 h 607569"/>
              <a:gd name="connsiteX16" fmla="*/ 295916 w 591833"/>
              <a:gd name="connsiteY16" fmla="*/ 359334 h 607569"/>
              <a:gd name="connsiteX17" fmla="*/ 316043 w 591833"/>
              <a:gd name="connsiteY17" fmla="*/ 358260 h 607569"/>
              <a:gd name="connsiteX18" fmla="*/ 316043 w 591833"/>
              <a:gd name="connsiteY18" fmla="*/ 426658 h 607569"/>
              <a:gd name="connsiteX19" fmla="*/ 548348 w 591833"/>
              <a:gd name="connsiteY19" fmla="*/ 426658 h 607569"/>
              <a:gd name="connsiteX20" fmla="*/ 568475 w 591833"/>
              <a:gd name="connsiteY20" fmla="*/ 446748 h 607569"/>
              <a:gd name="connsiteX21" fmla="*/ 568475 w 591833"/>
              <a:gd name="connsiteY21" fmla="*/ 492908 h 607569"/>
              <a:gd name="connsiteX22" fmla="*/ 549885 w 591833"/>
              <a:gd name="connsiteY22" fmla="*/ 490455 h 607569"/>
              <a:gd name="connsiteX23" fmla="*/ 528221 w 591833"/>
              <a:gd name="connsiteY23" fmla="*/ 493675 h 607569"/>
              <a:gd name="connsiteX24" fmla="*/ 528221 w 591833"/>
              <a:gd name="connsiteY24" fmla="*/ 466837 h 607569"/>
              <a:gd name="connsiteX25" fmla="*/ 316043 w 591833"/>
              <a:gd name="connsiteY25" fmla="*/ 466837 h 607569"/>
              <a:gd name="connsiteX26" fmla="*/ 316043 w 591833"/>
              <a:gd name="connsiteY26" fmla="*/ 493215 h 607569"/>
              <a:gd name="connsiteX27" fmla="*/ 295916 w 591833"/>
              <a:gd name="connsiteY27" fmla="*/ 490455 h 607569"/>
              <a:gd name="connsiteX28" fmla="*/ 275789 w 591833"/>
              <a:gd name="connsiteY28" fmla="*/ 493215 h 607569"/>
              <a:gd name="connsiteX29" fmla="*/ 275789 w 591833"/>
              <a:gd name="connsiteY29" fmla="*/ 466837 h 607569"/>
              <a:gd name="connsiteX30" fmla="*/ 63611 w 591833"/>
              <a:gd name="connsiteY30" fmla="*/ 466837 h 607569"/>
              <a:gd name="connsiteX31" fmla="*/ 63611 w 591833"/>
              <a:gd name="connsiteY31" fmla="*/ 493675 h 607569"/>
              <a:gd name="connsiteX32" fmla="*/ 41948 w 591833"/>
              <a:gd name="connsiteY32" fmla="*/ 490455 h 607569"/>
              <a:gd name="connsiteX33" fmla="*/ 23357 w 591833"/>
              <a:gd name="connsiteY33" fmla="*/ 492908 h 607569"/>
              <a:gd name="connsiteX34" fmla="*/ 23357 w 591833"/>
              <a:gd name="connsiteY34" fmla="*/ 446748 h 607569"/>
              <a:gd name="connsiteX35" fmla="*/ 43484 w 591833"/>
              <a:gd name="connsiteY35" fmla="*/ 426658 h 607569"/>
              <a:gd name="connsiteX36" fmla="*/ 275789 w 591833"/>
              <a:gd name="connsiteY36" fmla="*/ 426658 h 607569"/>
              <a:gd name="connsiteX37" fmla="*/ 295880 w 591833"/>
              <a:gd name="connsiteY37" fmla="*/ 32832 h 607569"/>
              <a:gd name="connsiteX38" fmla="*/ 275751 w 591833"/>
              <a:gd name="connsiteY38" fmla="*/ 52930 h 607569"/>
              <a:gd name="connsiteX39" fmla="*/ 275751 w 591833"/>
              <a:gd name="connsiteY39" fmla="*/ 152498 h 607569"/>
              <a:gd name="connsiteX40" fmla="*/ 245635 w 591833"/>
              <a:gd name="connsiteY40" fmla="*/ 182415 h 607569"/>
              <a:gd name="connsiteX41" fmla="*/ 245635 w 591833"/>
              <a:gd name="connsiteY41" fmla="*/ 210951 h 607569"/>
              <a:gd name="connsiteX42" fmla="*/ 259925 w 591833"/>
              <a:gd name="connsiteY42" fmla="*/ 216781 h 607569"/>
              <a:gd name="connsiteX43" fmla="*/ 274061 w 591833"/>
              <a:gd name="connsiteY43" fmla="*/ 210951 h 607569"/>
              <a:gd name="connsiteX44" fmla="*/ 310170 w 591833"/>
              <a:gd name="connsiteY44" fmla="*/ 174898 h 607569"/>
              <a:gd name="connsiteX45" fmla="*/ 316009 w 591833"/>
              <a:gd name="connsiteY45" fmla="*/ 160783 h 607569"/>
              <a:gd name="connsiteX46" fmla="*/ 316009 w 591833"/>
              <a:gd name="connsiteY46" fmla="*/ 52930 h 607569"/>
              <a:gd name="connsiteX47" fmla="*/ 295880 w 591833"/>
              <a:gd name="connsiteY47" fmla="*/ 32832 h 607569"/>
              <a:gd name="connsiteX48" fmla="*/ 295880 w 591833"/>
              <a:gd name="connsiteY48" fmla="*/ 0 h 607569"/>
              <a:gd name="connsiteX49" fmla="*/ 456910 w 591833"/>
              <a:gd name="connsiteY49" fmla="*/ 160783 h 607569"/>
              <a:gd name="connsiteX50" fmla="*/ 295880 w 591833"/>
              <a:gd name="connsiteY50" fmla="*/ 321566 h 607569"/>
              <a:gd name="connsiteX51" fmla="*/ 134850 w 591833"/>
              <a:gd name="connsiteY51" fmla="*/ 160783 h 607569"/>
              <a:gd name="connsiteX52" fmla="*/ 295880 w 591833"/>
              <a:gd name="connsiteY52" fmla="*/ 0 h 607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591833" h="607569">
                <a:moveTo>
                  <a:pt x="549811" y="523595"/>
                </a:moveTo>
                <a:cubicBezTo>
                  <a:pt x="573019" y="523595"/>
                  <a:pt x="591833" y="542393"/>
                  <a:pt x="591833" y="565582"/>
                </a:cubicBezTo>
                <a:cubicBezTo>
                  <a:pt x="591833" y="588771"/>
                  <a:pt x="573019" y="607569"/>
                  <a:pt x="549811" y="607569"/>
                </a:cubicBezTo>
                <a:cubicBezTo>
                  <a:pt x="526603" y="607569"/>
                  <a:pt x="507789" y="588771"/>
                  <a:pt x="507789" y="565582"/>
                </a:cubicBezTo>
                <a:cubicBezTo>
                  <a:pt x="507789" y="542393"/>
                  <a:pt x="526603" y="523595"/>
                  <a:pt x="549811" y="523595"/>
                </a:cubicBezTo>
                <a:close/>
                <a:moveTo>
                  <a:pt x="295917" y="523595"/>
                </a:moveTo>
                <a:cubicBezTo>
                  <a:pt x="319164" y="523595"/>
                  <a:pt x="338010" y="542393"/>
                  <a:pt x="338010" y="565582"/>
                </a:cubicBezTo>
                <a:cubicBezTo>
                  <a:pt x="338010" y="588771"/>
                  <a:pt x="319164" y="607569"/>
                  <a:pt x="295917" y="607569"/>
                </a:cubicBezTo>
                <a:cubicBezTo>
                  <a:pt x="272670" y="607569"/>
                  <a:pt x="253824" y="588771"/>
                  <a:pt x="253824" y="565582"/>
                </a:cubicBezTo>
                <a:cubicBezTo>
                  <a:pt x="253824" y="542393"/>
                  <a:pt x="272670" y="523595"/>
                  <a:pt x="295917" y="523595"/>
                </a:cubicBezTo>
                <a:close/>
                <a:moveTo>
                  <a:pt x="42022" y="523595"/>
                </a:moveTo>
                <a:cubicBezTo>
                  <a:pt x="65230" y="523595"/>
                  <a:pt x="84044" y="542393"/>
                  <a:pt x="84044" y="565582"/>
                </a:cubicBezTo>
                <a:cubicBezTo>
                  <a:pt x="84044" y="588771"/>
                  <a:pt x="65230" y="607569"/>
                  <a:pt x="42022" y="607569"/>
                </a:cubicBezTo>
                <a:cubicBezTo>
                  <a:pt x="18814" y="607569"/>
                  <a:pt x="0" y="588771"/>
                  <a:pt x="0" y="565582"/>
                </a:cubicBezTo>
                <a:cubicBezTo>
                  <a:pt x="0" y="542393"/>
                  <a:pt x="18814" y="523595"/>
                  <a:pt x="42022" y="523595"/>
                </a:cubicBezTo>
                <a:close/>
                <a:moveTo>
                  <a:pt x="275789" y="358260"/>
                </a:moveTo>
                <a:cubicBezTo>
                  <a:pt x="282396" y="359027"/>
                  <a:pt x="289156" y="359334"/>
                  <a:pt x="295916" y="359334"/>
                </a:cubicBezTo>
                <a:cubicBezTo>
                  <a:pt x="302676" y="359334"/>
                  <a:pt x="309437" y="359027"/>
                  <a:pt x="316043" y="358260"/>
                </a:cubicBezTo>
                <a:lnTo>
                  <a:pt x="316043" y="426658"/>
                </a:lnTo>
                <a:lnTo>
                  <a:pt x="548348" y="426658"/>
                </a:lnTo>
                <a:cubicBezTo>
                  <a:pt x="559410" y="426658"/>
                  <a:pt x="568475" y="435706"/>
                  <a:pt x="568475" y="446748"/>
                </a:cubicBezTo>
                <a:lnTo>
                  <a:pt x="568475" y="492908"/>
                </a:lnTo>
                <a:cubicBezTo>
                  <a:pt x="562483" y="491375"/>
                  <a:pt x="556184" y="490455"/>
                  <a:pt x="549885" y="490455"/>
                </a:cubicBezTo>
                <a:cubicBezTo>
                  <a:pt x="542356" y="490455"/>
                  <a:pt x="535135" y="491681"/>
                  <a:pt x="528221" y="493675"/>
                </a:cubicBezTo>
                <a:lnTo>
                  <a:pt x="528221" y="466837"/>
                </a:lnTo>
                <a:lnTo>
                  <a:pt x="316043" y="466837"/>
                </a:lnTo>
                <a:lnTo>
                  <a:pt x="316043" y="493215"/>
                </a:lnTo>
                <a:cubicBezTo>
                  <a:pt x="309590" y="491528"/>
                  <a:pt x="302830" y="490455"/>
                  <a:pt x="295916" y="490455"/>
                </a:cubicBezTo>
                <a:cubicBezTo>
                  <a:pt x="289002" y="490455"/>
                  <a:pt x="282242" y="491528"/>
                  <a:pt x="275789" y="493215"/>
                </a:cubicBezTo>
                <a:lnTo>
                  <a:pt x="275789" y="466837"/>
                </a:lnTo>
                <a:lnTo>
                  <a:pt x="63611" y="466837"/>
                </a:lnTo>
                <a:lnTo>
                  <a:pt x="63611" y="493675"/>
                </a:lnTo>
                <a:cubicBezTo>
                  <a:pt x="56697" y="491681"/>
                  <a:pt x="49476" y="490455"/>
                  <a:pt x="41948" y="490455"/>
                </a:cubicBezTo>
                <a:cubicBezTo>
                  <a:pt x="35495" y="490455"/>
                  <a:pt x="29349" y="491375"/>
                  <a:pt x="23357" y="492908"/>
                </a:cubicBezTo>
                <a:lnTo>
                  <a:pt x="23357" y="446748"/>
                </a:lnTo>
                <a:cubicBezTo>
                  <a:pt x="23357" y="435706"/>
                  <a:pt x="32422" y="426658"/>
                  <a:pt x="43484" y="426658"/>
                </a:cubicBezTo>
                <a:lnTo>
                  <a:pt x="275789" y="426658"/>
                </a:lnTo>
                <a:close/>
                <a:moveTo>
                  <a:pt x="295880" y="32832"/>
                </a:moveTo>
                <a:cubicBezTo>
                  <a:pt x="284817" y="32832"/>
                  <a:pt x="275751" y="41883"/>
                  <a:pt x="275751" y="52930"/>
                </a:cubicBezTo>
                <a:lnTo>
                  <a:pt x="275751" y="152498"/>
                </a:lnTo>
                <a:lnTo>
                  <a:pt x="245635" y="182415"/>
                </a:lnTo>
                <a:cubicBezTo>
                  <a:pt x="237799" y="190393"/>
                  <a:pt x="237799" y="202973"/>
                  <a:pt x="245635" y="210951"/>
                </a:cubicBezTo>
                <a:cubicBezTo>
                  <a:pt x="249630" y="214786"/>
                  <a:pt x="254701" y="216781"/>
                  <a:pt x="259925" y="216781"/>
                </a:cubicBezTo>
                <a:cubicBezTo>
                  <a:pt x="264996" y="216781"/>
                  <a:pt x="270220" y="214786"/>
                  <a:pt x="274061" y="210951"/>
                </a:cubicBezTo>
                <a:lnTo>
                  <a:pt x="310170" y="174898"/>
                </a:lnTo>
                <a:cubicBezTo>
                  <a:pt x="313858" y="171215"/>
                  <a:pt x="316009" y="166153"/>
                  <a:pt x="316009" y="160783"/>
                </a:cubicBezTo>
                <a:lnTo>
                  <a:pt x="316009" y="52930"/>
                </a:lnTo>
                <a:cubicBezTo>
                  <a:pt x="316009" y="41883"/>
                  <a:pt x="306943" y="32832"/>
                  <a:pt x="295880" y="32832"/>
                </a:cubicBezTo>
                <a:close/>
                <a:moveTo>
                  <a:pt x="295880" y="0"/>
                </a:moveTo>
                <a:cubicBezTo>
                  <a:pt x="384693" y="0"/>
                  <a:pt x="456910" y="72107"/>
                  <a:pt x="456910" y="160783"/>
                </a:cubicBezTo>
                <a:cubicBezTo>
                  <a:pt x="456910" y="249459"/>
                  <a:pt x="384693" y="321566"/>
                  <a:pt x="295880" y="321566"/>
                </a:cubicBezTo>
                <a:cubicBezTo>
                  <a:pt x="207068" y="321566"/>
                  <a:pt x="134850" y="249459"/>
                  <a:pt x="134850" y="160783"/>
                </a:cubicBezTo>
                <a:cubicBezTo>
                  <a:pt x="134850" y="72107"/>
                  <a:pt x="207068" y="0"/>
                  <a:pt x="295880" y="0"/>
                </a:cubicBezTo>
                <a:close/>
              </a:path>
            </a:pathLst>
          </a:custGeom>
          <a:solidFill>
            <a:schemeClr val="accent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32" name="任意多边形: 形状 31"/>
          <p:cNvSpPr/>
          <p:nvPr/>
        </p:nvSpPr>
        <p:spPr bwMode="auto">
          <a:xfrm>
            <a:off x="3494974" y="3113430"/>
            <a:ext cx="935086" cy="1037540"/>
          </a:xfrm>
          <a:custGeom>
            <a:avLst/>
            <a:gdLst>
              <a:gd name="T0" fmla="*/ 668 w 1369"/>
              <a:gd name="T1" fmla="*/ 0 h 1519"/>
              <a:gd name="T2" fmla="*/ 702 w 1369"/>
              <a:gd name="T3" fmla="*/ 0 h 1519"/>
              <a:gd name="T4" fmla="*/ 736 w 1369"/>
              <a:gd name="T5" fmla="*/ 7 h 1519"/>
              <a:gd name="T6" fmla="*/ 768 w 1369"/>
              <a:gd name="T7" fmla="*/ 21 h 1519"/>
              <a:gd name="T8" fmla="*/ 1284 w 1369"/>
              <a:gd name="T9" fmla="*/ 318 h 1519"/>
              <a:gd name="T10" fmla="*/ 1313 w 1369"/>
              <a:gd name="T11" fmla="*/ 339 h 1519"/>
              <a:gd name="T12" fmla="*/ 1337 w 1369"/>
              <a:gd name="T13" fmla="*/ 364 h 1519"/>
              <a:gd name="T14" fmla="*/ 1354 w 1369"/>
              <a:gd name="T15" fmla="*/ 395 h 1519"/>
              <a:gd name="T16" fmla="*/ 1364 w 1369"/>
              <a:gd name="T17" fmla="*/ 429 h 1519"/>
              <a:gd name="T18" fmla="*/ 1369 w 1369"/>
              <a:gd name="T19" fmla="*/ 465 h 1519"/>
              <a:gd name="T20" fmla="*/ 1369 w 1369"/>
              <a:gd name="T21" fmla="*/ 1054 h 1519"/>
              <a:gd name="T22" fmla="*/ 1364 w 1369"/>
              <a:gd name="T23" fmla="*/ 1090 h 1519"/>
              <a:gd name="T24" fmla="*/ 1354 w 1369"/>
              <a:gd name="T25" fmla="*/ 1124 h 1519"/>
              <a:gd name="T26" fmla="*/ 1337 w 1369"/>
              <a:gd name="T27" fmla="*/ 1154 h 1519"/>
              <a:gd name="T28" fmla="*/ 1313 w 1369"/>
              <a:gd name="T29" fmla="*/ 1181 h 1519"/>
              <a:gd name="T30" fmla="*/ 1284 w 1369"/>
              <a:gd name="T31" fmla="*/ 1201 h 1519"/>
              <a:gd name="T32" fmla="*/ 768 w 1369"/>
              <a:gd name="T33" fmla="*/ 1497 h 1519"/>
              <a:gd name="T34" fmla="*/ 736 w 1369"/>
              <a:gd name="T35" fmla="*/ 1512 h 1519"/>
              <a:gd name="T36" fmla="*/ 702 w 1369"/>
              <a:gd name="T37" fmla="*/ 1519 h 1519"/>
              <a:gd name="T38" fmla="*/ 668 w 1369"/>
              <a:gd name="T39" fmla="*/ 1519 h 1519"/>
              <a:gd name="T40" fmla="*/ 632 w 1369"/>
              <a:gd name="T41" fmla="*/ 1512 h 1519"/>
              <a:gd name="T42" fmla="*/ 599 w 1369"/>
              <a:gd name="T43" fmla="*/ 1497 h 1519"/>
              <a:gd name="T44" fmla="*/ 85 w 1369"/>
              <a:gd name="T45" fmla="*/ 1201 h 1519"/>
              <a:gd name="T46" fmla="*/ 56 w 1369"/>
              <a:gd name="T47" fmla="*/ 1181 h 1519"/>
              <a:gd name="T48" fmla="*/ 32 w 1369"/>
              <a:gd name="T49" fmla="*/ 1154 h 1519"/>
              <a:gd name="T50" fmla="*/ 15 w 1369"/>
              <a:gd name="T51" fmla="*/ 1124 h 1519"/>
              <a:gd name="T52" fmla="*/ 3 w 1369"/>
              <a:gd name="T53" fmla="*/ 1090 h 1519"/>
              <a:gd name="T54" fmla="*/ 0 w 1369"/>
              <a:gd name="T55" fmla="*/ 1054 h 1519"/>
              <a:gd name="T56" fmla="*/ 0 w 1369"/>
              <a:gd name="T57" fmla="*/ 465 h 1519"/>
              <a:gd name="T58" fmla="*/ 3 w 1369"/>
              <a:gd name="T59" fmla="*/ 429 h 1519"/>
              <a:gd name="T60" fmla="*/ 15 w 1369"/>
              <a:gd name="T61" fmla="*/ 395 h 1519"/>
              <a:gd name="T62" fmla="*/ 32 w 1369"/>
              <a:gd name="T63" fmla="*/ 364 h 1519"/>
              <a:gd name="T64" fmla="*/ 56 w 1369"/>
              <a:gd name="T65" fmla="*/ 339 h 1519"/>
              <a:gd name="T66" fmla="*/ 85 w 1369"/>
              <a:gd name="T67" fmla="*/ 318 h 1519"/>
              <a:gd name="T68" fmla="*/ 599 w 1369"/>
              <a:gd name="T69" fmla="*/ 21 h 1519"/>
              <a:gd name="T70" fmla="*/ 632 w 1369"/>
              <a:gd name="T71" fmla="*/ 7 h 1519"/>
              <a:gd name="T72" fmla="*/ 668 w 1369"/>
              <a:gd name="T73" fmla="*/ 0 h 15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369" h="1519">
                <a:moveTo>
                  <a:pt x="668" y="0"/>
                </a:moveTo>
                <a:lnTo>
                  <a:pt x="702" y="0"/>
                </a:lnTo>
                <a:lnTo>
                  <a:pt x="736" y="7"/>
                </a:lnTo>
                <a:lnTo>
                  <a:pt x="768" y="21"/>
                </a:lnTo>
                <a:lnTo>
                  <a:pt x="1284" y="318"/>
                </a:lnTo>
                <a:lnTo>
                  <a:pt x="1313" y="339"/>
                </a:lnTo>
                <a:lnTo>
                  <a:pt x="1337" y="364"/>
                </a:lnTo>
                <a:lnTo>
                  <a:pt x="1354" y="395"/>
                </a:lnTo>
                <a:lnTo>
                  <a:pt x="1364" y="429"/>
                </a:lnTo>
                <a:lnTo>
                  <a:pt x="1369" y="465"/>
                </a:lnTo>
                <a:lnTo>
                  <a:pt x="1369" y="1054"/>
                </a:lnTo>
                <a:lnTo>
                  <a:pt x="1364" y="1090"/>
                </a:lnTo>
                <a:lnTo>
                  <a:pt x="1354" y="1124"/>
                </a:lnTo>
                <a:lnTo>
                  <a:pt x="1337" y="1154"/>
                </a:lnTo>
                <a:lnTo>
                  <a:pt x="1313" y="1181"/>
                </a:lnTo>
                <a:lnTo>
                  <a:pt x="1284" y="1201"/>
                </a:lnTo>
                <a:lnTo>
                  <a:pt x="768" y="1497"/>
                </a:lnTo>
                <a:lnTo>
                  <a:pt x="736" y="1512"/>
                </a:lnTo>
                <a:lnTo>
                  <a:pt x="702" y="1519"/>
                </a:lnTo>
                <a:lnTo>
                  <a:pt x="668" y="1519"/>
                </a:lnTo>
                <a:lnTo>
                  <a:pt x="632" y="1512"/>
                </a:lnTo>
                <a:lnTo>
                  <a:pt x="599" y="1497"/>
                </a:lnTo>
                <a:lnTo>
                  <a:pt x="85" y="1201"/>
                </a:lnTo>
                <a:lnTo>
                  <a:pt x="56" y="1181"/>
                </a:lnTo>
                <a:lnTo>
                  <a:pt x="32" y="1154"/>
                </a:lnTo>
                <a:lnTo>
                  <a:pt x="15" y="1124"/>
                </a:lnTo>
                <a:lnTo>
                  <a:pt x="3" y="1090"/>
                </a:lnTo>
                <a:lnTo>
                  <a:pt x="0" y="1054"/>
                </a:lnTo>
                <a:lnTo>
                  <a:pt x="0" y="465"/>
                </a:lnTo>
                <a:lnTo>
                  <a:pt x="3" y="429"/>
                </a:lnTo>
                <a:lnTo>
                  <a:pt x="15" y="395"/>
                </a:lnTo>
                <a:lnTo>
                  <a:pt x="32" y="364"/>
                </a:lnTo>
                <a:lnTo>
                  <a:pt x="56" y="339"/>
                </a:lnTo>
                <a:lnTo>
                  <a:pt x="85" y="318"/>
                </a:lnTo>
                <a:lnTo>
                  <a:pt x="599" y="21"/>
                </a:lnTo>
                <a:lnTo>
                  <a:pt x="632" y="7"/>
                </a:lnTo>
                <a:lnTo>
                  <a:pt x="668" y="0"/>
                </a:lnTo>
                <a:close/>
              </a:path>
            </a:pathLst>
          </a:cu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algn="ctr"/>
            <a:endParaRPr lang="ru-RU" sz="1600" i="1" u="sng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sp>
        <p:nvSpPr>
          <p:cNvPr id="33" name="任意多边形: 形状 32"/>
          <p:cNvSpPr/>
          <p:nvPr/>
        </p:nvSpPr>
        <p:spPr>
          <a:xfrm>
            <a:off x="3736168" y="3463712"/>
            <a:ext cx="452697" cy="336976"/>
          </a:xfrm>
          <a:custGeom>
            <a:avLst/>
            <a:gdLst>
              <a:gd name="connsiteX0" fmla="*/ 353056 w 608415"/>
              <a:gd name="connsiteY0" fmla="*/ 250650 h 452889"/>
              <a:gd name="connsiteX1" fmla="*/ 353056 w 608415"/>
              <a:gd name="connsiteY1" fmla="*/ 305575 h 452889"/>
              <a:gd name="connsiteX2" fmla="*/ 380101 w 608415"/>
              <a:gd name="connsiteY2" fmla="*/ 278113 h 452889"/>
              <a:gd name="connsiteX3" fmla="*/ 353056 w 608415"/>
              <a:gd name="connsiteY3" fmla="*/ 250650 h 452889"/>
              <a:gd name="connsiteX4" fmla="*/ 311106 w 608415"/>
              <a:gd name="connsiteY4" fmla="*/ 147244 h 452889"/>
              <a:gd name="connsiteX5" fmla="*/ 284061 w 608415"/>
              <a:gd name="connsiteY5" fmla="*/ 174706 h 452889"/>
              <a:gd name="connsiteX6" fmla="*/ 311106 w 608415"/>
              <a:gd name="connsiteY6" fmla="*/ 202169 h 452889"/>
              <a:gd name="connsiteX7" fmla="*/ 332158 w 608415"/>
              <a:gd name="connsiteY7" fmla="*/ 63015 h 452889"/>
              <a:gd name="connsiteX8" fmla="*/ 353056 w 608415"/>
              <a:gd name="connsiteY8" fmla="*/ 83880 h 452889"/>
              <a:gd name="connsiteX9" fmla="*/ 353056 w 608415"/>
              <a:gd name="connsiteY9" fmla="*/ 104132 h 452889"/>
              <a:gd name="connsiteX10" fmla="*/ 422052 w 608415"/>
              <a:gd name="connsiteY10" fmla="*/ 174706 h 452889"/>
              <a:gd name="connsiteX11" fmla="*/ 401000 w 608415"/>
              <a:gd name="connsiteY11" fmla="*/ 195725 h 452889"/>
              <a:gd name="connsiteX12" fmla="*/ 380101 w 608415"/>
              <a:gd name="connsiteY12" fmla="*/ 174706 h 452889"/>
              <a:gd name="connsiteX13" fmla="*/ 353056 w 608415"/>
              <a:gd name="connsiteY13" fmla="*/ 147244 h 452889"/>
              <a:gd name="connsiteX14" fmla="*/ 353056 w 608415"/>
              <a:gd name="connsiteY14" fmla="*/ 207539 h 452889"/>
              <a:gd name="connsiteX15" fmla="*/ 422052 w 608415"/>
              <a:gd name="connsiteY15" fmla="*/ 278113 h 452889"/>
              <a:gd name="connsiteX16" fmla="*/ 353056 w 608415"/>
              <a:gd name="connsiteY16" fmla="*/ 348687 h 452889"/>
              <a:gd name="connsiteX17" fmla="*/ 353056 w 608415"/>
              <a:gd name="connsiteY17" fmla="*/ 368939 h 452889"/>
              <a:gd name="connsiteX18" fmla="*/ 332158 w 608415"/>
              <a:gd name="connsiteY18" fmla="*/ 389804 h 452889"/>
              <a:gd name="connsiteX19" fmla="*/ 311106 w 608415"/>
              <a:gd name="connsiteY19" fmla="*/ 368939 h 452889"/>
              <a:gd name="connsiteX20" fmla="*/ 311106 w 608415"/>
              <a:gd name="connsiteY20" fmla="*/ 348687 h 452889"/>
              <a:gd name="connsiteX21" fmla="*/ 242110 w 608415"/>
              <a:gd name="connsiteY21" fmla="*/ 278113 h 452889"/>
              <a:gd name="connsiteX22" fmla="*/ 263162 w 608415"/>
              <a:gd name="connsiteY22" fmla="*/ 257094 h 452889"/>
              <a:gd name="connsiteX23" fmla="*/ 284061 w 608415"/>
              <a:gd name="connsiteY23" fmla="*/ 278113 h 452889"/>
              <a:gd name="connsiteX24" fmla="*/ 311106 w 608415"/>
              <a:gd name="connsiteY24" fmla="*/ 305575 h 452889"/>
              <a:gd name="connsiteX25" fmla="*/ 311106 w 608415"/>
              <a:gd name="connsiteY25" fmla="*/ 245280 h 452889"/>
              <a:gd name="connsiteX26" fmla="*/ 242110 w 608415"/>
              <a:gd name="connsiteY26" fmla="*/ 174706 h 452889"/>
              <a:gd name="connsiteX27" fmla="*/ 311106 w 608415"/>
              <a:gd name="connsiteY27" fmla="*/ 104132 h 452889"/>
              <a:gd name="connsiteX28" fmla="*/ 311106 w 608415"/>
              <a:gd name="connsiteY28" fmla="*/ 83880 h 452889"/>
              <a:gd name="connsiteX29" fmla="*/ 332158 w 608415"/>
              <a:gd name="connsiteY29" fmla="*/ 63015 h 452889"/>
              <a:gd name="connsiteX30" fmla="*/ 55464 w 608415"/>
              <a:gd name="connsiteY30" fmla="*/ 0 h 452889"/>
              <a:gd name="connsiteX31" fmla="*/ 587520 w 608415"/>
              <a:gd name="connsiteY31" fmla="*/ 0 h 452889"/>
              <a:gd name="connsiteX32" fmla="*/ 608415 w 608415"/>
              <a:gd name="connsiteY32" fmla="*/ 21018 h 452889"/>
              <a:gd name="connsiteX33" fmla="*/ 608415 w 608415"/>
              <a:gd name="connsiteY33" fmla="*/ 431871 h 452889"/>
              <a:gd name="connsiteX34" fmla="*/ 587520 w 608415"/>
              <a:gd name="connsiteY34" fmla="*/ 452889 h 452889"/>
              <a:gd name="connsiteX35" fmla="*/ 120454 w 608415"/>
              <a:gd name="connsiteY35" fmla="*/ 452889 h 452889"/>
              <a:gd name="connsiteX36" fmla="*/ 0 w 608415"/>
              <a:gd name="connsiteY36" fmla="*/ 332610 h 452889"/>
              <a:gd name="connsiteX37" fmla="*/ 87421 w 608415"/>
              <a:gd name="connsiteY37" fmla="*/ 216933 h 452889"/>
              <a:gd name="connsiteX38" fmla="*/ 66373 w 608415"/>
              <a:gd name="connsiteY38" fmla="*/ 202205 h 452889"/>
              <a:gd name="connsiteX39" fmla="*/ 61302 w 608415"/>
              <a:gd name="connsiteY39" fmla="*/ 173209 h 452889"/>
              <a:gd name="connsiteX40" fmla="*/ 90340 w 608415"/>
              <a:gd name="connsiteY40" fmla="*/ 167992 h 452889"/>
              <a:gd name="connsiteX41" fmla="*/ 153179 w 608415"/>
              <a:gd name="connsiteY41" fmla="*/ 211870 h 452889"/>
              <a:gd name="connsiteX42" fmla="*/ 161783 w 608415"/>
              <a:gd name="connsiteY42" fmla="*/ 225371 h 452889"/>
              <a:gd name="connsiteX43" fmla="*/ 158403 w 608415"/>
              <a:gd name="connsiteY43" fmla="*/ 241019 h 452889"/>
              <a:gd name="connsiteX44" fmla="*/ 114308 w 608415"/>
              <a:gd name="connsiteY44" fmla="*/ 303767 h 452889"/>
              <a:gd name="connsiteX45" fmla="*/ 97254 w 608415"/>
              <a:gd name="connsiteY45" fmla="*/ 312665 h 452889"/>
              <a:gd name="connsiteX46" fmla="*/ 85270 w 608415"/>
              <a:gd name="connsiteY46" fmla="*/ 308983 h 452889"/>
              <a:gd name="connsiteX47" fmla="*/ 80047 w 608415"/>
              <a:gd name="connsiteY47" fmla="*/ 279834 h 452889"/>
              <a:gd name="connsiteX48" fmla="*/ 95103 w 608415"/>
              <a:gd name="connsiteY48" fmla="*/ 258355 h 452889"/>
              <a:gd name="connsiteX49" fmla="*/ 41944 w 608415"/>
              <a:gd name="connsiteY49" fmla="*/ 332610 h 452889"/>
              <a:gd name="connsiteX50" fmla="*/ 120454 w 608415"/>
              <a:gd name="connsiteY50" fmla="*/ 411006 h 452889"/>
              <a:gd name="connsiteX51" fmla="*/ 566471 w 608415"/>
              <a:gd name="connsiteY51" fmla="*/ 411006 h 452889"/>
              <a:gd name="connsiteX52" fmla="*/ 566471 w 608415"/>
              <a:gd name="connsiteY52" fmla="*/ 41883 h 452889"/>
              <a:gd name="connsiteX53" fmla="*/ 55464 w 608415"/>
              <a:gd name="connsiteY53" fmla="*/ 41883 h 452889"/>
              <a:gd name="connsiteX54" fmla="*/ 34569 w 608415"/>
              <a:gd name="connsiteY54" fmla="*/ 21018 h 452889"/>
              <a:gd name="connsiteX55" fmla="*/ 55464 w 608415"/>
              <a:gd name="connsiteY55" fmla="*/ 0 h 452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608415" h="452889">
                <a:moveTo>
                  <a:pt x="353056" y="250650"/>
                </a:moveTo>
                <a:lnTo>
                  <a:pt x="353056" y="305575"/>
                </a:lnTo>
                <a:cubicBezTo>
                  <a:pt x="368730" y="300359"/>
                  <a:pt x="380101" y="289773"/>
                  <a:pt x="380101" y="278113"/>
                </a:cubicBezTo>
                <a:cubicBezTo>
                  <a:pt x="380101" y="266453"/>
                  <a:pt x="368730" y="255867"/>
                  <a:pt x="353056" y="250650"/>
                </a:cubicBezTo>
                <a:close/>
                <a:moveTo>
                  <a:pt x="311106" y="147244"/>
                </a:moveTo>
                <a:cubicBezTo>
                  <a:pt x="295432" y="152460"/>
                  <a:pt x="284061" y="163046"/>
                  <a:pt x="284061" y="174706"/>
                </a:cubicBezTo>
                <a:cubicBezTo>
                  <a:pt x="284061" y="186366"/>
                  <a:pt x="295432" y="196952"/>
                  <a:pt x="311106" y="202169"/>
                </a:cubicBezTo>
                <a:close/>
                <a:moveTo>
                  <a:pt x="332158" y="63015"/>
                </a:moveTo>
                <a:cubicBezTo>
                  <a:pt x="343683" y="63015"/>
                  <a:pt x="353056" y="72374"/>
                  <a:pt x="353056" y="83880"/>
                </a:cubicBezTo>
                <a:lnTo>
                  <a:pt x="353056" y="104132"/>
                </a:lnTo>
                <a:cubicBezTo>
                  <a:pt x="392548" y="111803"/>
                  <a:pt x="422052" y="140493"/>
                  <a:pt x="422052" y="174706"/>
                </a:cubicBezTo>
                <a:cubicBezTo>
                  <a:pt x="422052" y="186366"/>
                  <a:pt x="412678" y="195725"/>
                  <a:pt x="401000" y="195725"/>
                </a:cubicBezTo>
                <a:cubicBezTo>
                  <a:pt x="389475" y="195725"/>
                  <a:pt x="380101" y="186366"/>
                  <a:pt x="380101" y="174706"/>
                </a:cubicBezTo>
                <a:cubicBezTo>
                  <a:pt x="380101" y="163046"/>
                  <a:pt x="368730" y="152460"/>
                  <a:pt x="353056" y="147244"/>
                </a:cubicBezTo>
                <a:lnTo>
                  <a:pt x="353056" y="207539"/>
                </a:lnTo>
                <a:cubicBezTo>
                  <a:pt x="392548" y="215210"/>
                  <a:pt x="422052" y="243900"/>
                  <a:pt x="422052" y="278113"/>
                </a:cubicBezTo>
                <a:cubicBezTo>
                  <a:pt x="422052" y="312326"/>
                  <a:pt x="392548" y="341016"/>
                  <a:pt x="353056" y="348687"/>
                </a:cubicBezTo>
                <a:lnTo>
                  <a:pt x="353056" y="368939"/>
                </a:lnTo>
                <a:cubicBezTo>
                  <a:pt x="353056" y="380445"/>
                  <a:pt x="343683" y="389804"/>
                  <a:pt x="332158" y="389804"/>
                </a:cubicBezTo>
                <a:cubicBezTo>
                  <a:pt x="320479" y="389804"/>
                  <a:pt x="311106" y="380445"/>
                  <a:pt x="311106" y="368939"/>
                </a:cubicBezTo>
                <a:lnTo>
                  <a:pt x="311106" y="348687"/>
                </a:lnTo>
                <a:cubicBezTo>
                  <a:pt x="271614" y="341016"/>
                  <a:pt x="242110" y="312326"/>
                  <a:pt x="242110" y="278113"/>
                </a:cubicBezTo>
                <a:cubicBezTo>
                  <a:pt x="242110" y="266453"/>
                  <a:pt x="251484" y="257094"/>
                  <a:pt x="263162" y="257094"/>
                </a:cubicBezTo>
                <a:cubicBezTo>
                  <a:pt x="274687" y="257094"/>
                  <a:pt x="284061" y="266453"/>
                  <a:pt x="284061" y="278113"/>
                </a:cubicBezTo>
                <a:cubicBezTo>
                  <a:pt x="284061" y="289773"/>
                  <a:pt x="295432" y="300359"/>
                  <a:pt x="311106" y="305575"/>
                </a:cubicBezTo>
                <a:lnTo>
                  <a:pt x="311106" y="245280"/>
                </a:lnTo>
                <a:cubicBezTo>
                  <a:pt x="271614" y="237609"/>
                  <a:pt x="242110" y="208919"/>
                  <a:pt x="242110" y="174706"/>
                </a:cubicBezTo>
                <a:cubicBezTo>
                  <a:pt x="242110" y="140493"/>
                  <a:pt x="271614" y="111803"/>
                  <a:pt x="311106" y="104132"/>
                </a:cubicBezTo>
                <a:lnTo>
                  <a:pt x="311106" y="83880"/>
                </a:lnTo>
                <a:cubicBezTo>
                  <a:pt x="311106" y="72374"/>
                  <a:pt x="320479" y="63015"/>
                  <a:pt x="332158" y="63015"/>
                </a:cubicBezTo>
                <a:close/>
                <a:moveTo>
                  <a:pt x="55464" y="0"/>
                </a:moveTo>
                <a:lnTo>
                  <a:pt x="587520" y="0"/>
                </a:lnTo>
                <a:cubicBezTo>
                  <a:pt x="599043" y="0"/>
                  <a:pt x="608415" y="9358"/>
                  <a:pt x="608415" y="21018"/>
                </a:cubicBezTo>
                <a:lnTo>
                  <a:pt x="608415" y="431871"/>
                </a:lnTo>
                <a:cubicBezTo>
                  <a:pt x="608415" y="443531"/>
                  <a:pt x="599043" y="452889"/>
                  <a:pt x="587520" y="452889"/>
                </a:cubicBezTo>
                <a:lnTo>
                  <a:pt x="120454" y="452889"/>
                </a:lnTo>
                <a:cubicBezTo>
                  <a:pt x="54081" y="452889"/>
                  <a:pt x="0" y="398886"/>
                  <a:pt x="0" y="332610"/>
                </a:cubicBezTo>
                <a:cubicBezTo>
                  <a:pt x="0" y="277686"/>
                  <a:pt x="37027" y="231354"/>
                  <a:pt x="87421" y="216933"/>
                </a:cubicBezTo>
                <a:lnTo>
                  <a:pt x="66373" y="202205"/>
                </a:lnTo>
                <a:cubicBezTo>
                  <a:pt x="56847" y="195608"/>
                  <a:pt x="54542" y="182567"/>
                  <a:pt x="61302" y="173209"/>
                </a:cubicBezTo>
                <a:cubicBezTo>
                  <a:pt x="67909" y="163697"/>
                  <a:pt x="80968" y="161395"/>
                  <a:pt x="90340" y="167992"/>
                </a:cubicBezTo>
                <a:lnTo>
                  <a:pt x="153179" y="211870"/>
                </a:lnTo>
                <a:cubicBezTo>
                  <a:pt x="157788" y="215092"/>
                  <a:pt x="160861" y="220001"/>
                  <a:pt x="161783" y="225371"/>
                </a:cubicBezTo>
                <a:cubicBezTo>
                  <a:pt x="162859" y="230894"/>
                  <a:pt x="161629" y="236570"/>
                  <a:pt x="158403" y="241019"/>
                </a:cubicBezTo>
                <a:lnTo>
                  <a:pt x="114308" y="303767"/>
                </a:lnTo>
                <a:cubicBezTo>
                  <a:pt x="110314" y="309597"/>
                  <a:pt x="103861" y="312665"/>
                  <a:pt x="97254" y="312665"/>
                </a:cubicBezTo>
                <a:cubicBezTo>
                  <a:pt x="93106" y="312665"/>
                  <a:pt x="88804" y="311438"/>
                  <a:pt x="85270" y="308983"/>
                </a:cubicBezTo>
                <a:cubicBezTo>
                  <a:pt x="75745" y="302386"/>
                  <a:pt x="73440" y="289346"/>
                  <a:pt x="80047" y="279834"/>
                </a:cubicBezTo>
                <a:lnTo>
                  <a:pt x="95103" y="258355"/>
                </a:lnTo>
                <a:cubicBezTo>
                  <a:pt x="64222" y="268941"/>
                  <a:pt x="41944" y="298244"/>
                  <a:pt x="41944" y="332610"/>
                </a:cubicBezTo>
                <a:cubicBezTo>
                  <a:pt x="41944" y="375873"/>
                  <a:pt x="77127" y="411006"/>
                  <a:pt x="120454" y="411006"/>
                </a:cubicBezTo>
                <a:lnTo>
                  <a:pt x="566471" y="411006"/>
                </a:lnTo>
                <a:lnTo>
                  <a:pt x="566471" y="41883"/>
                </a:lnTo>
                <a:lnTo>
                  <a:pt x="55464" y="41883"/>
                </a:lnTo>
                <a:cubicBezTo>
                  <a:pt x="43941" y="41883"/>
                  <a:pt x="34569" y="32525"/>
                  <a:pt x="34569" y="21018"/>
                </a:cubicBezTo>
                <a:cubicBezTo>
                  <a:pt x="34569" y="9358"/>
                  <a:pt x="43941" y="0"/>
                  <a:pt x="55464" y="0"/>
                </a:cubicBezTo>
                <a:close/>
              </a:path>
            </a:pathLst>
          </a:custGeom>
          <a:solidFill>
            <a:schemeClr val="accent2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30" name="任意多边形: 形状 29"/>
          <p:cNvSpPr/>
          <p:nvPr/>
        </p:nvSpPr>
        <p:spPr bwMode="auto">
          <a:xfrm>
            <a:off x="5622107" y="3113430"/>
            <a:ext cx="935086" cy="1037540"/>
          </a:xfrm>
          <a:custGeom>
            <a:avLst/>
            <a:gdLst>
              <a:gd name="T0" fmla="*/ 668 w 1369"/>
              <a:gd name="T1" fmla="*/ 0 h 1519"/>
              <a:gd name="T2" fmla="*/ 702 w 1369"/>
              <a:gd name="T3" fmla="*/ 0 h 1519"/>
              <a:gd name="T4" fmla="*/ 736 w 1369"/>
              <a:gd name="T5" fmla="*/ 7 h 1519"/>
              <a:gd name="T6" fmla="*/ 768 w 1369"/>
              <a:gd name="T7" fmla="*/ 21 h 1519"/>
              <a:gd name="T8" fmla="*/ 1284 w 1369"/>
              <a:gd name="T9" fmla="*/ 318 h 1519"/>
              <a:gd name="T10" fmla="*/ 1313 w 1369"/>
              <a:gd name="T11" fmla="*/ 339 h 1519"/>
              <a:gd name="T12" fmla="*/ 1337 w 1369"/>
              <a:gd name="T13" fmla="*/ 364 h 1519"/>
              <a:gd name="T14" fmla="*/ 1354 w 1369"/>
              <a:gd name="T15" fmla="*/ 395 h 1519"/>
              <a:gd name="T16" fmla="*/ 1364 w 1369"/>
              <a:gd name="T17" fmla="*/ 429 h 1519"/>
              <a:gd name="T18" fmla="*/ 1369 w 1369"/>
              <a:gd name="T19" fmla="*/ 465 h 1519"/>
              <a:gd name="T20" fmla="*/ 1369 w 1369"/>
              <a:gd name="T21" fmla="*/ 1054 h 1519"/>
              <a:gd name="T22" fmla="*/ 1364 w 1369"/>
              <a:gd name="T23" fmla="*/ 1090 h 1519"/>
              <a:gd name="T24" fmla="*/ 1354 w 1369"/>
              <a:gd name="T25" fmla="*/ 1124 h 1519"/>
              <a:gd name="T26" fmla="*/ 1337 w 1369"/>
              <a:gd name="T27" fmla="*/ 1154 h 1519"/>
              <a:gd name="T28" fmla="*/ 1313 w 1369"/>
              <a:gd name="T29" fmla="*/ 1181 h 1519"/>
              <a:gd name="T30" fmla="*/ 1284 w 1369"/>
              <a:gd name="T31" fmla="*/ 1201 h 1519"/>
              <a:gd name="T32" fmla="*/ 768 w 1369"/>
              <a:gd name="T33" fmla="*/ 1497 h 1519"/>
              <a:gd name="T34" fmla="*/ 736 w 1369"/>
              <a:gd name="T35" fmla="*/ 1512 h 1519"/>
              <a:gd name="T36" fmla="*/ 702 w 1369"/>
              <a:gd name="T37" fmla="*/ 1519 h 1519"/>
              <a:gd name="T38" fmla="*/ 668 w 1369"/>
              <a:gd name="T39" fmla="*/ 1519 h 1519"/>
              <a:gd name="T40" fmla="*/ 632 w 1369"/>
              <a:gd name="T41" fmla="*/ 1512 h 1519"/>
              <a:gd name="T42" fmla="*/ 599 w 1369"/>
              <a:gd name="T43" fmla="*/ 1497 h 1519"/>
              <a:gd name="T44" fmla="*/ 85 w 1369"/>
              <a:gd name="T45" fmla="*/ 1201 h 1519"/>
              <a:gd name="T46" fmla="*/ 56 w 1369"/>
              <a:gd name="T47" fmla="*/ 1181 h 1519"/>
              <a:gd name="T48" fmla="*/ 32 w 1369"/>
              <a:gd name="T49" fmla="*/ 1154 h 1519"/>
              <a:gd name="T50" fmla="*/ 15 w 1369"/>
              <a:gd name="T51" fmla="*/ 1124 h 1519"/>
              <a:gd name="T52" fmla="*/ 3 w 1369"/>
              <a:gd name="T53" fmla="*/ 1090 h 1519"/>
              <a:gd name="T54" fmla="*/ 0 w 1369"/>
              <a:gd name="T55" fmla="*/ 1054 h 1519"/>
              <a:gd name="T56" fmla="*/ 0 w 1369"/>
              <a:gd name="T57" fmla="*/ 465 h 1519"/>
              <a:gd name="T58" fmla="*/ 3 w 1369"/>
              <a:gd name="T59" fmla="*/ 429 h 1519"/>
              <a:gd name="T60" fmla="*/ 15 w 1369"/>
              <a:gd name="T61" fmla="*/ 395 h 1519"/>
              <a:gd name="T62" fmla="*/ 32 w 1369"/>
              <a:gd name="T63" fmla="*/ 364 h 1519"/>
              <a:gd name="T64" fmla="*/ 56 w 1369"/>
              <a:gd name="T65" fmla="*/ 339 h 1519"/>
              <a:gd name="T66" fmla="*/ 85 w 1369"/>
              <a:gd name="T67" fmla="*/ 318 h 1519"/>
              <a:gd name="T68" fmla="*/ 599 w 1369"/>
              <a:gd name="T69" fmla="*/ 21 h 1519"/>
              <a:gd name="T70" fmla="*/ 632 w 1369"/>
              <a:gd name="T71" fmla="*/ 7 h 1519"/>
              <a:gd name="T72" fmla="*/ 668 w 1369"/>
              <a:gd name="T73" fmla="*/ 0 h 15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369" h="1519">
                <a:moveTo>
                  <a:pt x="668" y="0"/>
                </a:moveTo>
                <a:lnTo>
                  <a:pt x="702" y="0"/>
                </a:lnTo>
                <a:lnTo>
                  <a:pt x="736" y="7"/>
                </a:lnTo>
                <a:lnTo>
                  <a:pt x="768" y="21"/>
                </a:lnTo>
                <a:lnTo>
                  <a:pt x="1284" y="318"/>
                </a:lnTo>
                <a:lnTo>
                  <a:pt x="1313" y="339"/>
                </a:lnTo>
                <a:lnTo>
                  <a:pt x="1337" y="364"/>
                </a:lnTo>
                <a:lnTo>
                  <a:pt x="1354" y="395"/>
                </a:lnTo>
                <a:lnTo>
                  <a:pt x="1364" y="429"/>
                </a:lnTo>
                <a:lnTo>
                  <a:pt x="1369" y="465"/>
                </a:lnTo>
                <a:lnTo>
                  <a:pt x="1369" y="1054"/>
                </a:lnTo>
                <a:lnTo>
                  <a:pt x="1364" y="1090"/>
                </a:lnTo>
                <a:lnTo>
                  <a:pt x="1354" y="1124"/>
                </a:lnTo>
                <a:lnTo>
                  <a:pt x="1337" y="1154"/>
                </a:lnTo>
                <a:lnTo>
                  <a:pt x="1313" y="1181"/>
                </a:lnTo>
                <a:lnTo>
                  <a:pt x="1284" y="1201"/>
                </a:lnTo>
                <a:lnTo>
                  <a:pt x="768" y="1497"/>
                </a:lnTo>
                <a:lnTo>
                  <a:pt x="736" y="1512"/>
                </a:lnTo>
                <a:lnTo>
                  <a:pt x="702" y="1519"/>
                </a:lnTo>
                <a:lnTo>
                  <a:pt x="668" y="1519"/>
                </a:lnTo>
                <a:lnTo>
                  <a:pt x="632" y="1512"/>
                </a:lnTo>
                <a:lnTo>
                  <a:pt x="599" y="1497"/>
                </a:lnTo>
                <a:lnTo>
                  <a:pt x="85" y="1201"/>
                </a:lnTo>
                <a:lnTo>
                  <a:pt x="56" y="1181"/>
                </a:lnTo>
                <a:lnTo>
                  <a:pt x="32" y="1154"/>
                </a:lnTo>
                <a:lnTo>
                  <a:pt x="15" y="1124"/>
                </a:lnTo>
                <a:lnTo>
                  <a:pt x="3" y="1090"/>
                </a:lnTo>
                <a:lnTo>
                  <a:pt x="0" y="1054"/>
                </a:lnTo>
                <a:lnTo>
                  <a:pt x="0" y="465"/>
                </a:lnTo>
                <a:lnTo>
                  <a:pt x="3" y="429"/>
                </a:lnTo>
                <a:lnTo>
                  <a:pt x="15" y="395"/>
                </a:lnTo>
                <a:lnTo>
                  <a:pt x="32" y="364"/>
                </a:lnTo>
                <a:lnTo>
                  <a:pt x="56" y="339"/>
                </a:lnTo>
                <a:lnTo>
                  <a:pt x="85" y="318"/>
                </a:lnTo>
                <a:lnTo>
                  <a:pt x="599" y="21"/>
                </a:lnTo>
                <a:lnTo>
                  <a:pt x="632" y="7"/>
                </a:lnTo>
                <a:lnTo>
                  <a:pt x="668" y="0"/>
                </a:lnTo>
                <a:close/>
              </a:path>
            </a:pathLst>
          </a:cu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algn="ctr"/>
            <a:endParaRPr lang="ru-RU" sz="1600" i="1" u="sng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sp>
        <p:nvSpPr>
          <p:cNvPr id="31" name="任意多边形: 形状 30"/>
          <p:cNvSpPr/>
          <p:nvPr/>
        </p:nvSpPr>
        <p:spPr>
          <a:xfrm>
            <a:off x="5863301" y="3406186"/>
            <a:ext cx="452698" cy="452029"/>
          </a:xfrm>
          <a:custGeom>
            <a:avLst/>
            <a:gdLst>
              <a:gd name="connsiteX0" fmla="*/ 414666 w 606487"/>
              <a:gd name="connsiteY0" fmla="*/ 244368 h 605592"/>
              <a:gd name="connsiteX1" fmla="*/ 440469 w 606487"/>
              <a:gd name="connsiteY1" fmla="*/ 270042 h 605592"/>
              <a:gd name="connsiteX2" fmla="*/ 440469 w 606487"/>
              <a:gd name="connsiteY2" fmla="*/ 381912 h 605592"/>
              <a:gd name="connsiteX3" fmla="*/ 414666 w 606487"/>
              <a:gd name="connsiteY3" fmla="*/ 407586 h 605592"/>
              <a:gd name="connsiteX4" fmla="*/ 388956 w 606487"/>
              <a:gd name="connsiteY4" fmla="*/ 381912 h 605592"/>
              <a:gd name="connsiteX5" fmla="*/ 388956 w 606487"/>
              <a:gd name="connsiteY5" fmla="*/ 270042 h 605592"/>
              <a:gd name="connsiteX6" fmla="*/ 414666 w 606487"/>
              <a:gd name="connsiteY6" fmla="*/ 244368 h 605592"/>
              <a:gd name="connsiteX7" fmla="*/ 302702 w 606487"/>
              <a:gd name="connsiteY7" fmla="*/ 167240 h 605592"/>
              <a:gd name="connsiteX8" fmla="*/ 328412 w 606487"/>
              <a:gd name="connsiteY8" fmla="*/ 192915 h 605592"/>
              <a:gd name="connsiteX9" fmla="*/ 328412 w 606487"/>
              <a:gd name="connsiteY9" fmla="*/ 381911 h 605592"/>
              <a:gd name="connsiteX10" fmla="*/ 302702 w 606487"/>
              <a:gd name="connsiteY10" fmla="*/ 407586 h 605592"/>
              <a:gd name="connsiteX11" fmla="*/ 276899 w 606487"/>
              <a:gd name="connsiteY11" fmla="*/ 381911 h 605592"/>
              <a:gd name="connsiteX12" fmla="*/ 276899 w 606487"/>
              <a:gd name="connsiteY12" fmla="*/ 192915 h 605592"/>
              <a:gd name="connsiteX13" fmla="*/ 302702 w 606487"/>
              <a:gd name="connsiteY13" fmla="*/ 167240 h 605592"/>
              <a:gd name="connsiteX14" fmla="*/ 190632 w 606487"/>
              <a:gd name="connsiteY14" fmla="*/ 107965 h 605592"/>
              <a:gd name="connsiteX15" fmla="*/ 216353 w 606487"/>
              <a:gd name="connsiteY15" fmla="*/ 133737 h 605592"/>
              <a:gd name="connsiteX16" fmla="*/ 216353 w 606487"/>
              <a:gd name="connsiteY16" fmla="*/ 381907 h 605592"/>
              <a:gd name="connsiteX17" fmla="*/ 190632 w 606487"/>
              <a:gd name="connsiteY17" fmla="*/ 407586 h 605592"/>
              <a:gd name="connsiteX18" fmla="*/ 164911 w 606487"/>
              <a:gd name="connsiteY18" fmla="*/ 381907 h 605592"/>
              <a:gd name="connsiteX19" fmla="*/ 164911 w 606487"/>
              <a:gd name="connsiteY19" fmla="*/ 133737 h 605592"/>
              <a:gd name="connsiteX20" fmla="*/ 190632 w 606487"/>
              <a:gd name="connsiteY20" fmla="*/ 107965 h 605592"/>
              <a:gd name="connsiteX21" fmla="*/ 86256 w 606487"/>
              <a:gd name="connsiteY21" fmla="*/ 51447 h 605592"/>
              <a:gd name="connsiteX22" fmla="*/ 86256 w 606487"/>
              <a:gd name="connsiteY22" fmla="*/ 464229 h 605592"/>
              <a:gd name="connsiteX23" fmla="*/ 517724 w 606487"/>
              <a:gd name="connsiteY23" fmla="*/ 464229 h 605592"/>
              <a:gd name="connsiteX24" fmla="*/ 517724 w 606487"/>
              <a:gd name="connsiteY24" fmla="*/ 51447 h 605592"/>
              <a:gd name="connsiteX25" fmla="*/ 25719 w 606487"/>
              <a:gd name="connsiteY25" fmla="*/ 0 h 605592"/>
              <a:gd name="connsiteX26" fmla="*/ 580861 w 606487"/>
              <a:gd name="connsiteY26" fmla="*/ 0 h 605592"/>
              <a:gd name="connsiteX27" fmla="*/ 606487 w 606487"/>
              <a:gd name="connsiteY27" fmla="*/ 25677 h 605592"/>
              <a:gd name="connsiteX28" fmla="*/ 579468 w 606487"/>
              <a:gd name="connsiteY28" fmla="*/ 51447 h 605592"/>
              <a:gd name="connsiteX29" fmla="*/ 569162 w 606487"/>
              <a:gd name="connsiteY29" fmla="*/ 51447 h 605592"/>
              <a:gd name="connsiteX30" fmla="*/ 569162 w 606487"/>
              <a:gd name="connsiteY30" fmla="*/ 488608 h 605592"/>
              <a:gd name="connsiteX31" fmla="*/ 543443 w 606487"/>
              <a:gd name="connsiteY31" fmla="*/ 514285 h 605592"/>
              <a:gd name="connsiteX32" fmla="*/ 476499 w 606487"/>
              <a:gd name="connsiteY32" fmla="*/ 514285 h 605592"/>
              <a:gd name="connsiteX33" fmla="*/ 476499 w 606487"/>
              <a:gd name="connsiteY33" fmla="*/ 579915 h 605592"/>
              <a:gd name="connsiteX34" fmla="*/ 450687 w 606487"/>
              <a:gd name="connsiteY34" fmla="*/ 605592 h 605592"/>
              <a:gd name="connsiteX35" fmla="*/ 424968 w 606487"/>
              <a:gd name="connsiteY35" fmla="*/ 579915 h 605592"/>
              <a:gd name="connsiteX36" fmla="*/ 424968 w 606487"/>
              <a:gd name="connsiteY36" fmla="*/ 514285 h 605592"/>
              <a:gd name="connsiteX37" fmla="*/ 180219 w 606487"/>
              <a:gd name="connsiteY37" fmla="*/ 514285 h 605592"/>
              <a:gd name="connsiteX38" fmla="*/ 180219 w 606487"/>
              <a:gd name="connsiteY38" fmla="*/ 579915 h 605592"/>
              <a:gd name="connsiteX39" fmla="*/ 154500 w 606487"/>
              <a:gd name="connsiteY39" fmla="*/ 605592 h 605592"/>
              <a:gd name="connsiteX40" fmla="*/ 128688 w 606487"/>
              <a:gd name="connsiteY40" fmla="*/ 579915 h 605592"/>
              <a:gd name="connsiteX41" fmla="*/ 128688 w 606487"/>
              <a:gd name="connsiteY41" fmla="*/ 514285 h 605592"/>
              <a:gd name="connsiteX42" fmla="*/ 61744 w 606487"/>
              <a:gd name="connsiteY42" fmla="*/ 514285 h 605592"/>
              <a:gd name="connsiteX43" fmla="*/ 36025 w 606487"/>
              <a:gd name="connsiteY43" fmla="*/ 488608 h 605592"/>
              <a:gd name="connsiteX44" fmla="*/ 36025 w 606487"/>
              <a:gd name="connsiteY44" fmla="*/ 51447 h 605592"/>
              <a:gd name="connsiteX45" fmla="*/ 25719 w 606487"/>
              <a:gd name="connsiteY45" fmla="*/ 51447 h 605592"/>
              <a:gd name="connsiteX46" fmla="*/ 0 w 606487"/>
              <a:gd name="connsiteY46" fmla="*/ 25677 h 605592"/>
              <a:gd name="connsiteX47" fmla="*/ 25719 w 606487"/>
              <a:gd name="connsiteY47" fmla="*/ 0 h 605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606487" h="605592">
                <a:moveTo>
                  <a:pt x="414666" y="244368"/>
                </a:moveTo>
                <a:cubicBezTo>
                  <a:pt x="428774" y="244368"/>
                  <a:pt x="440469" y="255954"/>
                  <a:pt x="440469" y="270042"/>
                </a:cubicBezTo>
                <a:lnTo>
                  <a:pt x="440469" y="381912"/>
                </a:lnTo>
                <a:cubicBezTo>
                  <a:pt x="439170" y="396000"/>
                  <a:pt x="428774" y="407586"/>
                  <a:pt x="414666" y="407586"/>
                </a:cubicBezTo>
                <a:cubicBezTo>
                  <a:pt x="400465" y="407586"/>
                  <a:pt x="388956" y="396000"/>
                  <a:pt x="388956" y="381912"/>
                </a:cubicBezTo>
                <a:lnTo>
                  <a:pt x="388956" y="270042"/>
                </a:lnTo>
                <a:cubicBezTo>
                  <a:pt x="388956" y="255954"/>
                  <a:pt x="400558" y="244368"/>
                  <a:pt x="414666" y="244368"/>
                </a:cubicBezTo>
                <a:close/>
                <a:moveTo>
                  <a:pt x="302702" y="167240"/>
                </a:moveTo>
                <a:cubicBezTo>
                  <a:pt x="316810" y="167240"/>
                  <a:pt x="328412" y="178826"/>
                  <a:pt x="328412" y="192915"/>
                </a:cubicBezTo>
                <a:lnTo>
                  <a:pt x="328412" y="381911"/>
                </a:lnTo>
                <a:cubicBezTo>
                  <a:pt x="328412" y="396000"/>
                  <a:pt x="316810" y="407586"/>
                  <a:pt x="302702" y="407586"/>
                </a:cubicBezTo>
                <a:cubicBezTo>
                  <a:pt x="288408" y="407586"/>
                  <a:pt x="276899" y="396000"/>
                  <a:pt x="276899" y="381911"/>
                </a:cubicBezTo>
                <a:lnTo>
                  <a:pt x="276899" y="192915"/>
                </a:lnTo>
                <a:cubicBezTo>
                  <a:pt x="276899" y="178826"/>
                  <a:pt x="288594" y="167240"/>
                  <a:pt x="302702" y="167240"/>
                </a:cubicBezTo>
                <a:close/>
                <a:moveTo>
                  <a:pt x="190632" y="107965"/>
                </a:moveTo>
                <a:cubicBezTo>
                  <a:pt x="204746" y="107965"/>
                  <a:pt x="216353" y="119646"/>
                  <a:pt x="216353" y="133737"/>
                </a:cubicBezTo>
                <a:lnTo>
                  <a:pt x="216353" y="381907"/>
                </a:lnTo>
                <a:cubicBezTo>
                  <a:pt x="216353" y="395998"/>
                  <a:pt x="204746" y="407586"/>
                  <a:pt x="190632" y="407586"/>
                </a:cubicBezTo>
                <a:cubicBezTo>
                  <a:pt x="176425" y="407586"/>
                  <a:pt x="164911" y="395998"/>
                  <a:pt x="164911" y="381907"/>
                </a:cubicBezTo>
                <a:lnTo>
                  <a:pt x="164911" y="133737"/>
                </a:lnTo>
                <a:cubicBezTo>
                  <a:pt x="164911" y="119646"/>
                  <a:pt x="176518" y="107965"/>
                  <a:pt x="190632" y="107965"/>
                </a:cubicBezTo>
                <a:close/>
                <a:moveTo>
                  <a:pt x="86256" y="51447"/>
                </a:moveTo>
                <a:lnTo>
                  <a:pt x="86256" y="464229"/>
                </a:lnTo>
                <a:lnTo>
                  <a:pt x="517724" y="464229"/>
                </a:lnTo>
                <a:lnTo>
                  <a:pt x="517724" y="51447"/>
                </a:lnTo>
                <a:close/>
                <a:moveTo>
                  <a:pt x="25719" y="0"/>
                </a:moveTo>
                <a:lnTo>
                  <a:pt x="580861" y="0"/>
                </a:lnTo>
                <a:cubicBezTo>
                  <a:pt x="594974" y="0"/>
                  <a:pt x="606580" y="11587"/>
                  <a:pt x="606487" y="25677"/>
                </a:cubicBezTo>
                <a:cubicBezTo>
                  <a:pt x="606487" y="39767"/>
                  <a:pt x="593581" y="51447"/>
                  <a:pt x="579468" y="51447"/>
                </a:cubicBezTo>
                <a:lnTo>
                  <a:pt x="569162" y="51447"/>
                </a:lnTo>
                <a:lnTo>
                  <a:pt x="569162" y="488608"/>
                </a:lnTo>
                <a:cubicBezTo>
                  <a:pt x="569162" y="503996"/>
                  <a:pt x="557556" y="514285"/>
                  <a:pt x="543443" y="514285"/>
                </a:cubicBezTo>
                <a:lnTo>
                  <a:pt x="476499" y="514285"/>
                </a:lnTo>
                <a:lnTo>
                  <a:pt x="476499" y="579915"/>
                </a:lnTo>
                <a:cubicBezTo>
                  <a:pt x="476499" y="594005"/>
                  <a:pt x="464800" y="605592"/>
                  <a:pt x="450687" y="605592"/>
                </a:cubicBezTo>
                <a:cubicBezTo>
                  <a:pt x="436574" y="605592"/>
                  <a:pt x="424968" y="594005"/>
                  <a:pt x="424968" y="579915"/>
                </a:cubicBezTo>
                <a:lnTo>
                  <a:pt x="424968" y="514285"/>
                </a:lnTo>
                <a:lnTo>
                  <a:pt x="180219" y="514285"/>
                </a:lnTo>
                <a:lnTo>
                  <a:pt x="180219" y="579915"/>
                </a:lnTo>
                <a:cubicBezTo>
                  <a:pt x="180219" y="594005"/>
                  <a:pt x="168613" y="605592"/>
                  <a:pt x="154500" y="605592"/>
                </a:cubicBezTo>
                <a:cubicBezTo>
                  <a:pt x="140387" y="605592"/>
                  <a:pt x="128688" y="594005"/>
                  <a:pt x="128688" y="579915"/>
                </a:cubicBezTo>
                <a:lnTo>
                  <a:pt x="128688" y="514285"/>
                </a:lnTo>
                <a:lnTo>
                  <a:pt x="61744" y="514285"/>
                </a:lnTo>
                <a:cubicBezTo>
                  <a:pt x="47631" y="514285"/>
                  <a:pt x="36025" y="502698"/>
                  <a:pt x="36025" y="488608"/>
                </a:cubicBezTo>
                <a:lnTo>
                  <a:pt x="36025" y="51447"/>
                </a:lnTo>
                <a:lnTo>
                  <a:pt x="25719" y="51447"/>
                </a:lnTo>
                <a:cubicBezTo>
                  <a:pt x="11606" y="51447"/>
                  <a:pt x="0" y="39767"/>
                  <a:pt x="0" y="25677"/>
                </a:cubicBezTo>
                <a:cubicBezTo>
                  <a:pt x="0" y="11587"/>
                  <a:pt x="11606" y="0"/>
                  <a:pt x="25719" y="0"/>
                </a:cubicBezTo>
                <a:close/>
              </a:path>
            </a:pathLst>
          </a:custGeom>
          <a:solidFill>
            <a:schemeClr val="accent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28" name="任意多边形: 形状 27"/>
          <p:cNvSpPr/>
          <p:nvPr/>
        </p:nvSpPr>
        <p:spPr bwMode="auto">
          <a:xfrm>
            <a:off x="7749240" y="3113430"/>
            <a:ext cx="935086" cy="1037540"/>
          </a:xfrm>
          <a:custGeom>
            <a:avLst/>
            <a:gdLst>
              <a:gd name="T0" fmla="*/ 668 w 1369"/>
              <a:gd name="T1" fmla="*/ 0 h 1519"/>
              <a:gd name="T2" fmla="*/ 702 w 1369"/>
              <a:gd name="T3" fmla="*/ 0 h 1519"/>
              <a:gd name="T4" fmla="*/ 736 w 1369"/>
              <a:gd name="T5" fmla="*/ 7 h 1519"/>
              <a:gd name="T6" fmla="*/ 768 w 1369"/>
              <a:gd name="T7" fmla="*/ 21 h 1519"/>
              <a:gd name="T8" fmla="*/ 1284 w 1369"/>
              <a:gd name="T9" fmla="*/ 318 h 1519"/>
              <a:gd name="T10" fmla="*/ 1313 w 1369"/>
              <a:gd name="T11" fmla="*/ 339 h 1519"/>
              <a:gd name="T12" fmla="*/ 1337 w 1369"/>
              <a:gd name="T13" fmla="*/ 364 h 1519"/>
              <a:gd name="T14" fmla="*/ 1354 w 1369"/>
              <a:gd name="T15" fmla="*/ 395 h 1519"/>
              <a:gd name="T16" fmla="*/ 1364 w 1369"/>
              <a:gd name="T17" fmla="*/ 429 h 1519"/>
              <a:gd name="T18" fmla="*/ 1369 w 1369"/>
              <a:gd name="T19" fmla="*/ 465 h 1519"/>
              <a:gd name="T20" fmla="*/ 1369 w 1369"/>
              <a:gd name="T21" fmla="*/ 1054 h 1519"/>
              <a:gd name="T22" fmla="*/ 1364 w 1369"/>
              <a:gd name="T23" fmla="*/ 1090 h 1519"/>
              <a:gd name="T24" fmla="*/ 1354 w 1369"/>
              <a:gd name="T25" fmla="*/ 1124 h 1519"/>
              <a:gd name="T26" fmla="*/ 1337 w 1369"/>
              <a:gd name="T27" fmla="*/ 1154 h 1519"/>
              <a:gd name="T28" fmla="*/ 1313 w 1369"/>
              <a:gd name="T29" fmla="*/ 1181 h 1519"/>
              <a:gd name="T30" fmla="*/ 1284 w 1369"/>
              <a:gd name="T31" fmla="*/ 1201 h 1519"/>
              <a:gd name="T32" fmla="*/ 768 w 1369"/>
              <a:gd name="T33" fmla="*/ 1497 h 1519"/>
              <a:gd name="T34" fmla="*/ 736 w 1369"/>
              <a:gd name="T35" fmla="*/ 1512 h 1519"/>
              <a:gd name="T36" fmla="*/ 702 w 1369"/>
              <a:gd name="T37" fmla="*/ 1519 h 1519"/>
              <a:gd name="T38" fmla="*/ 668 w 1369"/>
              <a:gd name="T39" fmla="*/ 1519 h 1519"/>
              <a:gd name="T40" fmla="*/ 632 w 1369"/>
              <a:gd name="T41" fmla="*/ 1512 h 1519"/>
              <a:gd name="T42" fmla="*/ 599 w 1369"/>
              <a:gd name="T43" fmla="*/ 1497 h 1519"/>
              <a:gd name="T44" fmla="*/ 85 w 1369"/>
              <a:gd name="T45" fmla="*/ 1201 h 1519"/>
              <a:gd name="T46" fmla="*/ 56 w 1369"/>
              <a:gd name="T47" fmla="*/ 1181 h 1519"/>
              <a:gd name="T48" fmla="*/ 32 w 1369"/>
              <a:gd name="T49" fmla="*/ 1154 h 1519"/>
              <a:gd name="T50" fmla="*/ 15 w 1369"/>
              <a:gd name="T51" fmla="*/ 1124 h 1519"/>
              <a:gd name="T52" fmla="*/ 3 w 1369"/>
              <a:gd name="T53" fmla="*/ 1090 h 1519"/>
              <a:gd name="T54" fmla="*/ 0 w 1369"/>
              <a:gd name="T55" fmla="*/ 1054 h 1519"/>
              <a:gd name="T56" fmla="*/ 0 w 1369"/>
              <a:gd name="T57" fmla="*/ 465 h 1519"/>
              <a:gd name="T58" fmla="*/ 3 w 1369"/>
              <a:gd name="T59" fmla="*/ 429 h 1519"/>
              <a:gd name="T60" fmla="*/ 15 w 1369"/>
              <a:gd name="T61" fmla="*/ 395 h 1519"/>
              <a:gd name="T62" fmla="*/ 32 w 1369"/>
              <a:gd name="T63" fmla="*/ 364 h 1519"/>
              <a:gd name="T64" fmla="*/ 56 w 1369"/>
              <a:gd name="T65" fmla="*/ 339 h 1519"/>
              <a:gd name="T66" fmla="*/ 85 w 1369"/>
              <a:gd name="T67" fmla="*/ 318 h 1519"/>
              <a:gd name="T68" fmla="*/ 599 w 1369"/>
              <a:gd name="T69" fmla="*/ 21 h 1519"/>
              <a:gd name="T70" fmla="*/ 632 w 1369"/>
              <a:gd name="T71" fmla="*/ 7 h 1519"/>
              <a:gd name="T72" fmla="*/ 668 w 1369"/>
              <a:gd name="T73" fmla="*/ 0 h 15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369" h="1519">
                <a:moveTo>
                  <a:pt x="668" y="0"/>
                </a:moveTo>
                <a:lnTo>
                  <a:pt x="702" y="0"/>
                </a:lnTo>
                <a:lnTo>
                  <a:pt x="736" y="7"/>
                </a:lnTo>
                <a:lnTo>
                  <a:pt x="768" y="21"/>
                </a:lnTo>
                <a:lnTo>
                  <a:pt x="1284" y="318"/>
                </a:lnTo>
                <a:lnTo>
                  <a:pt x="1313" y="339"/>
                </a:lnTo>
                <a:lnTo>
                  <a:pt x="1337" y="364"/>
                </a:lnTo>
                <a:lnTo>
                  <a:pt x="1354" y="395"/>
                </a:lnTo>
                <a:lnTo>
                  <a:pt x="1364" y="429"/>
                </a:lnTo>
                <a:lnTo>
                  <a:pt x="1369" y="465"/>
                </a:lnTo>
                <a:lnTo>
                  <a:pt x="1369" y="1054"/>
                </a:lnTo>
                <a:lnTo>
                  <a:pt x="1364" y="1090"/>
                </a:lnTo>
                <a:lnTo>
                  <a:pt x="1354" y="1124"/>
                </a:lnTo>
                <a:lnTo>
                  <a:pt x="1337" y="1154"/>
                </a:lnTo>
                <a:lnTo>
                  <a:pt x="1313" y="1181"/>
                </a:lnTo>
                <a:lnTo>
                  <a:pt x="1284" y="1201"/>
                </a:lnTo>
                <a:lnTo>
                  <a:pt x="768" y="1497"/>
                </a:lnTo>
                <a:lnTo>
                  <a:pt x="736" y="1512"/>
                </a:lnTo>
                <a:lnTo>
                  <a:pt x="702" y="1519"/>
                </a:lnTo>
                <a:lnTo>
                  <a:pt x="668" y="1519"/>
                </a:lnTo>
                <a:lnTo>
                  <a:pt x="632" y="1512"/>
                </a:lnTo>
                <a:lnTo>
                  <a:pt x="599" y="1497"/>
                </a:lnTo>
                <a:lnTo>
                  <a:pt x="85" y="1201"/>
                </a:lnTo>
                <a:lnTo>
                  <a:pt x="56" y="1181"/>
                </a:lnTo>
                <a:lnTo>
                  <a:pt x="32" y="1154"/>
                </a:lnTo>
                <a:lnTo>
                  <a:pt x="15" y="1124"/>
                </a:lnTo>
                <a:lnTo>
                  <a:pt x="3" y="1090"/>
                </a:lnTo>
                <a:lnTo>
                  <a:pt x="0" y="1054"/>
                </a:lnTo>
                <a:lnTo>
                  <a:pt x="0" y="465"/>
                </a:lnTo>
                <a:lnTo>
                  <a:pt x="3" y="429"/>
                </a:lnTo>
                <a:lnTo>
                  <a:pt x="15" y="395"/>
                </a:lnTo>
                <a:lnTo>
                  <a:pt x="32" y="364"/>
                </a:lnTo>
                <a:lnTo>
                  <a:pt x="56" y="339"/>
                </a:lnTo>
                <a:lnTo>
                  <a:pt x="85" y="318"/>
                </a:lnTo>
                <a:lnTo>
                  <a:pt x="599" y="21"/>
                </a:lnTo>
                <a:lnTo>
                  <a:pt x="632" y="7"/>
                </a:lnTo>
                <a:lnTo>
                  <a:pt x="668" y="0"/>
                </a:lnTo>
                <a:close/>
              </a:path>
            </a:pathLst>
          </a:cu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 lang="ru-RU" sz="1600" i="1" u="sng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sp>
        <p:nvSpPr>
          <p:cNvPr id="29" name="任意多边形: 形状 28"/>
          <p:cNvSpPr/>
          <p:nvPr/>
        </p:nvSpPr>
        <p:spPr>
          <a:xfrm>
            <a:off x="8007098" y="3405851"/>
            <a:ext cx="419368" cy="452698"/>
          </a:xfrm>
          <a:custGeom>
            <a:avLst/>
            <a:gdLst>
              <a:gd name="connsiteX0" fmla="*/ 250789 w 563817"/>
              <a:gd name="connsiteY0" fmla="*/ 546529 h 608627"/>
              <a:gd name="connsiteX1" fmla="*/ 313028 w 563817"/>
              <a:gd name="connsiteY1" fmla="*/ 546529 h 608627"/>
              <a:gd name="connsiteX2" fmla="*/ 313028 w 563817"/>
              <a:gd name="connsiteY2" fmla="*/ 577578 h 608627"/>
              <a:gd name="connsiteX3" fmla="*/ 281909 w 563817"/>
              <a:gd name="connsiteY3" fmla="*/ 608627 h 608627"/>
              <a:gd name="connsiteX4" fmla="*/ 250789 w 563817"/>
              <a:gd name="connsiteY4" fmla="*/ 577578 h 608627"/>
              <a:gd name="connsiteX5" fmla="*/ 464320 w 563817"/>
              <a:gd name="connsiteY5" fmla="*/ 405681 h 608627"/>
              <a:gd name="connsiteX6" fmla="*/ 526488 w 563817"/>
              <a:gd name="connsiteY6" fmla="*/ 405681 h 608627"/>
              <a:gd name="connsiteX7" fmla="*/ 526488 w 563817"/>
              <a:gd name="connsiteY7" fmla="*/ 577572 h 608627"/>
              <a:gd name="connsiteX8" fmla="*/ 495404 w 563817"/>
              <a:gd name="connsiteY8" fmla="*/ 608627 h 608627"/>
              <a:gd name="connsiteX9" fmla="*/ 464320 w 563817"/>
              <a:gd name="connsiteY9" fmla="*/ 577572 h 608627"/>
              <a:gd name="connsiteX10" fmla="*/ 233217 w 563817"/>
              <a:gd name="connsiteY10" fmla="*/ 343583 h 608627"/>
              <a:gd name="connsiteX11" fmla="*/ 330600 w 563817"/>
              <a:gd name="connsiteY11" fmla="*/ 343583 h 608627"/>
              <a:gd name="connsiteX12" fmla="*/ 350357 w 563817"/>
              <a:gd name="connsiteY12" fmla="*/ 363308 h 608627"/>
              <a:gd name="connsiteX13" fmla="*/ 350357 w 563817"/>
              <a:gd name="connsiteY13" fmla="*/ 485538 h 608627"/>
              <a:gd name="connsiteX14" fmla="*/ 330600 w 563817"/>
              <a:gd name="connsiteY14" fmla="*/ 505107 h 608627"/>
              <a:gd name="connsiteX15" fmla="*/ 233217 w 563817"/>
              <a:gd name="connsiteY15" fmla="*/ 505107 h 608627"/>
              <a:gd name="connsiteX16" fmla="*/ 213460 w 563817"/>
              <a:gd name="connsiteY16" fmla="*/ 485538 h 608627"/>
              <a:gd name="connsiteX17" fmla="*/ 213460 w 563817"/>
              <a:gd name="connsiteY17" fmla="*/ 363308 h 608627"/>
              <a:gd name="connsiteX18" fmla="*/ 233217 w 563817"/>
              <a:gd name="connsiteY18" fmla="*/ 343583 h 608627"/>
              <a:gd name="connsiteX19" fmla="*/ 37329 w 563817"/>
              <a:gd name="connsiteY19" fmla="*/ 314722 h 608627"/>
              <a:gd name="connsiteX20" fmla="*/ 99497 w 563817"/>
              <a:gd name="connsiteY20" fmla="*/ 314722 h 608627"/>
              <a:gd name="connsiteX21" fmla="*/ 99497 w 563817"/>
              <a:gd name="connsiteY21" fmla="*/ 577575 h 608627"/>
              <a:gd name="connsiteX22" fmla="*/ 68413 w 563817"/>
              <a:gd name="connsiteY22" fmla="*/ 608627 h 608627"/>
              <a:gd name="connsiteX23" fmla="*/ 37329 w 563817"/>
              <a:gd name="connsiteY23" fmla="*/ 577575 h 608627"/>
              <a:gd name="connsiteX24" fmla="*/ 446737 w 563817"/>
              <a:gd name="connsiteY24" fmla="*/ 202946 h 608627"/>
              <a:gd name="connsiteX25" fmla="*/ 544226 w 563817"/>
              <a:gd name="connsiteY25" fmla="*/ 202946 h 608627"/>
              <a:gd name="connsiteX26" fmla="*/ 563817 w 563817"/>
              <a:gd name="connsiteY26" fmla="*/ 222507 h 608627"/>
              <a:gd name="connsiteX27" fmla="*/ 563817 w 563817"/>
              <a:gd name="connsiteY27" fmla="*/ 344684 h 608627"/>
              <a:gd name="connsiteX28" fmla="*/ 544226 w 563817"/>
              <a:gd name="connsiteY28" fmla="*/ 364400 h 608627"/>
              <a:gd name="connsiteX29" fmla="*/ 446737 w 563817"/>
              <a:gd name="connsiteY29" fmla="*/ 364400 h 608627"/>
              <a:gd name="connsiteX30" fmla="*/ 426991 w 563817"/>
              <a:gd name="connsiteY30" fmla="*/ 344684 h 608627"/>
              <a:gd name="connsiteX31" fmla="*/ 426991 w 563817"/>
              <a:gd name="connsiteY31" fmla="*/ 222507 h 608627"/>
              <a:gd name="connsiteX32" fmla="*/ 446737 w 563817"/>
              <a:gd name="connsiteY32" fmla="*/ 202946 h 608627"/>
              <a:gd name="connsiteX33" fmla="*/ 19591 w 563817"/>
              <a:gd name="connsiteY33" fmla="*/ 111776 h 608627"/>
              <a:gd name="connsiteX34" fmla="*/ 117080 w 563817"/>
              <a:gd name="connsiteY34" fmla="*/ 111776 h 608627"/>
              <a:gd name="connsiteX35" fmla="*/ 136826 w 563817"/>
              <a:gd name="connsiteY35" fmla="*/ 131501 h 608627"/>
              <a:gd name="connsiteX36" fmla="*/ 136826 w 563817"/>
              <a:gd name="connsiteY36" fmla="*/ 253576 h 608627"/>
              <a:gd name="connsiteX37" fmla="*/ 117080 w 563817"/>
              <a:gd name="connsiteY37" fmla="*/ 273300 h 608627"/>
              <a:gd name="connsiteX38" fmla="*/ 19591 w 563817"/>
              <a:gd name="connsiteY38" fmla="*/ 273300 h 608627"/>
              <a:gd name="connsiteX39" fmla="*/ 0 w 563817"/>
              <a:gd name="connsiteY39" fmla="*/ 253576 h 608627"/>
              <a:gd name="connsiteX40" fmla="*/ 0 w 563817"/>
              <a:gd name="connsiteY40" fmla="*/ 131501 h 608627"/>
              <a:gd name="connsiteX41" fmla="*/ 19591 w 563817"/>
              <a:gd name="connsiteY41" fmla="*/ 111776 h 608627"/>
              <a:gd name="connsiteX42" fmla="*/ 495404 w 563817"/>
              <a:gd name="connsiteY42" fmla="*/ 0 h 608627"/>
              <a:gd name="connsiteX43" fmla="*/ 526488 w 563817"/>
              <a:gd name="connsiteY43" fmla="*/ 31049 h 608627"/>
              <a:gd name="connsiteX44" fmla="*/ 526488 w 563817"/>
              <a:gd name="connsiteY44" fmla="*/ 161454 h 608627"/>
              <a:gd name="connsiteX45" fmla="*/ 464320 w 563817"/>
              <a:gd name="connsiteY45" fmla="*/ 161454 h 608627"/>
              <a:gd name="connsiteX46" fmla="*/ 464320 w 563817"/>
              <a:gd name="connsiteY46" fmla="*/ 31049 h 608627"/>
              <a:gd name="connsiteX47" fmla="*/ 495404 w 563817"/>
              <a:gd name="connsiteY47" fmla="*/ 0 h 608627"/>
              <a:gd name="connsiteX48" fmla="*/ 281909 w 563817"/>
              <a:gd name="connsiteY48" fmla="*/ 0 h 608627"/>
              <a:gd name="connsiteX49" fmla="*/ 313028 w 563817"/>
              <a:gd name="connsiteY49" fmla="*/ 31053 h 608627"/>
              <a:gd name="connsiteX50" fmla="*/ 313028 w 563817"/>
              <a:gd name="connsiteY50" fmla="*/ 302302 h 608627"/>
              <a:gd name="connsiteX51" fmla="*/ 250789 w 563817"/>
              <a:gd name="connsiteY51" fmla="*/ 302302 h 608627"/>
              <a:gd name="connsiteX52" fmla="*/ 250789 w 563817"/>
              <a:gd name="connsiteY52" fmla="*/ 31053 h 608627"/>
              <a:gd name="connsiteX53" fmla="*/ 281909 w 563817"/>
              <a:gd name="connsiteY53" fmla="*/ 0 h 608627"/>
              <a:gd name="connsiteX54" fmla="*/ 68413 w 563817"/>
              <a:gd name="connsiteY54" fmla="*/ 0 h 608627"/>
              <a:gd name="connsiteX55" fmla="*/ 99497 w 563817"/>
              <a:gd name="connsiteY55" fmla="*/ 31061 h 608627"/>
              <a:gd name="connsiteX56" fmla="*/ 99497 w 563817"/>
              <a:gd name="connsiteY56" fmla="*/ 70354 h 608627"/>
              <a:gd name="connsiteX57" fmla="*/ 37329 w 563817"/>
              <a:gd name="connsiteY57" fmla="*/ 70354 h 608627"/>
              <a:gd name="connsiteX58" fmla="*/ 37329 w 563817"/>
              <a:gd name="connsiteY58" fmla="*/ 31061 h 608627"/>
              <a:gd name="connsiteX59" fmla="*/ 68413 w 563817"/>
              <a:gd name="connsiteY59" fmla="*/ 0 h 6086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563817" h="608627">
                <a:moveTo>
                  <a:pt x="250789" y="546529"/>
                </a:moveTo>
                <a:lnTo>
                  <a:pt x="313028" y="546529"/>
                </a:lnTo>
                <a:lnTo>
                  <a:pt x="313028" y="577578"/>
                </a:lnTo>
                <a:cubicBezTo>
                  <a:pt x="313028" y="594655"/>
                  <a:pt x="299024" y="608627"/>
                  <a:pt x="281909" y="608627"/>
                </a:cubicBezTo>
                <a:cubicBezTo>
                  <a:pt x="264793" y="608627"/>
                  <a:pt x="250789" y="594655"/>
                  <a:pt x="250789" y="577578"/>
                </a:cubicBezTo>
                <a:close/>
                <a:moveTo>
                  <a:pt x="464320" y="405681"/>
                </a:moveTo>
                <a:lnTo>
                  <a:pt x="526488" y="405681"/>
                </a:lnTo>
                <a:lnTo>
                  <a:pt x="526488" y="577572"/>
                </a:lnTo>
                <a:cubicBezTo>
                  <a:pt x="526488" y="594652"/>
                  <a:pt x="512656" y="608627"/>
                  <a:pt x="495404" y="608627"/>
                </a:cubicBezTo>
                <a:cubicBezTo>
                  <a:pt x="478308" y="608627"/>
                  <a:pt x="464320" y="594652"/>
                  <a:pt x="464320" y="577572"/>
                </a:cubicBezTo>
                <a:close/>
                <a:moveTo>
                  <a:pt x="233217" y="343583"/>
                </a:moveTo>
                <a:lnTo>
                  <a:pt x="330600" y="343583"/>
                </a:lnTo>
                <a:cubicBezTo>
                  <a:pt x="341490" y="343583"/>
                  <a:pt x="350357" y="352436"/>
                  <a:pt x="350357" y="363308"/>
                </a:cubicBezTo>
                <a:lnTo>
                  <a:pt x="350357" y="485538"/>
                </a:lnTo>
                <a:cubicBezTo>
                  <a:pt x="350357" y="496410"/>
                  <a:pt x="341490" y="505107"/>
                  <a:pt x="330600" y="505107"/>
                </a:cubicBezTo>
                <a:lnTo>
                  <a:pt x="233217" y="505107"/>
                </a:lnTo>
                <a:cubicBezTo>
                  <a:pt x="222327" y="505107"/>
                  <a:pt x="213460" y="496410"/>
                  <a:pt x="213460" y="485538"/>
                </a:cubicBezTo>
                <a:lnTo>
                  <a:pt x="213460" y="363308"/>
                </a:lnTo>
                <a:cubicBezTo>
                  <a:pt x="213460" y="352436"/>
                  <a:pt x="222327" y="343583"/>
                  <a:pt x="233217" y="343583"/>
                </a:cubicBezTo>
                <a:close/>
                <a:moveTo>
                  <a:pt x="37329" y="314722"/>
                </a:moveTo>
                <a:lnTo>
                  <a:pt x="99497" y="314722"/>
                </a:lnTo>
                <a:lnTo>
                  <a:pt x="99497" y="577575"/>
                </a:lnTo>
                <a:cubicBezTo>
                  <a:pt x="99497" y="594654"/>
                  <a:pt x="85509" y="608627"/>
                  <a:pt x="68413" y="608627"/>
                </a:cubicBezTo>
                <a:cubicBezTo>
                  <a:pt x="51161" y="608627"/>
                  <a:pt x="37329" y="594654"/>
                  <a:pt x="37329" y="577575"/>
                </a:cubicBezTo>
                <a:close/>
                <a:moveTo>
                  <a:pt x="446737" y="202946"/>
                </a:moveTo>
                <a:lnTo>
                  <a:pt x="544226" y="202946"/>
                </a:lnTo>
                <a:cubicBezTo>
                  <a:pt x="555110" y="202946"/>
                  <a:pt x="563817" y="211640"/>
                  <a:pt x="563817" y="222507"/>
                </a:cubicBezTo>
                <a:lnTo>
                  <a:pt x="563817" y="344684"/>
                </a:lnTo>
                <a:cubicBezTo>
                  <a:pt x="563817" y="355551"/>
                  <a:pt x="555110" y="364400"/>
                  <a:pt x="544226" y="364400"/>
                </a:cubicBezTo>
                <a:lnTo>
                  <a:pt x="446737" y="364400"/>
                </a:lnTo>
                <a:cubicBezTo>
                  <a:pt x="435854" y="364400"/>
                  <a:pt x="426991" y="355551"/>
                  <a:pt x="426991" y="344684"/>
                </a:cubicBezTo>
                <a:lnTo>
                  <a:pt x="426991" y="222507"/>
                </a:lnTo>
                <a:cubicBezTo>
                  <a:pt x="426991" y="211640"/>
                  <a:pt x="435854" y="202946"/>
                  <a:pt x="446737" y="202946"/>
                </a:cubicBezTo>
                <a:close/>
                <a:moveTo>
                  <a:pt x="19591" y="111776"/>
                </a:moveTo>
                <a:lnTo>
                  <a:pt x="117080" y="111776"/>
                </a:lnTo>
                <a:cubicBezTo>
                  <a:pt x="127963" y="111776"/>
                  <a:pt x="136826" y="120629"/>
                  <a:pt x="136826" y="131501"/>
                </a:cubicBezTo>
                <a:lnTo>
                  <a:pt x="136826" y="253576"/>
                </a:lnTo>
                <a:cubicBezTo>
                  <a:pt x="136826" y="264447"/>
                  <a:pt x="127963" y="273300"/>
                  <a:pt x="117080" y="273300"/>
                </a:cubicBezTo>
                <a:lnTo>
                  <a:pt x="19591" y="273300"/>
                </a:lnTo>
                <a:cubicBezTo>
                  <a:pt x="8707" y="273300"/>
                  <a:pt x="0" y="264447"/>
                  <a:pt x="0" y="253576"/>
                </a:cubicBezTo>
                <a:lnTo>
                  <a:pt x="0" y="131501"/>
                </a:lnTo>
                <a:cubicBezTo>
                  <a:pt x="0" y="120629"/>
                  <a:pt x="8707" y="111776"/>
                  <a:pt x="19591" y="111776"/>
                </a:cubicBezTo>
                <a:close/>
                <a:moveTo>
                  <a:pt x="495404" y="0"/>
                </a:moveTo>
                <a:cubicBezTo>
                  <a:pt x="512656" y="0"/>
                  <a:pt x="526488" y="13972"/>
                  <a:pt x="526488" y="31049"/>
                </a:cubicBezTo>
                <a:lnTo>
                  <a:pt x="526488" y="161454"/>
                </a:lnTo>
                <a:lnTo>
                  <a:pt x="464320" y="161454"/>
                </a:lnTo>
                <a:lnTo>
                  <a:pt x="464320" y="31049"/>
                </a:lnTo>
                <a:cubicBezTo>
                  <a:pt x="464320" y="13972"/>
                  <a:pt x="478308" y="0"/>
                  <a:pt x="495404" y="0"/>
                </a:cubicBezTo>
                <a:close/>
                <a:moveTo>
                  <a:pt x="281909" y="0"/>
                </a:moveTo>
                <a:cubicBezTo>
                  <a:pt x="299024" y="0"/>
                  <a:pt x="313028" y="13974"/>
                  <a:pt x="313028" y="31053"/>
                </a:cubicBezTo>
                <a:lnTo>
                  <a:pt x="313028" y="302302"/>
                </a:lnTo>
                <a:lnTo>
                  <a:pt x="250789" y="302302"/>
                </a:lnTo>
                <a:lnTo>
                  <a:pt x="250789" y="31053"/>
                </a:lnTo>
                <a:cubicBezTo>
                  <a:pt x="250789" y="13974"/>
                  <a:pt x="264793" y="0"/>
                  <a:pt x="281909" y="0"/>
                </a:cubicBezTo>
                <a:close/>
                <a:moveTo>
                  <a:pt x="68413" y="0"/>
                </a:moveTo>
                <a:cubicBezTo>
                  <a:pt x="85509" y="0"/>
                  <a:pt x="99497" y="13978"/>
                  <a:pt x="99497" y="31061"/>
                </a:cubicBezTo>
                <a:lnTo>
                  <a:pt x="99497" y="70354"/>
                </a:lnTo>
                <a:lnTo>
                  <a:pt x="37329" y="70354"/>
                </a:lnTo>
                <a:lnTo>
                  <a:pt x="37329" y="31061"/>
                </a:lnTo>
                <a:cubicBezTo>
                  <a:pt x="37329" y="13978"/>
                  <a:pt x="51161" y="0"/>
                  <a:pt x="68413" y="0"/>
                </a:cubicBezTo>
                <a:close/>
              </a:path>
            </a:pathLst>
          </a:custGeom>
          <a:solidFill>
            <a:schemeClr val="accent2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9876373" y="3113430"/>
            <a:ext cx="935086" cy="1037540"/>
          </a:xfrm>
          <a:custGeom>
            <a:avLst/>
            <a:gdLst>
              <a:gd name="T0" fmla="*/ 668 w 1369"/>
              <a:gd name="T1" fmla="*/ 0 h 1519"/>
              <a:gd name="T2" fmla="*/ 702 w 1369"/>
              <a:gd name="T3" fmla="*/ 0 h 1519"/>
              <a:gd name="T4" fmla="*/ 736 w 1369"/>
              <a:gd name="T5" fmla="*/ 7 h 1519"/>
              <a:gd name="T6" fmla="*/ 768 w 1369"/>
              <a:gd name="T7" fmla="*/ 21 h 1519"/>
              <a:gd name="T8" fmla="*/ 1284 w 1369"/>
              <a:gd name="T9" fmla="*/ 318 h 1519"/>
              <a:gd name="T10" fmla="*/ 1313 w 1369"/>
              <a:gd name="T11" fmla="*/ 339 h 1519"/>
              <a:gd name="T12" fmla="*/ 1337 w 1369"/>
              <a:gd name="T13" fmla="*/ 364 h 1519"/>
              <a:gd name="T14" fmla="*/ 1354 w 1369"/>
              <a:gd name="T15" fmla="*/ 395 h 1519"/>
              <a:gd name="T16" fmla="*/ 1364 w 1369"/>
              <a:gd name="T17" fmla="*/ 429 h 1519"/>
              <a:gd name="T18" fmla="*/ 1369 w 1369"/>
              <a:gd name="T19" fmla="*/ 465 h 1519"/>
              <a:gd name="T20" fmla="*/ 1369 w 1369"/>
              <a:gd name="T21" fmla="*/ 1054 h 1519"/>
              <a:gd name="T22" fmla="*/ 1364 w 1369"/>
              <a:gd name="T23" fmla="*/ 1090 h 1519"/>
              <a:gd name="T24" fmla="*/ 1354 w 1369"/>
              <a:gd name="T25" fmla="*/ 1124 h 1519"/>
              <a:gd name="T26" fmla="*/ 1337 w 1369"/>
              <a:gd name="T27" fmla="*/ 1154 h 1519"/>
              <a:gd name="T28" fmla="*/ 1313 w 1369"/>
              <a:gd name="T29" fmla="*/ 1181 h 1519"/>
              <a:gd name="T30" fmla="*/ 1284 w 1369"/>
              <a:gd name="T31" fmla="*/ 1201 h 1519"/>
              <a:gd name="T32" fmla="*/ 768 w 1369"/>
              <a:gd name="T33" fmla="*/ 1497 h 1519"/>
              <a:gd name="T34" fmla="*/ 736 w 1369"/>
              <a:gd name="T35" fmla="*/ 1512 h 1519"/>
              <a:gd name="T36" fmla="*/ 702 w 1369"/>
              <a:gd name="T37" fmla="*/ 1519 h 1519"/>
              <a:gd name="T38" fmla="*/ 668 w 1369"/>
              <a:gd name="T39" fmla="*/ 1519 h 1519"/>
              <a:gd name="T40" fmla="*/ 632 w 1369"/>
              <a:gd name="T41" fmla="*/ 1512 h 1519"/>
              <a:gd name="T42" fmla="*/ 599 w 1369"/>
              <a:gd name="T43" fmla="*/ 1497 h 1519"/>
              <a:gd name="T44" fmla="*/ 85 w 1369"/>
              <a:gd name="T45" fmla="*/ 1201 h 1519"/>
              <a:gd name="T46" fmla="*/ 56 w 1369"/>
              <a:gd name="T47" fmla="*/ 1181 h 1519"/>
              <a:gd name="T48" fmla="*/ 32 w 1369"/>
              <a:gd name="T49" fmla="*/ 1154 h 1519"/>
              <a:gd name="T50" fmla="*/ 15 w 1369"/>
              <a:gd name="T51" fmla="*/ 1124 h 1519"/>
              <a:gd name="T52" fmla="*/ 3 w 1369"/>
              <a:gd name="T53" fmla="*/ 1090 h 1519"/>
              <a:gd name="T54" fmla="*/ 0 w 1369"/>
              <a:gd name="T55" fmla="*/ 1054 h 1519"/>
              <a:gd name="T56" fmla="*/ 0 w 1369"/>
              <a:gd name="T57" fmla="*/ 465 h 1519"/>
              <a:gd name="T58" fmla="*/ 3 w 1369"/>
              <a:gd name="T59" fmla="*/ 429 h 1519"/>
              <a:gd name="T60" fmla="*/ 15 w 1369"/>
              <a:gd name="T61" fmla="*/ 395 h 1519"/>
              <a:gd name="T62" fmla="*/ 32 w 1369"/>
              <a:gd name="T63" fmla="*/ 364 h 1519"/>
              <a:gd name="T64" fmla="*/ 56 w 1369"/>
              <a:gd name="T65" fmla="*/ 339 h 1519"/>
              <a:gd name="T66" fmla="*/ 85 w 1369"/>
              <a:gd name="T67" fmla="*/ 318 h 1519"/>
              <a:gd name="T68" fmla="*/ 599 w 1369"/>
              <a:gd name="T69" fmla="*/ 21 h 1519"/>
              <a:gd name="T70" fmla="*/ 632 w 1369"/>
              <a:gd name="T71" fmla="*/ 7 h 1519"/>
              <a:gd name="T72" fmla="*/ 668 w 1369"/>
              <a:gd name="T73" fmla="*/ 0 h 15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369" h="1519">
                <a:moveTo>
                  <a:pt x="668" y="0"/>
                </a:moveTo>
                <a:lnTo>
                  <a:pt x="702" y="0"/>
                </a:lnTo>
                <a:lnTo>
                  <a:pt x="736" y="7"/>
                </a:lnTo>
                <a:lnTo>
                  <a:pt x="768" y="21"/>
                </a:lnTo>
                <a:lnTo>
                  <a:pt x="1284" y="318"/>
                </a:lnTo>
                <a:lnTo>
                  <a:pt x="1313" y="339"/>
                </a:lnTo>
                <a:lnTo>
                  <a:pt x="1337" y="364"/>
                </a:lnTo>
                <a:lnTo>
                  <a:pt x="1354" y="395"/>
                </a:lnTo>
                <a:lnTo>
                  <a:pt x="1364" y="429"/>
                </a:lnTo>
                <a:lnTo>
                  <a:pt x="1369" y="465"/>
                </a:lnTo>
                <a:lnTo>
                  <a:pt x="1369" y="1054"/>
                </a:lnTo>
                <a:lnTo>
                  <a:pt x="1364" y="1090"/>
                </a:lnTo>
                <a:lnTo>
                  <a:pt x="1354" y="1124"/>
                </a:lnTo>
                <a:lnTo>
                  <a:pt x="1337" y="1154"/>
                </a:lnTo>
                <a:lnTo>
                  <a:pt x="1313" y="1181"/>
                </a:lnTo>
                <a:lnTo>
                  <a:pt x="1284" y="1201"/>
                </a:lnTo>
                <a:lnTo>
                  <a:pt x="768" y="1497"/>
                </a:lnTo>
                <a:lnTo>
                  <a:pt x="736" y="1512"/>
                </a:lnTo>
                <a:lnTo>
                  <a:pt x="702" y="1519"/>
                </a:lnTo>
                <a:lnTo>
                  <a:pt x="668" y="1519"/>
                </a:lnTo>
                <a:lnTo>
                  <a:pt x="632" y="1512"/>
                </a:lnTo>
                <a:lnTo>
                  <a:pt x="599" y="1497"/>
                </a:lnTo>
                <a:lnTo>
                  <a:pt x="85" y="1201"/>
                </a:lnTo>
                <a:lnTo>
                  <a:pt x="56" y="1181"/>
                </a:lnTo>
                <a:lnTo>
                  <a:pt x="32" y="1154"/>
                </a:lnTo>
                <a:lnTo>
                  <a:pt x="15" y="1124"/>
                </a:lnTo>
                <a:lnTo>
                  <a:pt x="3" y="1090"/>
                </a:lnTo>
                <a:lnTo>
                  <a:pt x="0" y="1054"/>
                </a:lnTo>
                <a:lnTo>
                  <a:pt x="0" y="465"/>
                </a:lnTo>
                <a:lnTo>
                  <a:pt x="3" y="429"/>
                </a:lnTo>
                <a:lnTo>
                  <a:pt x="15" y="395"/>
                </a:lnTo>
                <a:lnTo>
                  <a:pt x="32" y="364"/>
                </a:lnTo>
                <a:lnTo>
                  <a:pt x="56" y="339"/>
                </a:lnTo>
                <a:lnTo>
                  <a:pt x="85" y="318"/>
                </a:lnTo>
                <a:lnTo>
                  <a:pt x="599" y="21"/>
                </a:lnTo>
                <a:lnTo>
                  <a:pt x="632" y="7"/>
                </a:lnTo>
                <a:lnTo>
                  <a:pt x="668" y="0"/>
                </a:lnTo>
                <a:close/>
              </a:path>
            </a:pathLst>
          </a:cu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 lang="ru-RU" sz="1600" i="1" u="sng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sp>
        <p:nvSpPr>
          <p:cNvPr id="27" name="任意多边形: 形状 26"/>
          <p:cNvSpPr/>
          <p:nvPr/>
        </p:nvSpPr>
        <p:spPr>
          <a:xfrm>
            <a:off x="10117567" y="3419109"/>
            <a:ext cx="452698" cy="426183"/>
          </a:xfrm>
          <a:custGeom>
            <a:avLst/>
            <a:gdLst>
              <a:gd name="connsiteX0" fmla="*/ 87165 w 606240"/>
              <a:gd name="connsiteY0" fmla="*/ 422475 h 570733"/>
              <a:gd name="connsiteX1" fmla="*/ 331445 w 606240"/>
              <a:gd name="connsiteY1" fmla="*/ 422475 h 570733"/>
              <a:gd name="connsiteX2" fmla="*/ 319381 w 606240"/>
              <a:gd name="connsiteY2" fmla="*/ 455711 h 570733"/>
              <a:gd name="connsiteX3" fmla="*/ 87165 w 606240"/>
              <a:gd name="connsiteY3" fmla="*/ 455711 h 570733"/>
              <a:gd name="connsiteX4" fmla="*/ 70424 w 606240"/>
              <a:gd name="connsiteY4" fmla="*/ 439093 h 570733"/>
              <a:gd name="connsiteX5" fmla="*/ 87165 w 606240"/>
              <a:gd name="connsiteY5" fmla="*/ 422475 h 570733"/>
              <a:gd name="connsiteX6" fmla="*/ 87162 w 606240"/>
              <a:gd name="connsiteY6" fmla="*/ 355932 h 570733"/>
              <a:gd name="connsiteX7" fmla="*/ 362071 w 606240"/>
              <a:gd name="connsiteY7" fmla="*/ 355932 h 570733"/>
              <a:gd name="connsiteX8" fmla="*/ 353188 w 606240"/>
              <a:gd name="connsiteY8" fmla="*/ 373871 h 570733"/>
              <a:gd name="connsiteX9" fmla="*/ 345988 w 606240"/>
              <a:gd name="connsiteY9" fmla="*/ 389380 h 570733"/>
              <a:gd name="connsiteX10" fmla="*/ 87162 w 606240"/>
              <a:gd name="connsiteY10" fmla="*/ 389380 h 570733"/>
              <a:gd name="connsiteX11" fmla="*/ 70424 w 606240"/>
              <a:gd name="connsiteY11" fmla="*/ 372656 h 570733"/>
              <a:gd name="connsiteX12" fmla="*/ 87162 w 606240"/>
              <a:gd name="connsiteY12" fmla="*/ 355932 h 570733"/>
              <a:gd name="connsiteX13" fmla="*/ 87163 w 606240"/>
              <a:gd name="connsiteY13" fmla="*/ 289389 h 570733"/>
              <a:gd name="connsiteX14" fmla="*/ 367701 w 606240"/>
              <a:gd name="connsiteY14" fmla="*/ 289389 h 570733"/>
              <a:gd name="connsiteX15" fmla="*/ 384440 w 606240"/>
              <a:gd name="connsiteY15" fmla="*/ 306089 h 570733"/>
              <a:gd name="connsiteX16" fmla="*/ 367795 w 606240"/>
              <a:gd name="connsiteY16" fmla="*/ 322696 h 570733"/>
              <a:gd name="connsiteX17" fmla="*/ 87163 w 606240"/>
              <a:gd name="connsiteY17" fmla="*/ 322696 h 570733"/>
              <a:gd name="connsiteX18" fmla="*/ 70424 w 606240"/>
              <a:gd name="connsiteY18" fmla="*/ 306089 h 570733"/>
              <a:gd name="connsiteX19" fmla="*/ 87163 w 606240"/>
              <a:gd name="connsiteY19" fmla="*/ 289389 h 570733"/>
              <a:gd name="connsiteX20" fmla="*/ 212536 w 606240"/>
              <a:gd name="connsiteY20" fmla="*/ 222916 h 570733"/>
              <a:gd name="connsiteX21" fmla="*/ 369182 w 606240"/>
              <a:gd name="connsiteY21" fmla="*/ 222916 h 570733"/>
              <a:gd name="connsiteX22" fmla="*/ 385922 w 606240"/>
              <a:gd name="connsiteY22" fmla="*/ 239616 h 570733"/>
              <a:gd name="connsiteX23" fmla="*/ 369182 w 606240"/>
              <a:gd name="connsiteY23" fmla="*/ 256223 h 570733"/>
              <a:gd name="connsiteX24" fmla="*/ 212536 w 606240"/>
              <a:gd name="connsiteY24" fmla="*/ 256223 h 570733"/>
              <a:gd name="connsiteX25" fmla="*/ 195889 w 606240"/>
              <a:gd name="connsiteY25" fmla="*/ 239616 h 570733"/>
              <a:gd name="connsiteX26" fmla="*/ 212536 w 606240"/>
              <a:gd name="connsiteY26" fmla="*/ 222916 h 570733"/>
              <a:gd name="connsiteX27" fmla="*/ 551652 w 606240"/>
              <a:gd name="connsiteY27" fmla="*/ 116932 h 570733"/>
              <a:gd name="connsiteX28" fmla="*/ 567829 w 606240"/>
              <a:gd name="connsiteY28" fmla="*/ 121601 h 570733"/>
              <a:gd name="connsiteX29" fmla="*/ 583444 w 606240"/>
              <a:gd name="connsiteY29" fmla="*/ 152602 h 570733"/>
              <a:gd name="connsiteX30" fmla="*/ 581948 w 606240"/>
              <a:gd name="connsiteY30" fmla="*/ 158391 h 570733"/>
              <a:gd name="connsiteX31" fmla="*/ 575403 w 606240"/>
              <a:gd name="connsiteY31" fmla="*/ 175946 h 570733"/>
              <a:gd name="connsiteX32" fmla="*/ 590738 w 606240"/>
              <a:gd name="connsiteY32" fmla="*/ 184817 h 570733"/>
              <a:gd name="connsiteX33" fmla="*/ 600276 w 606240"/>
              <a:gd name="connsiteY33" fmla="*/ 190326 h 570733"/>
              <a:gd name="connsiteX34" fmla="*/ 604764 w 606240"/>
              <a:gd name="connsiteY34" fmla="*/ 206760 h 570733"/>
              <a:gd name="connsiteX35" fmla="*/ 523786 w 606240"/>
              <a:gd name="connsiteY35" fmla="*/ 345890 h 570733"/>
              <a:gd name="connsiteX36" fmla="*/ 521168 w 606240"/>
              <a:gd name="connsiteY36" fmla="*/ 347010 h 570733"/>
              <a:gd name="connsiteX37" fmla="*/ 510602 w 606240"/>
              <a:gd name="connsiteY37" fmla="*/ 323293 h 570733"/>
              <a:gd name="connsiteX38" fmla="*/ 579891 w 606240"/>
              <a:gd name="connsiteY38" fmla="*/ 204145 h 570733"/>
              <a:gd name="connsiteX39" fmla="*/ 565678 w 606240"/>
              <a:gd name="connsiteY39" fmla="*/ 195928 h 570733"/>
              <a:gd name="connsiteX40" fmla="*/ 559226 w 606240"/>
              <a:gd name="connsiteY40" fmla="*/ 207227 h 570733"/>
              <a:gd name="connsiteX41" fmla="*/ 524067 w 606240"/>
              <a:gd name="connsiteY41" fmla="*/ 266240 h 570733"/>
              <a:gd name="connsiteX42" fmla="*/ 497043 w 606240"/>
              <a:gd name="connsiteY42" fmla="*/ 309566 h 570733"/>
              <a:gd name="connsiteX43" fmla="*/ 384833 w 606240"/>
              <a:gd name="connsiteY43" fmla="*/ 463356 h 570733"/>
              <a:gd name="connsiteX44" fmla="*/ 356500 w 606240"/>
              <a:gd name="connsiteY44" fmla="*/ 490435 h 570733"/>
              <a:gd name="connsiteX45" fmla="*/ 343128 w 606240"/>
              <a:gd name="connsiteY45" fmla="*/ 494450 h 570733"/>
              <a:gd name="connsiteX46" fmla="*/ 340323 w 606240"/>
              <a:gd name="connsiteY46" fmla="*/ 480911 h 570733"/>
              <a:gd name="connsiteX47" fmla="*/ 342661 w 606240"/>
              <a:gd name="connsiteY47" fmla="*/ 468679 h 570733"/>
              <a:gd name="connsiteX48" fmla="*/ 376791 w 606240"/>
              <a:gd name="connsiteY48" fmla="*/ 385388 h 570733"/>
              <a:gd name="connsiteX49" fmla="*/ 441686 w 606240"/>
              <a:gd name="connsiteY49" fmla="*/ 265120 h 570733"/>
              <a:gd name="connsiteX50" fmla="*/ 463099 w 606240"/>
              <a:gd name="connsiteY50" fmla="*/ 229543 h 570733"/>
              <a:gd name="connsiteX51" fmla="*/ 517708 w 606240"/>
              <a:gd name="connsiteY51" fmla="*/ 144758 h 570733"/>
              <a:gd name="connsiteX52" fmla="*/ 536316 w 606240"/>
              <a:gd name="connsiteY52" fmla="*/ 124029 h 570733"/>
              <a:gd name="connsiteX53" fmla="*/ 551652 w 606240"/>
              <a:gd name="connsiteY53" fmla="*/ 116932 h 570733"/>
              <a:gd name="connsiteX54" fmla="*/ 133805 w 606240"/>
              <a:gd name="connsiteY54" fmla="*/ 87970 h 570733"/>
              <a:gd name="connsiteX55" fmla="*/ 144376 w 606240"/>
              <a:gd name="connsiteY55" fmla="*/ 98240 h 570733"/>
              <a:gd name="connsiteX56" fmla="*/ 151860 w 606240"/>
              <a:gd name="connsiteY56" fmla="*/ 106736 h 570733"/>
              <a:gd name="connsiteX57" fmla="*/ 168230 w 606240"/>
              <a:gd name="connsiteY57" fmla="*/ 111310 h 570733"/>
              <a:gd name="connsiteX58" fmla="*/ 171317 w 606240"/>
              <a:gd name="connsiteY58" fmla="*/ 117566 h 570733"/>
              <a:gd name="connsiteX59" fmla="*/ 167575 w 606240"/>
              <a:gd name="connsiteY59" fmla="*/ 131103 h 570733"/>
              <a:gd name="connsiteX60" fmla="*/ 160840 w 606240"/>
              <a:gd name="connsiteY60" fmla="*/ 134091 h 570733"/>
              <a:gd name="connsiteX61" fmla="*/ 135021 w 606240"/>
              <a:gd name="connsiteY61" fmla="*/ 129423 h 570733"/>
              <a:gd name="connsiteX62" fmla="*/ 128193 w 606240"/>
              <a:gd name="connsiteY62" fmla="*/ 130917 h 570733"/>
              <a:gd name="connsiteX63" fmla="*/ 126041 w 606240"/>
              <a:gd name="connsiteY63" fmla="*/ 148189 h 570733"/>
              <a:gd name="connsiteX64" fmla="*/ 137267 w 606240"/>
              <a:gd name="connsiteY64" fmla="*/ 154257 h 570733"/>
              <a:gd name="connsiteX65" fmla="*/ 157846 w 606240"/>
              <a:gd name="connsiteY65" fmla="*/ 163220 h 570733"/>
              <a:gd name="connsiteX66" fmla="*/ 170475 w 606240"/>
              <a:gd name="connsiteY66" fmla="*/ 218678 h 570733"/>
              <a:gd name="connsiteX67" fmla="*/ 150363 w 606240"/>
              <a:gd name="connsiteY67" fmla="*/ 231935 h 570733"/>
              <a:gd name="connsiteX68" fmla="*/ 145499 w 606240"/>
              <a:gd name="connsiteY68" fmla="*/ 238471 h 570733"/>
              <a:gd name="connsiteX69" fmla="*/ 145592 w 606240"/>
              <a:gd name="connsiteY69" fmla="*/ 249114 h 570733"/>
              <a:gd name="connsiteX70" fmla="*/ 140915 w 606240"/>
              <a:gd name="connsiteY70" fmla="*/ 254249 h 570733"/>
              <a:gd name="connsiteX71" fmla="*/ 129315 w 606240"/>
              <a:gd name="connsiteY71" fmla="*/ 254529 h 570733"/>
              <a:gd name="connsiteX72" fmla="*/ 124170 w 606240"/>
              <a:gd name="connsiteY72" fmla="*/ 249301 h 570733"/>
              <a:gd name="connsiteX73" fmla="*/ 123890 w 606240"/>
              <a:gd name="connsiteY73" fmla="*/ 241458 h 570733"/>
              <a:gd name="connsiteX74" fmla="*/ 117903 w 606240"/>
              <a:gd name="connsiteY74" fmla="*/ 234549 h 570733"/>
              <a:gd name="connsiteX75" fmla="*/ 97229 w 606240"/>
              <a:gd name="connsiteY75" fmla="*/ 228948 h 570733"/>
              <a:gd name="connsiteX76" fmla="*/ 92833 w 606240"/>
              <a:gd name="connsiteY76" fmla="*/ 219891 h 570733"/>
              <a:gd name="connsiteX77" fmla="*/ 96107 w 606240"/>
              <a:gd name="connsiteY77" fmla="*/ 207941 h 570733"/>
              <a:gd name="connsiteX78" fmla="*/ 102936 w 606240"/>
              <a:gd name="connsiteY78" fmla="*/ 204860 h 570733"/>
              <a:gd name="connsiteX79" fmla="*/ 126041 w 606240"/>
              <a:gd name="connsiteY79" fmla="*/ 211302 h 570733"/>
              <a:gd name="connsiteX80" fmla="*/ 141008 w 606240"/>
              <a:gd name="connsiteY80" fmla="*/ 209061 h 570733"/>
              <a:gd name="connsiteX81" fmla="*/ 143534 w 606240"/>
              <a:gd name="connsiteY81" fmla="*/ 188521 h 570733"/>
              <a:gd name="connsiteX82" fmla="*/ 134928 w 606240"/>
              <a:gd name="connsiteY82" fmla="*/ 183667 h 570733"/>
              <a:gd name="connsiteX83" fmla="*/ 111355 w 606240"/>
              <a:gd name="connsiteY83" fmla="*/ 173490 h 570733"/>
              <a:gd name="connsiteX84" fmla="*/ 92084 w 606240"/>
              <a:gd name="connsiteY84" fmla="*/ 142120 h 570733"/>
              <a:gd name="connsiteX85" fmla="*/ 117154 w 606240"/>
              <a:gd name="connsiteY85" fmla="*/ 109350 h 570733"/>
              <a:gd name="connsiteX86" fmla="*/ 123515 w 606240"/>
              <a:gd name="connsiteY86" fmla="*/ 100667 h 570733"/>
              <a:gd name="connsiteX87" fmla="*/ 123422 w 606240"/>
              <a:gd name="connsiteY87" fmla="*/ 94038 h 570733"/>
              <a:gd name="connsiteX88" fmla="*/ 129128 w 606240"/>
              <a:gd name="connsiteY88" fmla="*/ 88063 h 570733"/>
              <a:gd name="connsiteX89" fmla="*/ 133805 w 606240"/>
              <a:gd name="connsiteY89" fmla="*/ 87970 h 570733"/>
              <a:gd name="connsiteX90" fmla="*/ 70698 w 606240"/>
              <a:gd name="connsiteY90" fmla="*/ 0 h 570733"/>
              <a:gd name="connsiteX91" fmla="*/ 302245 w 606240"/>
              <a:gd name="connsiteY91" fmla="*/ 0 h 570733"/>
              <a:gd name="connsiteX92" fmla="*/ 314215 w 606240"/>
              <a:gd name="connsiteY92" fmla="*/ 2428 h 570733"/>
              <a:gd name="connsiteX93" fmla="*/ 324409 w 606240"/>
              <a:gd name="connsiteY93" fmla="*/ 8964 h 570733"/>
              <a:gd name="connsiteX94" fmla="*/ 445045 w 606240"/>
              <a:gd name="connsiteY94" fmla="*/ 124754 h 570733"/>
              <a:gd name="connsiteX95" fmla="*/ 452246 w 606240"/>
              <a:gd name="connsiteY95" fmla="*/ 135213 h 570733"/>
              <a:gd name="connsiteX96" fmla="*/ 454770 w 606240"/>
              <a:gd name="connsiteY96" fmla="*/ 147726 h 570733"/>
              <a:gd name="connsiteX97" fmla="*/ 454770 w 606240"/>
              <a:gd name="connsiteY97" fmla="*/ 193108 h 570733"/>
              <a:gd name="connsiteX98" fmla="*/ 452246 w 606240"/>
              <a:gd name="connsiteY98" fmla="*/ 197123 h 570733"/>
              <a:gd name="connsiteX99" fmla="*/ 425780 w 606240"/>
              <a:gd name="connsiteY99" fmla="*/ 240731 h 570733"/>
              <a:gd name="connsiteX100" fmla="*/ 422788 w 606240"/>
              <a:gd name="connsiteY100" fmla="*/ 245400 h 570733"/>
              <a:gd name="connsiteX101" fmla="*/ 421479 w 606240"/>
              <a:gd name="connsiteY101" fmla="*/ 247828 h 570733"/>
              <a:gd name="connsiteX102" fmla="*/ 421479 w 606240"/>
              <a:gd name="connsiteY102" fmla="*/ 157811 h 570733"/>
              <a:gd name="connsiteX103" fmla="*/ 362376 w 606240"/>
              <a:gd name="connsiteY103" fmla="*/ 157811 h 570733"/>
              <a:gd name="connsiteX104" fmla="*/ 291678 w 606240"/>
              <a:gd name="connsiteY104" fmla="*/ 87216 h 570733"/>
              <a:gd name="connsiteX105" fmla="*/ 291678 w 606240"/>
              <a:gd name="connsiteY105" fmla="*/ 33150 h 570733"/>
              <a:gd name="connsiteX106" fmla="*/ 70698 w 606240"/>
              <a:gd name="connsiteY106" fmla="*/ 33150 h 570733"/>
              <a:gd name="connsiteX107" fmla="*/ 33385 w 606240"/>
              <a:gd name="connsiteY107" fmla="*/ 70408 h 570733"/>
              <a:gd name="connsiteX108" fmla="*/ 33385 w 606240"/>
              <a:gd name="connsiteY108" fmla="*/ 499952 h 570733"/>
              <a:gd name="connsiteX109" fmla="*/ 70698 w 606240"/>
              <a:gd name="connsiteY109" fmla="*/ 537116 h 570733"/>
              <a:gd name="connsiteX110" fmla="*/ 384166 w 606240"/>
              <a:gd name="connsiteY110" fmla="*/ 537116 h 570733"/>
              <a:gd name="connsiteX111" fmla="*/ 421479 w 606240"/>
              <a:gd name="connsiteY111" fmla="*/ 499952 h 570733"/>
              <a:gd name="connsiteX112" fmla="*/ 421572 w 606240"/>
              <a:gd name="connsiteY112" fmla="*/ 499952 h 570733"/>
              <a:gd name="connsiteX113" fmla="*/ 421572 w 606240"/>
              <a:gd name="connsiteY113" fmla="*/ 460452 h 570733"/>
              <a:gd name="connsiteX114" fmla="*/ 454864 w 606240"/>
              <a:gd name="connsiteY114" fmla="*/ 417778 h 570733"/>
              <a:gd name="connsiteX115" fmla="*/ 454864 w 606240"/>
              <a:gd name="connsiteY115" fmla="*/ 500138 h 570733"/>
              <a:gd name="connsiteX116" fmla="*/ 384166 w 606240"/>
              <a:gd name="connsiteY116" fmla="*/ 570733 h 570733"/>
              <a:gd name="connsiteX117" fmla="*/ 70698 w 606240"/>
              <a:gd name="connsiteY117" fmla="*/ 570733 h 570733"/>
              <a:gd name="connsiteX118" fmla="*/ 0 w 606240"/>
              <a:gd name="connsiteY118" fmla="*/ 500138 h 570733"/>
              <a:gd name="connsiteX119" fmla="*/ 0 w 606240"/>
              <a:gd name="connsiteY119" fmla="*/ 70595 h 570733"/>
              <a:gd name="connsiteX120" fmla="*/ 70698 w 606240"/>
              <a:gd name="connsiteY120" fmla="*/ 0 h 5707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</a:cxnLst>
            <a:rect l="l" t="t" r="r" b="b"/>
            <a:pathLst>
              <a:path w="606240" h="570733">
                <a:moveTo>
                  <a:pt x="87165" y="422475"/>
                </a:moveTo>
                <a:lnTo>
                  <a:pt x="331445" y="422475"/>
                </a:lnTo>
                <a:cubicBezTo>
                  <a:pt x="326956" y="433585"/>
                  <a:pt x="322934" y="444508"/>
                  <a:pt x="319381" y="455711"/>
                </a:cubicBezTo>
                <a:lnTo>
                  <a:pt x="87165" y="455711"/>
                </a:lnTo>
                <a:cubicBezTo>
                  <a:pt x="77906" y="455711"/>
                  <a:pt x="70424" y="448149"/>
                  <a:pt x="70424" y="439093"/>
                </a:cubicBezTo>
                <a:cubicBezTo>
                  <a:pt x="70424" y="429944"/>
                  <a:pt x="77906" y="422475"/>
                  <a:pt x="87165" y="422475"/>
                </a:cubicBezTo>
                <a:close/>
                <a:moveTo>
                  <a:pt x="87162" y="355932"/>
                </a:moveTo>
                <a:lnTo>
                  <a:pt x="362071" y="355932"/>
                </a:lnTo>
                <a:cubicBezTo>
                  <a:pt x="359079" y="361912"/>
                  <a:pt x="356087" y="367891"/>
                  <a:pt x="353188" y="373871"/>
                </a:cubicBezTo>
                <a:cubicBezTo>
                  <a:pt x="350757" y="379103"/>
                  <a:pt x="348232" y="384241"/>
                  <a:pt x="345988" y="389380"/>
                </a:cubicBezTo>
                <a:lnTo>
                  <a:pt x="87162" y="389380"/>
                </a:lnTo>
                <a:cubicBezTo>
                  <a:pt x="77905" y="389380"/>
                  <a:pt x="70424" y="381719"/>
                  <a:pt x="70424" y="372656"/>
                </a:cubicBezTo>
                <a:cubicBezTo>
                  <a:pt x="70424" y="363406"/>
                  <a:pt x="78092" y="355932"/>
                  <a:pt x="87162" y="355932"/>
                </a:cubicBezTo>
                <a:close/>
                <a:moveTo>
                  <a:pt x="87163" y="289389"/>
                </a:moveTo>
                <a:lnTo>
                  <a:pt x="367701" y="289389"/>
                </a:lnTo>
                <a:cubicBezTo>
                  <a:pt x="376959" y="289389"/>
                  <a:pt x="384440" y="296946"/>
                  <a:pt x="384440" y="306089"/>
                </a:cubicBezTo>
                <a:cubicBezTo>
                  <a:pt x="384440" y="315232"/>
                  <a:pt x="376959" y="322696"/>
                  <a:pt x="367795" y="322696"/>
                </a:cubicBezTo>
                <a:lnTo>
                  <a:pt x="87163" y="322696"/>
                </a:lnTo>
                <a:cubicBezTo>
                  <a:pt x="77905" y="322696"/>
                  <a:pt x="70424" y="315232"/>
                  <a:pt x="70424" y="306089"/>
                </a:cubicBezTo>
                <a:cubicBezTo>
                  <a:pt x="70424" y="296853"/>
                  <a:pt x="78092" y="289389"/>
                  <a:pt x="87163" y="289389"/>
                </a:cubicBezTo>
                <a:close/>
                <a:moveTo>
                  <a:pt x="212536" y="222916"/>
                </a:moveTo>
                <a:lnTo>
                  <a:pt x="369182" y="222916"/>
                </a:lnTo>
                <a:cubicBezTo>
                  <a:pt x="378253" y="222916"/>
                  <a:pt x="385735" y="230380"/>
                  <a:pt x="385922" y="239616"/>
                </a:cubicBezTo>
                <a:cubicBezTo>
                  <a:pt x="385922" y="248759"/>
                  <a:pt x="378253" y="256223"/>
                  <a:pt x="369182" y="256223"/>
                </a:cubicBezTo>
                <a:lnTo>
                  <a:pt x="212536" y="256223"/>
                </a:lnTo>
                <a:cubicBezTo>
                  <a:pt x="203371" y="256223"/>
                  <a:pt x="195889" y="248666"/>
                  <a:pt x="195889" y="239616"/>
                </a:cubicBezTo>
                <a:cubicBezTo>
                  <a:pt x="195889" y="230380"/>
                  <a:pt x="203464" y="222916"/>
                  <a:pt x="212536" y="222916"/>
                </a:cubicBezTo>
                <a:close/>
                <a:moveTo>
                  <a:pt x="551652" y="116932"/>
                </a:moveTo>
                <a:cubicBezTo>
                  <a:pt x="556748" y="116536"/>
                  <a:pt x="561984" y="118100"/>
                  <a:pt x="567829" y="121601"/>
                </a:cubicBezTo>
                <a:cubicBezTo>
                  <a:pt x="581387" y="129631"/>
                  <a:pt x="586156" y="138969"/>
                  <a:pt x="583444" y="152602"/>
                </a:cubicBezTo>
                <a:cubicBezTo>
                  <a:pt x="583070" y="154563"/>
                  <a:pt x="582416" y="156430"/>
                  <a:pt x="581948" y="158391"/>
                </a:cubicBezTo>
                <a:cubicBezTo>
                  <a:pt x="580172" y="164367"/>
                  <a:pt x="577927" y="170250"/>
                  <a:pt x="575403" y="175946"/>
                </a:cubicBezTo>
                <a:lnTo>
                  <a:pt x="590738" y="184817"/>
                </a:lnTo>
                <a:lnTo>
                  <a:pt x="600276" y="190326"/>
                </a:lnTo>
                <a:cubicBezTo>
                  <a:pt x="605980" y="193687"/>
                  <a:pt x="607850" y="200877"/>
                  <a:pt x="604764" y="206760"/>
                </a:cubicBezTo>
                <a:lnTo>
                  <a:pt x="523786" y="345890"/>
                </a:lnTo>
                <a:cubicBezTo>
                  <a:pt x="523319" y="346823"/>
                  <a:pt x="522197" y="347290"/>
                  <a:pt x="521168" y="347010"/>
                </a:cubicBezTo>
                <a:cubicBezTo>
                  <a:pt x="509947" y="344396"/>
                  <a:pt x="505365" y="332350"/>
                  <a:pt x="510602" y="323293"/>
                </a:cubicBezTo>
                <a:lnTo>
                  <a:pt x="579891" y="204145"/>
                </a:lnTo>
                <a:lnTo>
                  <a:pt x="565678" y="195928"/>
                </a:lnTo>
                <a:cubicBezTo>
                  <a:pt x="563621" y="199663"/>
                  <a:pt x="561376" y="203492"/>
                  <a:pt x="559226" y="207227"/>
                </a:cubicBezTo>
                <a:cubicBezTo>
                  <a:pt x="547724" y="227022"/>
                  <a:pt x="535662" y="246444"/>
                  <a:pt x="524067" y="266240"/>
                </a:cubicBezTo>
                <a:lnTo>
                  <a:pt x="497043" y="309566"/>
                </a:lnTo>
                <a:cubicBezTo>
                  <a:pt x="462632" y="363071"/>
                  <a:pt x="426818" y="415361"/>
                  <a:pt x="384833" y="463356"/>
                </a:cubicBezTo>
                <a:cubicBezTo>
                  <a:pt x="376230" y="473161"/>
                  <a:pt x="367254" y="482778"/>
                  <a:pt x="356500" y="490435"/>
                </a:cubicBezTo>
                <a:cubicBezTo>
                  <a:pt x="352479" y="493330"/>
                  <a:pt x="348178" y="497345"/>
                  <a:pt x="343128" y="494450"/>
                </a:cubicBezTo>
                <a:cubicBezTo>
                  <a:pt x="338079" y="491462"/>
                  <a:pt x="339762" y="485580"/>
                  <a:pt x="340323" y="480911"/>
                </a:cubicBezTo>
                <a:cubicBezTo>
                  <a:pt x="340697" y="476802"/>
                  <a:pt x="341819" y="472694"/>
                  <a:pt x="342661" y="468679"/>
                </a:cubicBezTo>
                <a:cubicBezTo>
                  <a:pt x="351357" y="439826"/>
                  <a:pt x="363700" y="412373"/>
                  <a:pt x="376791" y="385388"/>
                </a:cubicBezTo>
                <a:cubicBezTo>
                  <a:pt x="396615" y="344302"/>
                  <a:pt x="418496" y="304337"/>
                  <a:pt x="441686" y="265120"/>
                </a:cubicBezTo>
                <a:lnTo>
                  <a:pt x="463099" y="229543"/>
                </a:lnTo>
                <a:cubicBezTo>
                  <a:pt x="480772" y="200971"/>
                  <a:pt x="497791" y="171837"/>
                  <a:pt x="517708" y="144758"/>
                </a:cubicBezTo>
                <a:cubicBezTo>
                  <a:pt x="523225" y="137288"/>
                  <a:pt x="529023" y="130005"/>
                  <a:pt x="536316" y="124029"/>
                </a:cubicBezTo>
                <a:cubicBezTo>
                  <a:pt x="541600" y="119687"/>
                  <a:pt x="546555" y="117329"/>
                  <a:pt x="551652" y="116932"/>
                </a:cubicBezTo>
                <a:close/>
                <a:moveTo>
                  <a:pt x="133805" y="87970"/>
                </a:moveTo>
                <a:cubicBezTo>
                  <a:pt x="144095" y="87783"/>
                  <a:pt x="144095" y="87783"/>
                  <a:pt x="144376" y="98240"/>
                </a:cubicBezTo>
                <a:cubicBezTo>
                  <a:pt x="144470" y="105615"/>
                  <a:pt x="144470" y="105709"/>
                  <a:pt x="151860" y="106736"/>
                </a:cubicBezTo>
                <a:cubicBezTo>
                  <a:pt x="157472" y="107483"/>
                  <a:pt x="162991" y="109070"/>
                  <a:pt x="168230" y="111310"/>
                </a:cubicBezTo>
                <a:cubicBezTo>
                  <a:pt x="171036" y="112618"/>
                  <a:pt x="172159" y="114578"/>
                  <a:pt x="171317" y="117566"/>
                </a:cubicBezTo>
                <a:cubicBezTo>
                  <a:pt x="170101" y="122047"/>
                  <a:pt x="168978" y="126622"/>
                  <a:pt x="167575" y="131103"/>
                </a:cubicBezTo>
                <a:cubicBezTo>
                  <a:pt x="166359" y="135398"/>
                  <a:pt x="164956" y="135958"/>
                  <a:pt x="160840" y="134091"/>
                </a:cubicBezTo>
                <a:cubicBezTo>
                  <a:pt x="152608" y="130263"/>
                  <a:pt x="144002" y="128769"/>
                  <a:pt x="135021" y="129423"/>
                </a:cubicBezTo>
                <a:cubicBezTo>
                  <a:pt x="132683" y="129516"/>
                  <a:pt x="130251" y="129890"/>
                  <a:pt x="128193" y="130917"/>
                </a:cubicBezTo>
                <a:cubicBezTo>
                  <a:pt x="120428" y="134371"/>
                  <a:pt x="119306" y="142960"/>
                  <a:pt x="126041" y="148189"/>
                </a:cubicBezTo>
                <a:cubicBezTo>
                  <a:pt x="129409" y="150803"/>
                  <a:pt x="133244" y="152670"/>
                  <a:pt x="137267" y="154257"/>
                </a:cubicBezTo>
                <a:cubicBezTo>
                  <a:pt x="144282" y="157152"/>
                  <a:pt x="151205" y="159766"/>
                  <a:pt x="157846" y="163220"/>
                </a:cubicBezTo>
                <a:cubicBezTo>
                  <a:pt x="178894" y="174424"/>
                  <a:pt x="184881" y="200565"/>
                  <a:pt x="170475" y="218678"/>
                </a:cubicBezTo>
                <a:cubicBezTo>
                  <a:pt x="165237" y="225213"/>
                  <a:pt x="158501" y="229601"/>
                  <a:pt x="150363" y="231935"/>
                </a:cubicBezTo>
                <a:cubicBezTo>
                  <a:pt x="146902" y="232962"/>
                  <a:pt x="145218" y="234829"/>
                  <a:pt x="145499" y="238471"/>
                </a:cubicBezTo>
                <a:cubicBezTo>
                  <a:pt x="145779" y="241925"/>
                  <a:pt x="145592" y="245566"/>
                  <a:pt x="145592" y="249114"/>
                </a:cubicBezTo>
                <a:cubicBezTo>
                  <a:pt x="145592" y="252382"/>
                  <a:pt x="144002" y="254156"/>
                  <a:pt x="140915" y="254249"/>
                </a:cubicBezTo>
                <a:cubicBezTo>
                  <a:pt x="136986" y="254529"/>
                  <a:pt x="133151" y="254529"/>
                  <a:pt x="129315" y="254529"/>
                </a:cubicBezTo>
                <a:cubicBezTo>
                  <a:pt x="125948" y="254529"/>
                  <a:pt x="124264" y="252662"/>
                  <a:pt x="124170" y="249301"/>
                </a:cubicBezTo>
                <a:cubicBezTo>
                  <a:pt x="124077" y="246687"/>
                  <a:pt x="124077" y="244072"/>
                  <a:pt x="123890" y="241458"/>
                </a:cubicBezTo>
                <a:cubicBezTo>
                  <a:pt x="123703" y="235576"/>
                  <a:pt x="123515" y="235296"/>
                  <a:pt x="117903" y="234549"/>
                </a:cubicBezTo>
                <a:cubicBezTo>
                  <a:pt x="110793" y="233616"/>
                  <a:pt x="103871" y="232122"/>
                  <a:pt x="97229" y="228948"/>
                </a:cubicBezTo>
                <a:cubicBezTo>
                  <a:pt x="91991" y="226614"/>
                  <a:pt x="91523" y="225213"/>
                  <a:pt x="92833" y="219891"/>
                </a:cubicBezTo>
                <a:cubicBezTo>
                  <a:pt x="93862" y="215877"/>
                  <a:pt x="94984" y="211956"/>
                  <a:pt x="96107" y="207941"/>
                </a:cubicBezTo>
                <a:cubicBezTo>
                  <a:pt x="97510" y="203366"/>
                  <a:pt x="98726" y="202713"/>
                  <a:pt x="102936" y="204860"/>
                </a:cubicBezTo>
                <a:cubicBezTo>
                  <a:pt x="110326" y="208408"/>
                  <a:pt x="118090" y="210462"/>
                  <a:pt x="126041" y="211302"/>
                </a:cubicBezTo>
                <a:cubicBezTo>
                  <a:pt x="131186" y="211769"/>
                  <a:pt x="136238" y="211209"/>
                  <a:pt x="141008" y="209061"/>
                </a:cubicBezTo>
                <a:cubicBezTo>
                  <a:pt x="149895" y="204953"/>
                  <a:pt x="151111" y="194590"/>
                  <a:pt x="143534" y="188521"/>
                </a:cubicBezTo>
                <a:cubicBezTo>
                  <a:pt x="140915" y="186561"/>
                  <a:pt x="138015" y="184880"/>
                  <a:pt x="134928" y="183667"/>
                </a:cubicBezTo>
                <a:cubicBezTo>
                  <a:pt x="127070" y="180306"/>
                  <a:pt x="118838" y="177785"/>
                  <a:pt x="111355" y="173490"/>
                </a:cubicBezTo>
                <a:cubicBezTo>
                  <a:pt x="99194" y="166488"/>
                  <a:pt x="91523" y="156685"/>
                  <a:pt x="92084" y="142120"/>
                </a:cubicBezTo>
                <a:cubicBezTo>
                  <a:pt x="92833" y="125502"/>
                  <a:pt x="102094" y="115045"/>
                  <a:pt x="117154" y="109350"/>
                </a:cubicBezTo>
                <a:cubicBezTo>
                  <a:pt x="123422" y="107016"/>
                  <a:pt x="123422" y="107109"/>
                  <a:pt x="123515" y="100667"/>
                </a:cubicBezTo>
                <a:cubicBezTo>
                  <a:pt x="123422" y="98426"/>
                  <a:pt x="123422" y="96279"/>
                  <a:pt x="123422" y="94038"/>
                </a:cubicBezTo>
                <a:cubicBezTo>
                  <a:pt x="123422" y="89183"/>
                  <a:pt x="124264" y="88343"/>
                  <a:pt x="129128" y="88063"/>
                </a:cubicBezTo>
                <a:cubicBezTo>
                  <a:pt x="130812" y="87970"/>
                  <a:pt x="132309" y="87970"/>
                  <a:pt x="133805" y="87970"/>
                </a:cubicBezTo>
                <a:close/>
                <a:moveTo>
                  <a:pt x="70698" y="0"/>
                </a:moveTo>
                <a:lnTo>
                  <a:pt x="302245" y="0"/>
                </a:lnTo>
                <a:cubicBezTo>
                  <a:pt x="306360" y="0"/>
                  <a:pt x="310381" y="934"/>
                  <a:pt x="314215" y="2428"/>
                </a:cubicBezTo>
                <a:cubicBezTo>
                  <a:pt x="317956" y="3922"/>
                  <a:pt x="321416" y="6163"/>
                  <a:pt x="324409" y="8964"/>
                </a:cubicBezTo>
                <a:lnTo>
                  <a:pt x="445045" y="124754"/>
                </a:lnTo>
                <a:cubicBezTo>
                  <a:pt x="448131" y="127743"/>
                  <a:pt x="450469" y="131291"/>
                  <a:pt x="452246" y="135213"/>
                </a:cubicBezTo>
                <a:cubicBezTo>
                  <a:pt x="453835" y="139135"/>
                  <a:pt x="454770" y="143337"/>
                  <a:pt x="454770" y="147726"/>
                </a:cubicBezTo>
                <a:lnTo>
                  <a:pt x="454770" y="193108"/>
                </a:lnTo>
                <a:cubicBezTo>
                  <a:pt x="453835" y="194509"/>
                  <a:pt x="452994" y="195723"/>
                  <a:pt x="452246" y="197123"/>
                </a:cubicBezTo>
                <a:cubicBezTo>
                  <a:pt x="449347" y="201699"/>
                  <a:pt x="434945" y="225791"/>
                  <a:pt x="425780" y="240731"/>
                </a:cubicBezTo>
                <a:cubicBezTo>
                  <a:pt x="424658" y="242412"/>
                  <a:pt x="423723" y="244093"/>
                  <a:pt x="422788" y="245400"/>
                </a:cubicBezTo>
                <a:cubicBezTo>
                  <a:pt x="422414" y="246147"/>
                  <a:pt x="421946" y="247081"/>
                  <a:pt x="421479" y="247828"/>
                </a:cubicBezTo>
                <a:lnTo>
                  <a:pt x="421479" y="157811"/>
                </a:lnTo>
                <a:lnTo>
                  <a:pt x="362376" y="157811"/>
                </a:lnTo>
                <a:cubicBezTo>
                  <a:pt x="323286" y="157811"/>
                  <a:pt x="291678" y="126155"/>
                  <a:pt x="291678" y="87216"/>
                </a:cubicBezTo>
                <a:lnTo>
                  <a:pt x="291678" y="33150"/>
                </a:lnTo>
                <a:lnTo>
                  <a:pt x="70698" y="33150"/>
                </a:lnTo>
                <a:cubicBezTo>
                  <a:pt x="50125" y="33150"/>
                  <a:pt x="33385" y="49864"/>
                  <a:pt x="33385" y="70408"/>
                </a:cubicBezTo>
                <a:lnTo>
                  <a:pt x="33385" y="499952"/>
                </a:lnTo>
                <a:cubicBezTo>
                  <a:pt x="33385" y="520495"/>
                  <a:pt x="50125" y="537116"/>
                  <a:pt x="70698" y="537116"/>
                </a:cubicBezTo>
                <a:lnTo>
                  <a:pt x="384166" y="537116"/>
                </a:lnTo>
                <a:cubicBezTo>
                  <a:pt x="404739" y="537116"/>
                  <a:pt x="421479" y="520495"/>
                  <a:pt x="421479" y="499952"/>
                </a:cubicBezTo>
                <a:lnTo>
                  <a:pt x="421572" y="499952"/>
                </a:lnTo>
                <a:lnTo>
                  <a:pt x="421572" y="460452"/>
                </a:lnTo>
                <a:cubicBezTo>
                  <a:pt x="433075" y="446539"/>
                  <a:pt x="444110" y="432158"/>
                  <a:pt x="454864" y="417778"/>
                </a:cubicBezTo>
                <a:lnTo>
                  <a:pt x="454864" y="500138"/>
                </a:lnTo>
                <a:cubicBezTo>
                  <a:pt x="454864" y="539171"/>
                  <a:pt x="423162" y="570733"/>
                  <a:pt x="384166" y="570733"/>
                </a:cubicBezTo>
                <a:lnTo>
                  <a:pt x="70698" y="570733"/>
                </a:lnTo>
                <a:cubicBezTo>
                  <a:pt x="31702" y="570733"/>
                  <a:pt x="0" y="539171"/>
                  <a:pt x="0" y="500138"/>
                </a:cubicBezTo>
                <a:lnTo>
                  <a:pt x="0" y="70595"/>
                </a:lnTo>
                <a:cubicBezTo>
                  <a:pt x="0" y="31656"/>
                  <a:pt x="31702" y="0"/>
                  <a:pt x="70698" y="0"/>
                </a:cubicBezTo>
                <a:close/>
              </a:path>
            </a:pathLst>
          </a:custGeom>
          <a:solidFill>
            <a:schemeClr val="accent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921AE7E5-F9A8-46DC-A3B8-94BF6A2C9D93}"/>
              </a:ext>
            </a:extLst>
          </p:cNvPr>
          <p:cNvSpPr txBox="1"/>
          <p:nvPr/>
        </p:nvSpPr>
        <p:spPr>
          <a:xfrm>
            <a:off x="920895" y="4733039"/>
            <a:ext cx="1828978" cy="140106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</a:t>
            </a:r>
            <a:r>
              <a:rPr lang="en-US" altLang="zh-CN" sz="1100">
                <a:cs typeface="+mn-ea"/>
                <a:sym typeface="+mn-lt"/>
              </a:rPr>
              <a:t>to retai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n </a:t>
            </a:r>
            <a:r>
              <a:rPr lang="en-US" altLang="zh-CN" sz="1100" dirty="0">
                <a:cs typeface="+mn-ea"/>
                <a:sym typeface="+mn-lt"/>
              </a:rPr>
              <a:t>text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endParaRPr lang="en-US" altLang="zh-CN" sz="1100" dirty="0">
              <a:cs typeface="+mn-ea"/>
              <a:sym typeface="+mn-lt"/>
            </a:endParaRP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… …</a:t>
            </a: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74F68E1B-3302-46D8-84C6-3382054D3536}"/>
              </a:ext>
            </a:extLst>
          </p:cNvPr>
          <p:cNvSpPr/>
          <p:nvPr/>
        </p:nvSpPr>
        <p:spPr>
          <a:xfrm>
            <a:off x="920895" y="4286277"/>
            <a:ext cx="1828978" cy="446763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lvl="0" algn="ctr"/>
            <a:r>
              <a:rPr lang="en-US" altLang="zh-CN" sz="1600" b="1">
                <a:cs typeface="+mn-ea"/>
                <a:sym typeface="+mn-lt"/>
              </a:rPr>
              <a:t>Text h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sz="1600" b="1">
                <a:cs typeface="+mn-ea"/>
                <a:sym typeface="+mn-lt"/>
              </a:rPr>
              <a:t>ere</a:t>
            </a:r>
            <a:endParaRPr lang="zh-CN" altLang="en-US" sz="1600" b="1" dirty="0">
              <a:cs typeface="+mn-ea"/>
              <a:sym typeface="+mn-lt"/>
            </a:endParaRP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921AE7E5-F9A8-46DC-A3B8-94BF6A2C9D93}"/>
              </a:ext>
            </a:extLst>
          </p:cNvPr>
          <p:cNvSpPr txBox="1"/>
          <p:nvPr/>
        </p:nvSpPr>
        <p:spPr>
          <a:xfrm>
            <a:off x="5175161" y="4733039"/>
            <a:ext cx="1828978" cy="140106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</a:t>
            </a:r>
            <a:r>
              <a:rPr lang="en-US" altLang="zh-CN" sz="1100">
                <a:cs typeface="+mn-ea"/>
                <a:sym typeface="+mn-lt"/>
              </a:rPr>
              <a:t>to retai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n </a:t>
            </a:r>
            <a:r>
              <a:rPr lang="en-US" altLang="zh-CN" sz="1100" dirty="0">
                <a:cs typeface="+mn-ea"/>
                <a:sym typeface="+mn-lt"/>
              </a:rPr>
              <a:t>text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endParaRPr lang="en-US" altLang="zh-CN" sz="1100" dirty="0">
              <a:cs typeface="+mn-ea"/>
              <a:sym typeface="+mn-lt"/>
            </a:endParaRP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… …</a:t>
            </a: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74F68E1B-3302-46D8-84C6-3382054D3536}"/>
              </a:ext>
            </a:extLst>
          </p:cNvPr>
          <p:cNvSpPr/>
          <p:nvPr/>
        </p:nvSpPr>
        <p:spPr>
          <a:xfrm>
            <a:off x="5175161" y="4286277"/>
            <a:ext cx="1828978" cy="446763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lvl="0" algn="ctr"/>
            <a:r>
              <a:rPr lang="en-US" altLang="zh-CN" sz="1600" b="1">
                <a:cs typeface="+mn-ea"/>
                <a:sym typeface="+mn-lt"/>
              </a:rPr>
              <a:t>Text h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sz="1600" b="1">
                <a:cs typeface="+mn-ea"/>
                <a:sym typeface="+mn-lt"/>
              </a:rPr>
              <a:t>ere</a:t>
            </a:r>
            <a:endParaRPr lang="zh-CN" altLang="en-US" sz="1600" b="1" dirty="0">
              <a:cs typeface="+mn-ea"/>
              <a:sym typeface="+mn-lt"/>
            </a:endParaRP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921AE7E5-F9A8-46DC-A3B8-94BF6A2C9D93}"/>
              </a:ext>
            </a:extLst>
          </p:cNvPr>
          <p:cNvSpPr txBox="1"/>
          <p:nvPr/>
        </p:nvSpPr>
        <p:spPr>
          <a:xfrm>
            <a:off x="9429427" y="4733039"/>
            <a:ext cx="1828978" cy="140106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</a:t>
            </a:r>
            <a:r>
              <a:rPr lang="en-US" altLang="zh-CN" sz="1100">
                <a:cs typeface="+mn-ea"/>
                <a:sym typeface="+mn-lt"/>
              </a:rPr>
              <a:t>to retai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n </a:t>
            </a:r>
            <a:r>
              <a:rPr lang="en-US" altLang="zh-CN" sz="1100" dirty="0">
                <a:cs typeface="+mn-ea"/>
                <a:sym typeface="+mn-lt"/>
              </a:rPr>
              <a:t>text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endParaRPr lang="en-US" altLang="zh-CN" sz="1100" dirty="0">
              <a:cs typeface="+mn-ea"/>
              <a:sym typeface="+mn-lt"/>
            </a:endParaRP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… …</a:t>
            </a: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74F68E1B-3302-46D8-84C6-3382054D3536}"/>
              </a:ext>
            </a:extLst>
          </p:cNvPr>
          <p:cNvSpPr/>
          <p:nvPr/>
        </p:nvSpPr>
        <p:spPr>
          <a:xfrm>
            <a:off x="9429427" y="4286277"/>
            <a:ext cx="1828978" cy="446763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lvl="0" algn="ctr"/>
            <a:r>
              <a:rPr lang="en-US" altLang="zh-CN" sz="1600" b="1">
                <a:cs typeface="+mn-ea"/>
                <a:sym typeface="+mn-lt"/>
              </a:rPr>
              <a:t>Text h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sz="1600" b="1">
                <a:cs typeface="+mn-ea"/>
                <a:sym typeface="+mn-lt"/>
              </a:rPr>
              <a:t>ere</a:t>
            </a:r>
            <a:endParaRPr lang="zh-CN" altLang="en-US" sz="1600" b="1" dirty="0"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388191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尽量减少外出活动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5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7" name="组合 6">
            <a:extLst>
              <a:ext uri="{FF2B5EF4-FFF2-40B4-BE49-F238E27FC236}">
                <a16:creationId xmlns:a16="http://schemas.microsoft.com/office/drawing/2014/main" id="{60F62D9C-B087-48F9-A9AF-54302424B39F}"/>
              </a:ext>
            </a:extLst>
          </p:cNvPr>
          <p:cNvGrpSpPr/>
          <p:nvPr/>
        </p:nvGrpSpPr>
        <p:grpSpPr>
          <a:xfrm>
            <a:off x="4861051" y="2038427"/>
            <a:ext cx="2865629" cy="1497499"/>
            <a:chOff x="673099" y="3173570"/>
            <a:chExt cx="2865629" cy="1497499"/>
          </a:xfrm>
        </p:grpSpPr>
        <p:sp>
          <p:nvSpPr>
            <p:cNvPr id="23" name="矩形: 圆角 22">
              <a:extLst>
                <a:ext uri="{FF2B5EF4-FFF2-40B4-BE49-F238E27FC236}">
                  <a16:creationId xmlns:a16="http://schemas.microsoft.com/office/drawing/2014/main" id="{AF27C46F-37DF-4601-87C4-41321E30C44E}"/>
                </a:ext>
              </a:extLst>
            </p:cNvPr>
            <p:cNvSpPr/>
            <p:nvPr/>
          </p:nvSpPr>
          <p:spPr>
            <a:xfrm>
              <a:off x="744879" y="3173570"/>
              <a:ext cx="2705636" cy="455854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 lnSpcReduction="10000"/>
            </a:bodyPr>
            <a:lstStyle/>
            <a:p>
              <a:pPr lvl="0" algn="ctr">
                <a:lnSpc>
                  <a:spcPct val="120000"/>
                </a:lnSpc>
              </a:pPr>
              <a:r>
                <a:rPr lang="en-US" altLang="zh-CN" sz="1400" b="1">
                  <a:solidFill>
                    <a:schemeClr val="bg1"/>
                  </a:solidFill>
                  <a:cs typeface="+mn-ea"/>
                  <a:sym typeface="+mn-lt"/>
                </a:rPr>
                <a:t>Tex</a:t>
              </a:r>
              <a:r>
                <a:rPr lang="en-US" altLang="zh-CN" sz="100" b="1">
                  <a:solidFill>
                    <a:schemeClr val="bg1"/>
                  </a:solidFill>
                  <a:cs typeface="+mn-ea"/>
                  <a:sym typeface="+mn-lt"/>
                </a:rPr>
                <a:t> </a:t>
              </a:r>
              <a:r>
                <a:rPr lang="en-US" altLang="zh-CN" sz="1400" b="1">
                  <a:solidFill>
                    <a:schemeClr val="bg1"/>
                  </a:solidFill>
                  <a:cs typeface="+mn-ea"/>
                  <a:sym typeface="+mn-lt"/>
                </a:rPr>
                <a:t>t </a:t>
              </a:r>
              <a:r>
                <a:rPr lang="en-US" altLang="zh-CN" sz="1400" b="1" dirty="0">
                  <a:solidFill>
                    <a:schemeClr val="bg1"/>
                  </a:solidFill>
                  <a:cs typeface="+mn-ea"/>
                  <a:sym typeface="+mn-lt"/>
                </a:rPr>
                <a:t>here</a:t>
              </a:r>
              <a:endParaRPr lang="zh-CN" altLang="en-US" sz="14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4" name="文本框 23">
              <a:extLst>
                <a:ext uri="{FF2B5EF4-FFF2-40B4-BE49-F238E27FC236}">
                  <a16:creationId xmlns:a16="http://schemas.microsoft.com/office/drawing/2014/main" id="{B0E3FE2F-766E-4B6D-BB9B-3A53B6AA2778}"/>
                </a:ext>
              </a:extLst>
            </p:cNvPr>
            <p:cNvSpPr txBox="1"/>
            <p:nvPr/>
          </p:nvSpPr>
          <p:spPr>
            <a:xfrm>
              <a:off x="673099" y="3679326"/>
              <a:ext cx="2865629" cy="99174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50000"/>
                </a:lnSpc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en-US" altLang="zh-CN" sz="1100">
                  <a:cs typeface="+mn-ea"/>
                  <a:sym typeface="+mn-lt"/>
                </a:rPr>
                <a:t>Copy paste fonts. Choose 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the only option to retain text.</a:t>
              </a:r>
            </a:p>
            <a:p>
              <a:pPr marL="171450" indent="-171450">
                <a:lnSpc>
                  <a:spcPct val="150000"/>
                </a:lnSpc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en-US" altLang="zh-CN" sz="1100">
                  <a:cs typeface="+mn-ea"/>
                  <a:sym typeface="+mn-lt"/>
                </a:rPr>
                <a:t>… …</a:t>
              </a:r>
            </a:p>
          </p:txBody>
        </p:sp>
      </p:grpSp>
      <p:grpSp>
        <p:nvGrpSpPr>
          <p:cNvPr id="8" name="组合 7">
            <a:extLst>
              <a:ext uri="{FF2B5EF4-FFF2-40B4-BE49-F238E27FC236}">
                <a16:creationId xmlns:a16="http://schemas.microsoft.com/office/drawing/2014/main" id="{38B32E90-9134-4748-98E7-6AC4DAEAFB22}"/>
              </a:ext>
            </a:extLst>
          </p:cNvPr>
          <p:cNvGrpSpPr/>
          <p:nvPr/>
        </p:nvGrpSpPr>
        <p:grpSpPr>
          <a:xfrm>
            <a:off x="8654859" y="2038427"/>
            <a:ext cx="2865629" cy="1497499"/>
            <a:chOff x="673099" y="3173570"/>
            <a:chExt cx="2865629" cy="1497499"/>
          </a:xfrm>
        </p:grpSpPr>
        <p:sp>
          <p:nvSpPr>
            <p:cNvPr id="21" name="矩形: 圆角 20">
              <a:extLst>
                <a:ext uri="{FF2B5EF4-FFF2-40B4-BE49-F238E27FC236}">
                  <a16:creationId xmlns:a16="http://schemas.microsoft.com/office/drawing/2014/main" id="{7DB71E64-EC7A-4CC4-B6E3-2B1A3BF48F60}"/>
                </a:ext>
              </a:extLst>
            </p:cNvPr>
            <p:cNvSpPr/>
            <p:nvPr/>
          </p:nvSpPr>
          <p:spPr>
            <a:xfrm>
              <a:off x="744879" y="3173570"/>
              <a:ext cx="2705636" cy="455854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 lnSpcReduction="10000"/>
            </a:bodyPr>
            <a:lstStyle/>
            <a:p>
              <a:pPr lvl="0" algn="ctr">
                <a:lnSpc>
                  <a:spcPct val="120000"/>
                </a:lnSpc>
              </a:pPr>
              <a:r>
                <a:rPr lang="en-US" altLang="zh-CN" sz="1400" b="1">
                  <a:solidFill>
                    <a:schemeClr val="bg1"/>
                  </a:solidFill>
                  <a:cs typeface="+mn-ea"/>
                  <a:sym typeface="+mn-lt"/>
                </a:rPr>
                <a:t>Tex</a:t>
              </a:r>
              <a:r>
                <a:rPr lang="en-US" altLang="zh-CN" sz="100" b="1">
                  <a:solidFill>
                    <a:schemeClr val="bg1"/>
                  </a:solidFill>
                  <a:cs typeface="+mn-ea"/>
                  <a:sym typeface="+mn-lt"/>
                </a:rPr>
                <a:t> </a:t>
              </a:r>
              <a:r>
                <a:rPr lang="en-US" altLang="zh-CN" sz="1400" b="1">
                  <a:solidFill>
                    <a:schemeClr val="bg1"/>
                  </a:solidFill>
                  <a:cs typeface="+mn-ea"/>
                  <a:sym typeface="+mn-lt"/>
                </a:rPr>
                <a:t>t </a:t>
              </a:r>
              <a:r>
                <a:rPr lang="en-US" altLang="zh-CN" sz="1400" b="1" dirty="0">
                  <a:solidFill>
                    <a:schemeClr val="bg1"/>
                  </a:solidFill>
                  <a:cs typeface="+mn-ea"/>
                  <a:sym typeface="+mn-lt"/>
                </a:rPr>
                <a:t>here</a:t>
              </a:r>
              <a:endParaRPr lang="zh-CN" altLang="en-US" sz="14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2" name="文本框 21">
              <a:extLst>
                <a:ext uri="{FF2B5EF4-FFF2-40B4-BE49-F238E27FC236}">
                  <a16:creationId xmlns:a16="http://schemas.microsoft.com/office/drawing/2014/main" id="{CFF67B90-E769-430F-B4B1-E5DA251E124F}"/>
                </a:ext>
              </a:extLst>
            </p:cNvPr>
            <p:cNvSpPr txBox="1"/>
            <p:nvPr/>
          </p:nvSpPr>
          <p:spPr>
            <a:xfrm>
              <a:off x="673099" y="3679326"/>
              <a:ext cx="2865629" cy="99174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50000"/>
                </a:lnSpc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en-US" altLang="zh-CN" sz="1100">
                  <a:cs typeface="+mn-ea"/>
                  <a:sym typeface="+mn-lt"/>
                </a:rPr>
                <a:t>Copy paste fonts. Choose 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the only option to retain text.</a:t>
              </a:r>
            </a:p>
            <a:p>
              <a:pPr marL="171450" indent="-171450">
                <a:lnSpc>
                  <a:spcPct val="150000"/>
                </a:lnSpc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en-US" altLang="zh-CN" sz="1100">
                  <a:cs typeface="+mn-ea"/>
                  <a:sym typeface="+mn-lt"/>
                </a:rPr>
                <a:t>… …</a:t>
              </a:r>
            </a:p>
          </p:txBody>
        </p:sp>
      </p:grpSp>
      <p:grpSp>
        <p:nvGrpSpPr>
          <p:cNvPr id="9" name="组合 8">
            <a:extLst>
              <a:ext uri="{FF2B5EF4-FFF2-40B4-BE49-F238E27FC236}">
                <a16:creationId xmlns:a16="http://schemas.microsoft.com/office/drawing/2014/main" id="{AF4276B5-11B3-4E0E-8705-4A59433DE80B}"/>
              </a:ext>
            </a:extLst>
          </p:cNvPr>
          <p:cNvGrpSpPr/>
          <p:nvPr/>
        </p:nvGrpSpPr>
        <p:grpSpPr>
          <a:xfrm>
            <a:off x="4861051" y="4059251"/>
            <a:ext cx="2865629" cy="1497499"/>
            <a:chOff x="673099" y="3173570"/>
            <a:chExt cx="2865629" cy="1497499"/>
          </a:xfrm>
        </p:grpSpPr>
        <p:sp>
          <p:nvSpPr>
            <p:cNvPr id="19" name="矩形: 圆角 18">
              <a:extLst>
                <a:ext uri="{FF2B5EF4-FFF2-40B4-BE49-F238E27FC236}">
                  <a16:creationId xmlns:a16="http://schemas.microsoft.com/office/drawing/2014/main" id="{084E98EF-DF66-412E-AED6-9AD62537107D}"/>
                </a:ext>
              </a:extLst>
            </p:cNvPr>
            <p:cNvSpPr/>
            <p:nvPr/>
          </p:nvSpPr>
          <p:spPr>
            <a:xfrm>
              <a:off x="744879" y="3173570"/>
              <a:ext cx="2705636" cy="455854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 lnSpcReduction="10000"/>
            </a:bodyPr>
            <a:lstStyle/>
            <a:p>
              <a:pPr lvl="0" algn="ctr">
                <a:lnSpc>
                  <a:spcPct val="120000"/>
                </a:lnSpc>
              </a:pPr>
              <a:r>
                <a:rPr lang="en-US" altLang="zh-CN" sz="1400" b="1">
                  <a:solidFill>
                    <a:schemeClr val="bg1"/>
                  </a:solidFill>
                  <a:cs typeface="+mn-ea"/>
                  <a:sym typeface="+mn-lt"/>
                </a:rPr>
                <a:t>Tex</a:t>
              </a:r>
              <a:r>
                <a:rPr lang="en-US" altLang="zh-CN" sz="100" b="1">
                  <a:solidFill>
                    <a:schemeClr val="bg1"/>
                  </a:solidFill>
                  <a:cs typeface="+mn-ea"/>
                  <a:sym typeface="+mn-lt"/>
                </a:rPr>
                <a:t> </a:t>
              </a:r>
              <a:r>
                <a:rPr lang="en-US" altLang="zh-CN" sz="1400" b="1">
                  <a:solidFill>
                    <a:schemeClr val="bg1"/>
                  </a:solidFill>
                  <a:cs typeface="+mn-ea"/>
                  <a:sym typeface="+mn-lt"/>
                </a:rPr>
                <a:t>t </a:t>
              </a:r>
              <a:r>
                <a:rPr lang="en-US" altLang="zh-CN" sz="1400" b="1" dirty="0">
                  <a:solidFill>
                    <a:schemeClr val="bg1"/>
                  </a:solidFill>
                  <a:cs typeface="+mn-ea"/>
                  <a:sym typeface="+mn-lt"/>
                </a:rPr>
                <a:t>here</a:t>
              </a:r>
              <a:endParaRPr lang="zh-CN" altLang="en-US" sz="14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0" name="文本框 19">
              <a:extLst>
                <a:ext uri="{FF2B5EF4-FFF2-40B4-BE49-F238E27FC236}">
                  <a16:creationId xmlns:a16="http://schemas.microsoft.com/office/drawing/2014/main" id="{487FE1C0-302F-452C-8B8E-97E597679D96}"/>
                </a:ext>
              </a:extLst>
            </p:cNvPr>
            <p:cNvSpPr txBox="1"/>
            <p:nvPr/>
          </p:nvSpPr>
          <p:spPr>
            <a:xfrm>
              <a:off x="673099" y="3679326"/>
              <a:ext cx="2865629" cy="99174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50000"/>
                </a:lnSpc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en-US" altLang="zh-CN" sz="1100">
                  <a:cs typeface="+mn-ea"/>
                  <a:sym typeface="+mn-lt"/>
                </a:rPr>
                <a:t>Copy paste fonts. Choose 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the only option to retain text.</a:t>
              </a:r>
            </a:p>
            <a:p>
              <a:pPr marL="171450" indent="-171450">
                <a:lnSpc>
                  <a:spcPct val="150000"/>
                </a:lnSpc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en-US" altLang="zh-CN" sz="1100">
                  <a:cs typeface="+mn-ea"/>
                  <a:sym typeface="+mn-lt"/>
                </a:rPr>
                <a:t>… …</a:t>
              </a:r>
            </a:p>
          </p:txBody>
        </p:sp>
      </p:grpSp>
      <p:grpSp>
        <p:nvGrpSpPr>
          <p:cNvPr id="10" name="组合 9">
            <a:extLst>
              <a:ext uri="{FF2B5EF4-FFF2-40B4-BE49-F238E27FC236}">
                <a16:creationId xmlns:a16="http://schemas.microsoft.com/office/drawing/2014/main" id="{513E0D57-FF3A-4E0C-B139-F23968F592FC}"/>
              </a:ext>
            </a:extLst>
          </p:cNvPr>
          <p:cNvGrpSpPr/>
          <p:nvPr/>
        </p:nvGrpSpPr>
        <p:grpSpPr>
          <a:xfrm>
            <a:off x="8654859" y="4059251"/>
            <a:ext cx="2865629" cy="1497499"/>
            <a:chOff x="673099" y="3173570"/>
            <a:chExt cx="2865629" cy="1497499"/>
          </a:xfrm>
        </p:grpSpPr>
        <p:sp>
          <p:nvSpPr>
            <p:cNvPr id="17" name="矩形: 圆角 16">
              <a:extLst>
                <a:ext uri="{FF2B5EF4-FFF2-40B4-BE49-F238E27FC236}">
                  <a16:creationId xmlns:a16="http://schemas.microsoft.com/office/drawing/2014/main" id="{04A00C8D-F77B-4D9C-BBF6-1D30547962A8}"/>
                </a:ext>
              </a:extLst>
            </p:cNvPr>
            <p:cNvSpPr/>
            <p:nvPr/>
          </p:nvSpPr>
          <p:spPr>
            <a:xfrm>
              <a:off x="744879" y="3173570"/>
              <a:ext cx="2705636" cy="455854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 lnSpcReduction="10000"/>
            </a:bodyPr>
            <a:lstStyle/>
            <a:p>
              <a:pPr lvl="0" algn="ctr">
                <a:lnSpc>
                  <a:spcPct val="120000"/>
                </a:lnSpc>
              </a:pPr>
              <a:r>
                <a:rPr lang="en-US" altLang="zh-CN" sz="1400" b="1">
                  <a:solidFill>
                    <a:schemeClr val="bg1"/>
                  </a:solidFill>
                  <a:cs typeface="+mn-ea"/>
                  <a:sym typeface="+mn-lt"/>
                </a:rPr>
                <a:t>Tex</a:t>
              </a:r>
              <a:r>
                <a:rPr lang="en-US" altLang="zh-CN" sz="100" b="1">
                  <a:solidFill>
                    <a:schemeClr val="bg1"/>
                  </a:solidFill>
                  <a:cs typeface="+mn-ea"/>
                  <a:sym typeface="+mn-lt"/>
                </a:rPr>
                <a:t> </a:t>
              </a:r>
              <a:r>
                <a:rPr lang="en-US" altLang="zh-CN" sz="1400" b="1">
                  <a:solidFill>
                    <a:schemeClr val="bg1"/>
                  </a:solidFill>
                  <a:cs typeface="+mn-ea"/>
                  <a:sym typeface="+mn-lt"/>
                </a:rPr>
                <a:t>t </a:t>
              </a:r>
              <a:r>
                <a:rPr lang="en-US" altLang="zh-CN" sz="1400" b="1" dirty="0">
                  <a:solidFill>
                    <a:schemeClr val="bg1"/>
                  </a:solidFill>
                  <a:cs typeface="+mn-ea"/>
                  <a:sym typeface="+mn-lt"/>
                </a:rPr>
                <a:t>here</a:t>
              </a:r>
              <a:endParaRPr lang="zh-CN" altLang="en-US" sz="14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8" name="文本框 17">
              <a:extLst>
                <a:ext uri="{FF2B5EF4-FFF2-40B4-BE49-F238E27FC236}">
                  <a16:creationId xmlns:a16="http://schemas.microsoft.com/office/drawing/2014/main" id="{D9DEE1AD-8E7B-4F43-88EB-AFA6480820DD}"/>
                </a:ext>
              </a:extLst>
            </p:cNvPr>
            <p:cNvSpPr txBox="1"/>
            <p:nvPr/>
          </p:nvSpPr>
          <p:spPr>
            <a:xfrm>
              <a:off x="673099" y="3679326"/>
              <a:ext cx="2865629" cy="99174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50000"/>
                </a:lnSpc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en-US" altLang="zh-CN" sz="1100">
                  <a:cs typeface="+mn-ea"/>
                  <a:sym typeface="+mn-lt"/>
                </a:rPr>
                <a:t>Copy paste fonts. Choose 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the only option to retain text.</a:t>
              </a:r>
            </a:p>
            <a:p>
              <a:pPr marL="171450" indent="-171450">
                <a:lnSpc>
                  <a:spcPct val="150000"/>
                </a:lnSpc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en-US" altLang="zh-CN" sz="1100">
                  <a:cs typeface="+mn-ea"/>
                  <a:sym typeface="+mn-lt"/>
                </a:rPr>
                <a:t>… …</a:t>
              </a:r>
            </a:p>
          </p:txBody>
        </p:sp>
      </p:grpSp>
      <p:sp>
        <p:nvSpPr>
          <p:cNvPr id="11" name="矩形 10">
            <a:extLst>
              <a:ext uri="{FF2B5EF4-FFF2-40B4-BE49-F238E27FC236}">
                <a16:creationId xmlns:a16="http://schemas.microsoft.com/office/drawing/2014/main" id="{51BC468C-8C0C-404C-BEA8-AE743D53AFC3}"/>
              </a:ext>
            </a:extLst>
          </p:cNvPr>
          <p:cNvSpPr/>
          <p:nvPr/>
        </p:nvSpPr>
        <p:spPr>
          <a:xfrm>
            <a:off x="669925" y="2605071"/>
            <a:ext cx="2865628" cy="45585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lvl="0">
              <a:lnSpc>
                <a:spcPct val="120000"/>
              </a:lnSpc>
            </a:pPr>
            <a:r>
              <a:rPr lang="en-US" altLang="zh-CN" sz="1600" b="1">
                <a:solidFill>
                  <a:schemeClr val="tx1"/>
                </a:solidFill>
                <a:cs typeface="+mn-ea"/>
                <a:sym typeface="+mn-lt"/>
              </a:rPr>
              <a:t>Tex</a:t>
            </a:r>
            <a:r>
              <a:rPr lang="en-US" altLang="zh-CN" sz="100" b="1">
                <a:solidFill>
                  <a:schemeClr val="tx1"/>
                </a:solidFill>
                <a:cs typeface="+mn-ea"/>
                <a:sym typeface="+mn-lt"/>
              </a:rPr>
              <a:t> </a:t>
            </a:r>
            <a:r>
              <a:rPr lang="en-US" altLang="zh-CN" sz="1600" b="1">
                <a:solidFill>
                  <a:schemeClr val="tx1"/>
                </a:solidFill>
                <a:cs typeface="+mn-ea"/>
                <a:sym typeface="+mn-lt"/>
              </a:rPr>
              <a:t>t </a:t>
            </a:r>
            <a:r>
              <a:rPr lang="en-US" altLang="zh-CN" sz="1600" b="1" dirty="0">
                <a:solidFill>
                  <a:schemeClr val="tx1"/>
                </a:solidFill>
                <a:cs typeface="+mn-ea"/>
                <a:sym typeface="+mn-lt"/>
              </a:rPr>
              <a:t>here</a:t>
            </a:r>
            <a:endParaRPr lang="zh-CN" altLang="en-US" sz="16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82F125A6-8E9C-4CC4-8AF8-BFD57C836B13}"/>
              </a:ext>
            </a:extLst>
          </p:cNvPr>
          <p:cNvSpPr txBox="1"/>
          <p:nvPr/>
        </p:nvSpPr>
        <p:spPr>
          <a:xfrm>
            <a:off x="669925" y="3110827"/>
            <a:ext cx="2865629" cy="991743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100">
                <a:cs typeface="+mn-ea"/>
                <a:sym typeface="+mn-lt"/>
              </a:rPr>
              <a:t>Copy paste fonts. Choose 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the only option to retain text.</a:t>
            </a:r>
          </a:p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100">
                <a:cs typeface="+mn-ea"/>
                <a:sym typeface="+mn-lt"/>
              </a:rPr>
              <a:t>… …</a:t>
            </a:r>
          </a:p>
        </p:txBody>
      </p:sp>
      <p:sp>
        <p:nvSpPr>
          <p:cNvPr id="13" name="任意多边形: 形状 12">
            <a:extLst>
              <a:ext uri="{FF2B5EF4-FFF2-40B4-BE49-F238E27FC236}">
                <a16:creationId xmlns:a16="http://schemas.microsoft.com/office/drawing/2014/main" id="{84F384FB-4A89-42D8-A84A-0D8556BDAAF0}"/>
              </a:ext>
            </a:extLst>
          </p:cNvPr>
          <p:cNvSpPr/>
          <p:nvPr/>
        </p:nvSpPr>
        <p:spPr>
          <a:xfrm>
            <a:off x="6100377" y="1575563"/>
            <a:ext cx="386976" cy="386382"/>
          </a:xfrm>
          <a:custGeom>
            <a:avLst/>
            <a:gdLst>
              <a:gd name="connsiteX0" fmla="*/ 434432 w 578320"/>
              <a:gd name="connsiteY0" fmla="*/ 403374 h 577432"/>
              <a:gd name="connsiteX1" fmla="*/ 398460 w 578320"/>
              <a:gd name="connsiteY1" fmla="*/ 497310 h 577432"/>
              <a:gd name="connsiteX2" fmla="*/ 479628 w 578320"/>
              <a:gd name="connsiteY2" fmla="*/ 428239 h 577432"/>
              <a:gd name="connsiteX3" fmla="*/ 434432 w 578320"/>
              <a:gd name="connsiteY3" fmla="*/ 403374 h 577432"/>
              <a:gd name="connsiteX4" fmla="*/ 355072 w 578320"/>
              <a:gd name="connsiteY4" fmla="*/ 324108 h 577432"/>
              <a:gd name="connsiteX5" fmla="*/ 188173 w 578320"/>
              <a:gd name="connsiteY5" fmla="*/ 350812 h 577432"/>
              <a:gd name="connsiteX6" fmla="*/ 221368 w 578320"/>
              <a:gd name="connsiteY6" fmla="*/ 383963 h 577432"/>
              <a:gd name="connsiteX7" fmla="*/ 214914 w 578320"/>
              <a:gd name="connsiteY7" fmla="*/ 393171 h 577432"/>
              <a:gd name="connsiteX8" fmla="*/ 60001 w 578320"/>
              <a:gd name="connsiteY8" fmla="*/ 513800 h 577432"/>
              <a:gd name="connsiteX9" fmla="*/ 39715 w 578320"/>
              <a:gd name="connsiteY9" fmla="*/ 510117 h 577432"/>
              <a:gd name="connsiteX10" fmla="*/ 110717 w 578320"/>
              <a:gd name="connsiteY10" fmla="*/ 537742 h 577432"/>
              <a:gd name="connsiteX11" fmla="*/ 286837 w 578320"/>
              <a:gd name="connsiteY11" fmla="*/ 464996 h 577432"/>
              <a:gd name="connsiteX12" fmla="*/ 296058 w 578320"/>
              <a:gd name="connsiteY12" fmla="*/ 458550 h 577432"/>
              <a:gd name="connsiteX13" fmla="*/ 328331 w 578320"/>
              <a:gd name="connsiteY13" fmla="*/ 490779 h 577432"/>
              <a:gd name="connsiteX14" fmla="*/ 351384 w 578320"/>
              <a:gd name="connsiteY14" fmla="*/ 298325 h 577432"/>
              <a:gd name="connsiteX15" fmla="*/ 374436 w 578320"/>
              <a:gd name="connsiteY15" fmla="*/ 305692 h 577432"/>
              <a:gd name="connsiteX16" fmla="*/ 381813 w 578320"/>
              <a:gd name="connsiteY16" fmla="*/ 328712 h 577432"/>
              <a:gd name="connsiteX17" fmla="*/ 354150 w 578320"/>
              <a:gd name="connsiteY17" fmla="*/ 495383 h 577432"/>
              <a:gd name="connsiteX18" fmla="*/ 336630 w 578320"/>
              <a:gd name="connsiteY18" fmla="*/ 515642 h 577432"/>
              <a:gd name="connsiteX19" fmla="*/ 328331 w 578320"/>
              <a:gd name="connsiteY19" fmla="*/ 516563 h 577432"/>
              <a:gd name="connsiteX20" fmla="*/ 309889 w 578320"/>
              <a:gd name="connsiteY20" fmla="*/ 509196 h 577432"/>
              <a:gd name="connsiteX21" fmla="*/ 293292 w 578320"/>
              <a:gd name="connsiteY21" fmla="*/ 492621 h 577432"/>
              <a:gd name="connsiteX22" fmla="*/ 110717 w 578320"/>
              <a:gd name="connsiteY22" fmla="*/ 563525 h 577432"/>
              <a:gd name="connsiteX23" fmla="*/ 21273 w 578320"/>
              <a:gd name="connsiteY23" fmla="*/ 528534 h 577432"/>
              <a:gd name="connsiteX24" fmla="*/ 17585 w 578320"/>
              <a:gd name="connsiteY24" fmla="*/ 494463 h 577432"/>
              <a:gd name="connsiteX25" fmla="*/ 50780 w 578320"/>
              <a:gd name="connsiteY25" fmla="*/ 486175 h 577432"/>
              <a:gd name="connsiteX26" fmla="*/ 60001 w 578320"/>
              <a:gd name="connsiteY26" fmla="*/ 488017 h 577432"/>
              <a:gd name="connsiteX27" fmla="*/ 186329 w 578320"/>
              <a:gd name="connsiteY27" fmla="*/ 386725 h 577432"/>
              <a:gd name="connsiteX28" fmla="*/ 169731 w 578320"/>
              <a:gd name="connsiteY28" fmla="*/ 369229 h 577432"/>
              <a:gd name="connsiteX29" fmla="*/ 163276 w 578320"/>
              <a:gd name="connsiteY29" fmla="*/ 343446 h 577432"/>
              <a:gd name="connsiteX30" fmla="*/ 184484 w 578320"/>
              <a:gd name="connsiteY30" fmla="*/ 325029 h 577432"/>
              <a:gd name="connsiteX31" fmla="*/ 505454 w 578320"/>
              <a:gd name="connsiteY31" fmla="*/ 194319 h 577432"/>
              <a:gd name="connsiteX32" fmla="*/ 442733 w 578320"/>
              <a:gd name="connsiteY32" fmla="*/ 226552 h 577432"/>
              <a:gd name="connsiteX33" fmla="*/ 446423 w 578320"/>
              <a:gd name="connsiteY33" fmla="*/ 288255 h 577432"/>
              <a:gd name="connsiteX34" fmla="*/ 442733 w 578320"/>
              <a:gd name="connsiteY34" fmla="*/ 350880 h 577432"/>
              <a:gd name="connsiteX35" fmla="*/ 505454 w 578320"/>
              <a:gd name="connsiteY35" fmla="*/ 382192 h 577432"/>
              <a:gd name="connsiteX36" fmla="*/ 525746 w 578320"/>
              <a:gd name="connsiteY36" fmla="*/ 288255 h 577432"/>
              <a:gd name="connsiteX37" fmla="*/ 505454 w 578320"/>
              <a:gd name="connsiteY37" fmla="*/ 194319 h 577432"/>
              <a:gd name="connsiteX38" fmla="*/ 71944 w 578320"/>
              <a:gd name="connsiteY38" fmla="*/ 194319 h 577432"/>
              <a:gd name="connsiteX39" fmla="*/ 52575 w 578320"/>
              <a:gd name="connsiteY39" fmla="*/ 288255 h 577432"/>
              <a:gd name="connsiteX40" fmla="*/ 71944 w 578320"/>
              <a:gd name="connsiteY40" fmla="*/ 382192 h 577432"/>
              <a:gd name="connsiteX41" fmla="*/ 134665 w 578320"/>
              <a:gd name="connsiteY41" fmla="*/ 350880 h 577432"/>
              <a:gd name="connsiteX42" fmla="*/ 130975 w 578320"/>
              <a:gd name="connsiteY42" fmla="*/ 288255 h 577432"/>
              <a:gd name="connsiteX43" fmla="*/ 134665 w 578320"/>
              <a:gd name="connsiteY43" fmla="*/ 226552 h 577432"/>
              <a:gd name="connsiteX44" fmla="*/ 71944 w 578320"/>
              <a:gd name="connsiteY44" fmla="*/ 194319 h 577432"/>
              <a:gd name="connsiteX45" fmla="*/ 398460 w 578320"/>
              <a:gd name="connsiteY45" fmla="*/ 79201 h 577432"/>
              <a:gd name="connsiteX46" fmla="*/ 434432 w 578320"/>
              <a:gd name="connsiteY46" fmla="*/ 174058 h 577432"/>
              <a:gd name="connsiteX47" fmla="*/ 479628 w 578320"/>
              <a:gd name="connsiteY47" fmla="*/ 149193 h 577432"/>
              <a:gd name="connsiteX48" fmla="*/ 398460 w 578320"/>
              <a:gd name="connsiteY48" fmla="*/ 79201 h 577432"/>
              <a:gd name="connsiteX49" fmla="*/ 178938 w 578320"/>
              <a:gd name="connsiteY49" fmla="*/ 79201 h 577432"/>
              <a:gd name="connsiteX50" fmla="*/ 98693 w 578320"/>
              <a:gd name="connsiteY50" fmla="*/ 149193 h 577432"/>
              <a:gd name="connsiteX51" fmla="*/ 143888 w 578320"/>
              <a:gd name="connsiteY51" fmla="*/ 174058 h 577432"/>
              <a:gd name="connsiteX52" fmla="*/ 178938 w 578320"/>
              <a:gd name="connsiteY52" fmla="*/ 79201 h 577432"/>
              <a:gd name="connsiteX53" fmla="*/ 315447 w 578320"/>
              <a:gd name="connsiteY53" fmla="*/ 61703 h 577432"/>
              <a:gd name="connsiteX54" fmla="*/ 315447 w 578320"/>
              <a:gd name="connsiteY54" fmla="*/ 198924 h 577432"/>
              <a:gd name="connsiteX55" fmla="*/ 383702 w 578320"/>
              <a:gd name="connsiteY55" fmla="*/ 189714 h 577432"/>
              <a:gd name="connsiteX56" fmla="*/ 315447 w 578320"/>
              <a:gd name="connsiteY56" fmla="*/ 61703 h 577432"/>
              <a:gd name="connsiteX57" fmla="*/ 262873 w 578320"/>
              <a:gd name="connsiteY57" fmla="*/ 61703 h 577432"/>
              <a:gd name="connsiteX58" fmla="*/ 194618 w 578320"/>
              <a:gd name="connsiteY58" fmla="*/ 189714 h 577432"/>
              <a:gd name="connsiteX59" fmla="*/ 262873 w 578320"/>
              <a:gd name="connsiteY59" fmla="*/ 198924 h 577432"/>
              <a:gd name="connsiteX60" fmla="*/ 288699 w 578320"/>
              <a:gd name="connsiteY60" fmla="*/ 0 h 577432"/>
              <a:gd name="connsiteX61" fmla="*/ 578320 w 578320"/>
              <a:gd name="connsiteY61" fmla="*/ 288255 h 577432"/>
              <a:gd name="connsiteX62" fmla="*/ 288699 w 578320"/>
              <a:gd name="connsiteY62" fmla="*/ 577432 h 577432"/>
              <a:gd name="connsiteX63" fmla="*/ 213065 w 578320"/>
              <a:gd name="connsiteY63" fmla="*/ 567302 h 577432"/>
              <a:gd name="connsiteX64" fmla="*/ 289621 w 578320"/>
              <a:gd name="connsiteY64" fmla="*/ 526780 h 577432"/>
              <a:gd name="connsiteX65" fmla="*/ 291466 w 578320"/>
              <a:gd name="connsiteY65" fmla="*/ 527701 h 577432"/>
              <a:gd name="connsiteX66" fmla="*/ 328360 w 578320"/>
              <a:gd name="connsiteY66" fmla="*/ 543357 h 577432"/>
              <a:gd name="connsiteX67" fmla="*/ 344963 w 578320"/>
              <a:gd name="connsiteY67" fmla="*/ 540594 h 577432"/>
              <a:gd name="connsiteX68" fmla="*/ 380013 w 578320"/>
              <a:gd name="connsiteY68" fmla="*/ 499152 h 577432"/>
              <a:gd name="connsiteX69" fmla="*/ 407683 w 578320"/>
              <a:gd name="connsiteY69" fmla="*/ 332461 h 577432"/>
              <a:gd name="connsiteX70" fmla="*/ 393848 w 578320"/>
              <a:gd name="connsiteY70" fmla="*/ 288255 h 577432"/>
              <a:gd name="connsiteX71" fmla="*/ 392003 w 578320"/>
              <a:gd name="connsiteY71" fmla="*/ 241287 h 577432"/>
              <a:gd name="connsiteX72" fmla="*/ 315447 w 578320"/>
              <a:gd name="connsiteY72" fmla="*/ 251418 h 577432"/>
              <a:gd name="connsiteX73" fmla="*/ 315447 w 578320"/>
              <a:gd name="connsiteY73" fmla="*/ 277204 h 577432"/>
              <a:gd name="connsiteX74" fmla="*/ 262873 w 578320"/>
              <a:gd name="connsiteY74" fmla="*/ 286413 h 577432"/>
              <a:gd name="connsiteX75" fmla="*/ 262873 w 578320"/>
              <a:gd name="connsiteY75" fmla="*/ 251418 h 577432"/>
              <a:gd name="connsiteX76" fmla="*/ 186317 w 578320"/>
              <a:gd name="connsiteY76" fmla="*/ 241287 h 577432"/>
              <a:gd name="connsiteX77" fmla="*/ 183550 w 578320"/>
              <a:gd name="connsiteY77" fmla="*/ 288255 h 577432"/>
              <a:gd name="connsiteX78" fmla="*/ 184472 w 578320"/>
              <a:gd name="connsiteY78" fmla="*/ 298386 h 577432"/>
              <a:gd name="connsiteX79" fmla="*/ 179860 w 578320"/>
              <a:gd name="connsiteY79" fmla="*/ 299307 h 577432"/>
              <a:gd name="connsiteX80" fmla="*/ 138354 w 578320"/>
              <a:gd name="connsiteY80" fmla="*/ 335224 h 577432"/>
              <a:gd name="connsiteX81" fmla="*/ 151267 w 578320"/>
              <a:gd name="connsiteY81" fmla="*/ 387718 h 577432"/>
              <a:gd name="connsiteX82" fmla="*/ 132820 w 578320"/>
              <a:gd name="connsiteY82" fmla="*/ 407979 h 577432"/>
              <a:gd name="connsiteX83" fmla="*/ 98693 w 578320"/>
              <a:gd name="connsiteY83" fmla="*/ 428239 h 577432"/>
              <a:gd name="connsiteX84" fmla="*/ 104227 w 578320"/>
              <a:gd name="connsiteY84" fmla="*/ 435607 h 577432"/>
              <a:gd name="connsiteX85" fmla="*/ 59953 w 578320"/>
              <a:gd name="connsiteY85" fmla="*/ 461393 h 577432"/>
              <a:gd name="connsiteX86" fmla="*/ 57186 w 578320"/>
              <a:gd name="connsiteY86" fmla="*/ 460472 h 577432"/>
              <a:gd name="connsiteX87" fmla="*/ 0 w 578320"/>
              <a:gd name="connsiteY87" fmla="*/ 288255 h 577432"/>
              <a:gd name="connsiteX88" fmla="*/ 288699 w 578320"/>
              <a:gd name="connsiteY88" fmla="*/ 0 h 57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</a:cxnLst>
            <a:rect l="l" t="t" r="r" b="b"/>
            <a:pathLst>
              <a:path w="578320" h="577432">
                <a:moveTo>
                  <a:pt x="434432" y="403374"/>
                </a:moveTo>
                <a:cubicBezTo>
                  <a:pt x="426131" y="439291"/>
                  <a:pt x="413218" y="471524"/>
                  <a:pt x="398460" y="497310"/>
                </a:cubicBezTo>
                <a:cubicBezTo>
                  <a:pt x="430742" y="480733"/>
                  <a:pt x="458413" y="456789"/>
                  <a:pt x="479628" y="428239"/>
                </a:cubicBezTo>
                <a:cubicBezTo>
                  <a:pt x="466714" y="419030"/>
                  <a:pt x="451034" y="410741"/>
                  <a:pt x="434432" y="403374"/>
                </a:cubicBezTo>
                <a:close/>
                <a:moveTo>
                  <a:pt x="355072" y="324108"/>
                </a:moveTo>
                <a:lnTo>
                  <a:pt x="188173" y="350812"/>
                </a:lnTo>
                <a:lnTo>
                  <a:pt x="221368" y="383963"/>
                </a:lnTo>
                <a:lnTo>
                  <a:pt x="214914" y="393171"/>
                </a:lnTo>
                <a:cubicBezTo>
                  <a:pt x="199238" y="413429"/>
                  <a:pt x="119938" y="513800"/>
                  <a:pt x="60001" y="513800"/>
                </a:cubicBezTo>
                <a:cubicBezTo>
                  <a:pt x="52625" y="513800"/>
                  <a:pt x="46170" y="512879"/>
                  <a:pt x="39715" y="510117"/>
                </a:cubicBezTo>
                <a:cubicBezTo>
                  <a:pt x="58157" y="528534"/>
                  <a:pt x="82132" y="537742"/>
                  <a:pt x="110717" y="537742"/>
                </a:cubicBezTo>
                <a:cubicBezTo>
                  <a:pt x="181718" y="537742"/>
                  <a:pt x="263785" y="481571"/>
                  <a:pt x="286837" y="464996"/>
                </a:cubicBezTo>
                <a:lnTo>
                  <a:pt x="296058" y="458550"/>
                </a:lnTo>
                <a:lnTo>
                  <a:pt x="328331" y="490779"/>
                </a:lnTo>
                <a:close/>
                <a:moveTo>
                  <a:pt x="351384" y="298325"/>
                </a:moveTo>
                <a:cubicBezTo>
                  <a:pt x="360605" y="296483"/>
                  <a:pt x="367982" y="299246"/>
                  <a:pt x="374436" y="305692"/>
                </a:cubicBezTo>
                <a:cubicBezTo>
                  <a:pt x="379969" y="311217"/>
                  <a:pt x="382735" y="320425"/>
                  <a:pt x="381813" y="328712"/>
                </a:cubicBezTo>
                <a:lnTo>
                  <a:pt x="354150" y="495383"/>
                </a:lnTo>
                <a:cubicBezTo>
                  <a:pt x="352306" y="504592"/>
                  <a:pt x="345851" y="512879"/>
                  <a:pt x="336630" y="515642"/>
                </a:cubicBezTo>
                <a:cubicBezTo>
                  <a:pt x="333864" y="516563"/>
                  <a:pt x="331098" y="516563"/>
                  <a:pt x="328331" y="516563"/>
                </a:cubicBezTo>
                <a:cubicBezTo>
                  <a:pt x="321877" y="516563"/>
                  <a:pt x="314500" y="513800"/>
                  <a:pt x="309889" y="509196"/>
                </a:cubicBezTo>
                <a:lnTo>
                  <a:pt x="293292" y="492621"/>
                </a:lnTo>
                <a:cubicBezTo>
                  <a:pt x="256408" y="518404"/>
                  <a:pt x="181718" y="563525"/>
                  <a:pt x="110717" y="563525"/>
                </a:cubicBezTo>
                <a:cubicBezTo>
                  <a:pt x="74755" y="563525"/>
                  <a:pt x="44326" y="551554"/>
                  <a:pt x="21273" y="528534"/>
                </a:cubicBezTo>
                <a:cubicBezTo>
                  <a:pt x="12052" y="519325"/>
                  <a:pt x="10208" y="505513"/>
                  <a:pt x="17585" y="494463"/>
                </a:cubicBezTo>
                <a:cubicBezTo>
                  <a:pt x="24962" y="484333"/>
                  <a:pt x="38793" y="480650"/>
                  <a:pt x="50780" y="486175"/>
                </a:cubicBezTo>
                <a:cubicBezTo>
                  <a:pt x="53547" y="487096"/>
                  <a:pt x="56313" y="488017"/>
                  <a:pt x="60001" y="488017"/>
                </a:cubicBezTo>
                <a:cubicBezTo>
                  <a:pt x="92275" y="488017"/>
                  <a:pt x="146678" y="436450"/>
                  <a:pt x="186329" y="386725"/>
                </a:cubicBezTo>
                <a:lnTo>
                  <a:pt x="169731" y="369229"/>
                </a:lnTo>
                <a:cubicBezTo>
                  <a:pt x="163276" y="362783"/>
                  <a:pt x="160510" y="352654"/>
                  <a:pt x="163276" y="343446"/>
                </a:cubicBezTo>
                <a:cubicBezTo>
                  <a:pt x="166964" y="333317"/>
                  <a:pt x="174341" y="326871"/>
                  <a:pt x="184484" y="325029"/>
                </a:cubicBezTo>
                <a:close/>
                <a:moveTo>
                  <a:pt x="505454" y="194319"/>
                </a:moveTo>
                <a:cubicBezTo>
                  <a:pt x="487006" y="207212"/>
                  <a:pt x="466714" y="218264"/>
                  <a:pt x="442733" y="226552"/>
                </a:cubicBezTo>
                <a:cubicBezTo>
                  <a:pt x="445500" y="246813"/>
                  <a:pt x="446423" y="267074"/>
                  <a:pt x="446423" y="288255"/>
                </a:cubicBezTo>
                <a:cubicBezTo>
                  <a:pt x="446423" y="310358"/>
                  <a:pt x="445500" y="330619"/>
                  <a:pt x="442733" y="350880"/>
                </a:cubicBezTo>
                <a:cubicBezTo>
                  <a:pt x="466714" y="359168"/>
                  <a:pt x="487006" y="370220"/>
                  <a:pt x="505454" y="382192"/>
                </a:cubicBezTo>
                <a:cubicBezTo>
                  <a:pt x="518367" y="353643"/>
                  <a:pt x="525746" y="322331"/>
                  <a:pt x="525746" y="288255"/>
                </a:cubicBezTo>
                <a:cubicBezTo>
                  <a:pt x="525746" y="255101"/>
                  <a:pt x="518367" y="223789"/>
                  <a:pt x="505454" y="194319"/>
                </a:cubicBezTo>
                <a:close/>
                <a:moveTo>
                  <a:pt x="71944" y="194319"/>
                </a:moveTo>
                <a:cubicBezTo>
                  <a:pt x="59953" y="223789"/>
                  <a:pt x="52575" y="255101"/>
                  <a:pt x="52575" y="288255"/>
                </a:cubicBezTo>
                <a:cubicBezTo>
                  <a:pt x="52575" y="322331"/>
                  <a:pt x="59953" y="353643"/>
                  <a:pt x="71944" y="382192"/>
                </a:cubicBezTo>
                <a:cubicBezTo>
                  <a:pt x="90391" y="370220"/>
                  <a:pt x="111606" y="359168"/>
                  <a:pt x="134665" y="350880"/>
                </a:cubicBezTo>
                <a:cubicBezTo>
                  <a:pt x="132820" y="330619"/>
                  <a:pt x="130975" y="310358"/>
                  <a:pt x="130975" y="288255"/>
                </a:cubicBezTo>
                <a:cubicBezTo>
                  <a:pt x="130975" y="267074"/>
                  <a:pt x="132820" y="246813"/>
                  <a:pt x="134665" y="226552"/>
                </a:cubicBezTo>
                <a:cubicBezTo>
                  <a:pt x="111606" y="217343"/>
                  <a:pt x="90391" y="207212"/>
                  <a:pt x="71944" y="194319"/>
                </a:cubicBezTo>
                <a:close/>
                <a:moveTo>
                  <a:pt x="398460" y="79201"/>
                </a:moveTo>
                <a:cubicBezTo>
                  <a:pt x="413218" y="105908"/>
                  <a:pt x="426131" y="138141"/>
                  <a:pt x="434432" y="174058"/>
                </a:cubicBezTo>
                <a:cubicBezTo>
                  <a:pt x="451034" y="166691"/>
                  <a:pt x="466714" y="158402"/>
                  <a:pt x="479628" y="149193"/>
                </a:cubicBezTo>
                <a:cubicBezTo>
                  <a:pt x="458413" y="120643"/>
                  <a:pt x="430742" y="96699"/>
                  <a:pt x="398460" y="79201"/>
                </a:cubicBezTo>
                <a:close/>
                <a:moveTo>
                  <a:pt x="178938" y="79201"/>
                </a:moveTo>
                <a:cubicBezTo>
                  <a:pt x="147578" y="96699"/>
                  <a:pt x="119907" y="120643"/>
                  <a:pt x="98693" y="149193"/>
                </a:cubicBezTo>
                <a:cubicBezTo>
                  <a:pt x="111606" y="158402"/>
                  <a:pt x="127286" y="166691"/>
                  <a:pt x="143888" y="174058"/>
                </a:cubicBezTo>
                <a:cubicBezTo>
                  <a:pt x="152190" y="138141"/>
                  <a:pt x="164180" y="105908"/>
                  <a:pt x="178938" y="79201"/>
                </a:cubicBezTo>
                <a:close/>
                <a:moveTo>
                  <a:pt x="315447" y="61703"/>
                </a:moveTo>
                <a:lnTo>
                  <a:pt x="315447" y="198924"/>
                </a:lnTo>
                <a:cubicBezTo>
                  <a:pt x="339429" y="198003"/>
                  <a:pt x="362488" y="194319"/>
                  <a:pt x="383702" y="189714"/>
                </a:cubicBezTo>
                <a:cubicBezTo>
                  <a:pt x="369867" y="125248"/>
                  <a:pt x="343118" y="79201"/>
                  <a:pt x="315447" y="61703"/>
                </a:cubicBezTo>
                <a:close/>
                <a:moveTo>
                  <a:pt x="262873" y="61703"/>
                </a:moveTo>
                <a:cubicBezTo>
                  <a:pt x="234280" y="79201"/>
                  <a:pt x="208454" y="125248"/>
                  <a:pt x="194618" y="189714"/>
                </a:cubicBezTo>
                <a:cubicBezTo>
                  <a:pt x="215832" y="194319"/>
                  <a:pt x="238891" y="198003"/>
                  <a:pt x="262873" y="198924"/>
                </a:cubicBezTo>
                <a:close/>
                <a:moveTo>
                  <a:pt x="288699" y="0"/>
                </a:moveTo>
                <a:cubicBezTo>
                  <a:pt x="448267" y="0"/>
                  <a:pt x="578320" y="129853"/>
                  <a:pt x="578320" y="288255"/>
                </a:cubicBezTo>
                <a:cubicBezTo>
                  <a:pt x="578320" y="447579"/>
                  <a:pt x="448267" y="577432"/>
                  <a:pt x="288699" y="577432"/>
                </a:cubicBezTo>
                <a:cubicBezTo>
                  <a:pt x="262873" y="577432"/>
                  <a:pt x="237969" y="573748"/>
                  <a:pt x="213065" y="567302"/>
                </a:cubicBezTo>
                <a:cubicBezTo>
                  <a:pt x="242581" y="555330"/>
                  <a:pt x="269329" y="539674"/>
                  <a:pt x="289621" y="526780"/>
                </a:cubicBezTo>
                <a:lnTo>
                  <a:pt x="291466" y="527701"/>
                </a:lnTo>
                <a:cubicBezTo>
                  <a:pt x="300690" y="537832"/>
                  <a:pt x="314525" y="543357"/>
                  <a:pt x="328360" y="543357"/>
                </a:cubicBezTo>
                <a:cubicBezTo>
                  <a:pt x="333895" y="543357"/>
                  <a:pt x="339429" y="542436"/>
                  <a:pt x="344963" y="540594"/>
                </a:cubicBezTo>
                <a:cubicBezTo>
                  <a:pt x="363410" y="535069"/>
                  <a:pt x="377246" y="518492"/>
                  <a:pt x="380013" y="499152"/>
                </a:cubicBezTo>
                <a:lnTo>
                  <a:pt x="407683" y="332461"/>
                </a:lnTo>
                <a:cubicBezTo>
                  <a:pt x="409528" y="316805"/>
                  <a:pt x="404916" y="300228"/>
                  <a:pt x="393848" y="288255"/>
                </a:cubicBezTo>
                <a:cubicBezTo>
                  <a:pt x="393848" y="272599"/>
                  <a:pt x="392926" y="256943"/>
                  <a:pt x="392003" y="241287"/>
                </a:cubicBezTo>
                <a:cubicBezTo>
                  <a:pt x="367100" y="246813"/>
                  <a:pt x="342196" y="250497"/>
                  <a:pt x="315447" y="251418"/>
                </a:cubicBezTo>
                <a:lnTo>
                  <a:pt x="315447" y="277204"/>
                </a:lnTo>
                <a:lnTo>
                  <a:pt x="262873" y="286413"/>
                </a:lnTo>
                <a:lnTo>
                  <a:pt x="262873" y="251418"/>
                </a:lnTo>
                <a:cubicBezTo>
                  <a:pt x="236124" y="250497"/>
                  <a:pt x="210298" y="246813"/>
                  <a:pt x="186317" y="241287"/>
                </a:cubicBezTo>
                <a:cubicBezTo>
                  <a:pt x="184472" y="256943"/>
                  <a:pt x="183550" y="272599"/>
                  <a:pt x="183550" y="288255"/>
                </a:cubicBezTo>
                <a:cubicBezTo>
                  <a:pt x="183550" y="291939"/>
                  <a:pt x="184472" y="295623"/>
                  <a:pt x="184472" y="298386"/>
                </a:cubicBezTo>
                <a:lnTo>
                  <a:pt x="179860" y="299307"/>
                </a:lnTo>
                <a:cubicBezTo>
                  <a:pt x="160491" y="302991"/>
                  <a:pt x="144811" y="315884"/>
                  <a:pt x="138354" y="335224"/>
                </a:cubicBezTo>
                <a:cubicBezTo>
                  <a:pt x="132820" y="353643"/>
                  <a:pt x="137432" y="373904"/>
                  <a:pt x="151267" y="387718"/>
                </a:cubicBezTo>
                <a:cubicBezTo>
                  <a:pt x="144811" y="395085"/>
                  <a:pt x="138354" y="402453"/>
                  <a:pt x="132820" y="407979"/>
                </a:cubicBezTo>
                <a:cubicBezTo>
                  <a:pt x="119907" y="414425"/>
                  <a:pt x="108839" y="420872"/>
                  <a:pt x="98693" y="428239"/>
                </a:cubicBezTo>
                <a:cubicBezTo>
                  <a:pt x="100537" y="430081"/>
                  <a:pt x="102382" y="432844"/>
                  <a:pt x="104227" y="435607"/>
                </a:cubicBezTo>
                <a:cubicBezTo>
                  <a:pt x="83935" y="452184"/>
                  <a:pt x="68255" y="461393"/>
                  <a:pt x="59953" y="461393"/>
                </a:cubicBezTo>
                <a:cubicBezTo>
                  <a:pt x="59031" y="461393"/>
                  <a:pt x="58109" y="461393"/>
                  <a:pt x="57186" y="460472"/>
                </a:cubicBezTo>
                <a:cubicBezTo>
                  <a:pt x="21214" y="412583"/>
                  <a:pt x="0" y="352722"/>
                  <a:pt x="0" y="288255"/>
                </a:cubicBezTo>
                <a:cubicBezTo>
                  <a:pt x="0" y="129853"/>
                  <a:pt x="130053" y="0"/>
                  <a:pt x="288699" y="0"/>
                </a:cubicBezTo>
                <a:close/>
              </a:path>
            </a:pathLst>
          </a:custGeom>
          <a:solidFill>
            <a:schemeClr val="accent1">
              <a:alpha val="8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en-US" sz="2400" b="1" dirty="0">
              <a:cs typeface="+mn-ea"/>
              <a:sym typeface="+mn-lt"/>
            </a:endParaRPr>
          </a:p>
        </p:txBody>
      </p:sp>
      <p:sp>
        <p:nvSpPr>
          <p:cNvPr id="14" name="任意多边形: 形状 13">
            <a:extLst>
              <a:ext uri="{FF2B5EF4-FFF2-40B4-BE49-F238E27FC236}">
                <a16:creationId xmlns:a16="http://schemas.microsoft.com/office/drawing/2014/main" id="{E71CE00F-05AB-42CF-865B-67E61919A5FF}"/>
              </a:ext>
            </a:extLst>
          </p:cNvPr>
          <p:cNvSpPr/>
          <p:nvPr/>
        </p:nvSpPr>
        <p:spPr>
          <a:xfrm>
            <a:off x="9894185" y="1575563"/>
            <a:ext cx="386976" cy="386382"/>
          </a:xfrm>
          <a:custGeom>
            <a:avLst/>
            <a:gdLst>
              <a:gd name="connsiteX0" fmla="*/ 434432 w 578320"/>
              <a:gd name="connsiteY0" fmla="*/ 403374 h 577432"/>
              <a:gd name="connsiteX1" fmla="*/ 398460 w 578320"/>
              <a:gd name="connsiteY1" fmla="*/ 497310 h 577432"/>
              <a:gd name="connsiteX2" fmla="*/ 479628 w 578320"/>
              <a:gd name="connsiteY2" fmla="*/ 428239 h 577432"/>
              <a:gd name="connsiteX3" fmla="*/ 434432 w 578320"/>
              <a:gd name="connsiteY3" fmla="*/ 403374 h 577432"/>
              <a:gd name="connsiteX4" fmla="*/ 355072 w 578320"/>
              <a:gd name="connsiteY4" fmla="*/ 324108 h 577432"/>
              <a:gd name="connsiteX5" fmla="*/ 188173 w 578320"/>
              <a:gd name="connsiteY5" fmla="*/ 350812 h 577432"/>
              <a:gd name="connsiteX6" fmla="*/ 221368 w 578320"/>
              <a:gd name="connsiteY6" fmla="*/ 383963 h 577432"/>
              <a:gd name="connsiteX7" fmla="*/ 214914 w 578320"/>
              <a:gd name="connsiteY7" fmla="*/ 393171 h 577432"/>
              <a:gd name="connsiteX8" fmla="*/ 60001 w 578320"/>
              <a:gd name="connsiteY8" fmla="*/ 513800 h 577432"/>
              <a:gd name="connsiteX9" fmla="*/ 39715 w 578320"/>
              <a:gd name="connsiteY9" fmla="*/ 510117 h 577432"/>
              <a:gd name="connsiteX10" fmla="*/ 110717 w 578320"/>
              <a:gd name="connsiteY10" fmla="*/ 537742 h 577432"/>
              <a:gd name="connsiteX11" fmla="*/ 286837 w 578320"/>
              <a:gd name="connsiteY11" fmla="*/ 464996 h 577432"/>
              <a:gd name="connsiteX12" fmla="*/ 296058 w 578320"/>
              <a:gd name="connsiteY12" fmla="*/ 458550 h 577432"/>
              <a:gd name="connsiteX13" fmla="*/ 328331 w 578320"/>
              <a:gd name="connsiteY13" fmla="*/ 490779 h 577432"/>
              <a:gd name="connsiteX14" fmla="*/ 351384 w 578320"/>
              <a:gd name="connsiteY14" fmla="*/ 298325 h 577432"/>
              <a:gd name="connsiteX15" fmla="*/ 374436 w 578320"/>
              <a:gd name="connsiteY15" fmla="*/ 305692 h 577432"/>
              <a:gd name="connsiteX16" fmla="*/ 381813 w 578320"/>
              <a:gd name="connsiteY16" fmla="*/ 328712 h 577432"/>
              <a:gd name="connsiteX17" fmla="*/ 354150 w 578320"/>
              <a:gd name="connsiteY17" fmla="*/ 495383 h 577432"/>
              <a:gd name="connsiteX18" fmla="*/ 336630 w 578320"/>
              <a:gd name="connsiteY18" fmla="*/ 515642 h 577432"/>
              <a:gd name="connsiteX19" fmla="*/ 328331 w 578320"/>
              <a:gd name="connsiteY19" fmla="*/ 516563 h 577432"/>
              <a:gd name="connsiteX20" fmla="*/ 309889 w 578320"/>
              <a:gd name="connsiteY20" fmla="*/ 509196 h 577432"/>
              <a:gd name="connsiteX21" fmla="*/ 293292 w 578320"/>
              <a:gd name="connsiteY21" fmla="*/ 492621 h 577432"/>
              <a:gd name="connsiteX22" fmla="*/ 110717 w 578320"/>
              <a:gd name="connsiteY22" fmla="*/ 563525 h 577432"/>
              <a:gd name="connsiteX23" fmla="*/ 21273 w 578320"/>
              <a:gd name="connsiteY23" fmla="*/ 528534 h 577432"/>
              <a:gd name="connsiteX24" fmla="*/ 17585 w 578320"/>
              <a:gd name="connsiteY24" fmla="*/ 494463 h 577432"/>
              <a:gd name="connsiteX25" fmla="*/ 50780 w 578320"/>
              <a:gd name="connsiteY25" fmla="*/ 486175 h 577432"/>
              <a:gd name="connsiteX26" fmla="*/ 60001 w 578320"/>
              <a:gd name="connsiteY26" fmla="*/ 488017 h 577432"/>
              <a:gd name="connsiteX27" fmla="*/ 186329 w 578320"/>
              <a:gd name="connsiteY27" fmla="*/ 386725 h 577432"/>
              <a:gd name="connsiteX28" fmla="*/ 169731 w 578320"/>
              <a:gd name="connsiteY28" fmla="*/ 369229 h 577432"/>
              <a:gd name="connsiteX29" fmla="*/ 163276 w 578320"/>
              <a:gd name="connsiteY29" fmla="*/ 343446 h 577432"/>
              <a:gd name="connsiteX30" fmla="*/ 184484 w 578320"/>
              <a:gd name="connsiteY30" fmla="*/ 325029 h 577432"/>
              <a:gd name="connsiteX31" fmla="*/ 505454 w 578320"/>
              <a:gd name="connsiteY31" fmla="*/ 194319 h 577432"/>
              <a:gd name="connsiteX32" fmla="*/ 442733 w 578320"/>
              <a:gd name="connsiteY32" fmla="*/ 226552 h 577432"/>
              <a:gd name="connsiteX33" fmla="*/ 446423 w 578320"/>
              <a:gd name="connsiteY33" fmla="*/ 288255 h 577432"/>
              <a:gd name="connsiteX34" fmla="*/ 442733 w 578320"/>
              <a:gd name="connsiteY34" fmla="*/ 350880 h 577432"/>
              <a:gd name="connsiteX35" fmla="*/ 505454 w 578320"/>
              <a:gd name="connsiteY35" fmla="*/ 382192 h 577432"/>
              <a:gd name="connsiteX36" fmla="*/ 525746 w 578320"/>
              <a:gd name="connsiteY36" fmla="*/ 288255 h 577432"/>
              <a:gd name="connsiteX37" fmla="*/ 505454 w 578320"/>
              <a:gd name="connsiteY37" fmla="*/ 194319 h 577432"/>
              <a:gd name="connsiteX38" fmla="*/ 71944 w 578320"/>
              <a:gd name="connsiteY38" fmla="*/ 194319 h 577432"/>
              <a:gd name="connsiteX39" fmla="*/ 52575 w 578320"/>
              <a:gd name="connsiteY39" fmla="*/ 288255 h 577432"/>
              <a:gd name="connsiteX40" fmla="*/ 71944 w 578320"/>
              <a:gd name="connsiteY40" fmla="*/ 382192 h 577432"/>
              <a:gd name="connsiteX41" fmla="*/ 134665 w 578320"/>
              <a:gd name="connsiteY41" fmla="*/ 350880 h 577432"/>
              <a:gd name="connsiteX42" fmla="*/ 130975 w 578320"/>
              <a:gd name="connsiteY42" fmla="*/ 288255 h 577432"/>
              <a:gd name="connsiteX43" fmla="*/ 134665 w 578320"/>
              <a:gd name="connsiteY43" fmla="*/ 226552 h 577432"/>
              <a:gd name="connsiteX44" fmla="*/ 71944 w 578320"/>
              <a:gd name="connsiteY44" fmla="*/ 194319 h 577432"/>
              <a:gd name="connsiteX45" fmla="*/ 398460 w 578320"/>
              <a:gd name="connsiteY45" fmla="*/ 79201 h 577432"/>
              <a:gd name="connsiteX46" fmla="*/ 434432 w 578320"/>
              <a:gd name="connsiteY46" fmla="*/ 174058 h 577432"/>
              <a:gd name="connsiteX47" fmla="*/ 479628 w 578320"/>
              <a:gd name="connsiteY47" fmla="*/ 149193 h 577432"/>
              <a:gd name="connsiteX48" fmla="*/ 398460 w 578320"/>
              <a:gd name="connsiteY48" fmla="*/ 79201 h 577432"/>
              <a:gd name="connsiteX49" fmla="*/ 178938 w 578320"/>
              <a:gd name="connsiteY49" fmla="*/ 79201 h 577432"/>
              <a:gd name="connsiteX50" fmla="*/ 98693 w 578320"/>
              <a:gd name="connsiteY50" fmla="*/ 149193 h 577432"/>
              <a:gd name="connsiteX51" fmla="*/ 143888 w 578320"/>
              <a:gd name="connsiteY51" fmla="*/ 174058 h 577432"/>
              <a:gd name="connsiteX52" fmla="*/ 178938 w 578320"/>
              <a:gd name="connsiteY52" fmla="*/ 79201 h 577432"/>
              <a:gd name="connsiteX53" fmla="*/ 315447 w 578320"/>
              <a:gd name="connsiteY53" fmla="*/ 61703 h 577432"/>
              <a:gd name="connsiteX54" fmla="*/ 315447 w 578320"/>
              <a:gd name="connsiteY54" fmla="*/ 198924 h 577432"/>
              <a:gd name="connsiteX55" fmla="*/ 383702 w 578320"/>
              <a:gd name="connsiteY55" fmla="*/ 189714 h 577432"/>
              <a:gd name="connsiteX56" fmla="*/ 315447 w 578320"/>
              <a:gd name="connsiteY56" fmla="*/ 61703 h 577432"/>
              <a:gd name="connsiteX57" fmla="*/ 262873 w 578320"/>
              <a:gd name="connsiteY57" fmla="*/ 61703 h 577432"/>
              <a:gd name="connsiteX58" fmla="*/ 194618 w 578320"/>
              <a:gd name="connsiteY58" fmla="*/ 189714 h 577432"/>
              <a:gd name="connsiteX59" fmla="*/ 262873 w 578320"/>
              <a:gd name="connsiteY59" fmla="*/ 198924 h 577432"/>
              <a:gd name="connsiteX60" fmla="*/ 288699 w 578320"/>
              <a:gd name="connsiteY60" fmla="*/ 0 h 577432"/>
              <a:gd name="connsiteX61" fmla="*/ 578320 w 578320"/>
              <a:gd name="connsiteY61" fmla="*/ 288255 h 577432"/>
              <a:gd name="connsiteX62" fmla="*/ 288699 w 578320"/>
              <a:gd name="connsiteY62" fmla="*/ 577432 h 577432"/>
              <a:gd name="connsiteX63" fmla="*/ 213065 w 578320"/>
              <a:gd name="connsiteY63" fmla="*/ 567302 h 577432"/>
              <a:gd name="connsiteX64" fmla="*/ 289621 w 578320"/>
              <a:gd name="connsiteY64" fmla="*/ 526780 h 577432"/>
              <a:gd name="connsiteX65" fmla="*/ 291466 w 578320"/>
              <a:gd name="connsiteY65" fmla="*/ 527701 h 577432"/>
              <a:gd name="connsiteX66" fmla="*/ 328360 w 578320"/>
              <a:gd name="connsiteY66" fmla="*/ 543357 h 577432"/>
              <a:gd name="connsiteX67" fmla="*/ 344963 w 578320"/>
              <a:gd name="connsiteY67" fmla="*/ 540594 h 577432"/>
              <a:gd name="connsiteX68" fmla="*/ 380013 w 578320"/>
              <a:gd name="connsiteY68" fmla="*/ 499152 h 577432"/>
              <a:gd name="connsiteX69" fmla="*/ 407683 w 578320"/>
              <a:gd name="connsiteY69" fmla="*/ 332461 h 577432"/>
              <a:gd name="connsiteX70" fmla="*/ 393848 w 578320"/>
              <a:gd name="connsiteY70" fmla="*/ 288255 h 577432"/>
              <a:gd name="connsiteX71" fmla="*/ 392003 w 578320"/>
              <a:gd name="connsiteY71" fmla="*/ 241287 h 577432"/>
              <a:gd name="connsiteX72" fmla="*/ 315447 w 578320"/>
              <a:gd name="connsiteY72" fmla="*/ 251418 h 577432"/>
              <a:gd name="connsiteX73" fmla="*/ 315447 w 578320"/>
              <a:gd name="connsiteY73" fmla="*/ 277204 h 577432"/>
              <a:gd name="connsiteX74" fmla="*/ 262873 w 578320"/>
              <a:gd name="connsiteY74" fmla="*/ 286413 h 577432"/>
              <a:gd name="connsiteX75" fmla="*/ 262873 w 578320"/>
              <a:gd name="connsiteY75" fmla="*/ 251418 h 577432"/>
              <a:gd name="connsiteX76" fmla="*/ 186317 w 578320"/>
              <a:gd name="connsiteY76" fmla="*/ 241287 h 577432"/>
              <a:gd name="connsiteX77" fmla="*/ 183550 w 578320"/>
              <a:gd name="connsiteY77" fmla="*/ 288255 h 577432"/>
              <a:gd name="connsiteX78" fmla="*/ 184472 w 578320"/>
              <a:gd name="connsiteY78" fmla="*/ 298386 h 577432"/>
              <a:gd name="connsiteX79" fmla="*/ 179860 w 578320"/>
              <a:gd name="connsiteY79" fmla="*/ 299307 h 577432"/>
              <a:gd name="connsiteX80" fmla="*/ 138354 w 578320"/>
              <a:gd name="connsiteY80" fmla="*/ 335224 h 577432"/>
              <a:gd name="connsiteX81" fmla="*/ 151267 w 578320"/>
              <a:gd name="connsiteY81" fmla="*/ 387718 h 577432"/>
              <a:gd name="connsiteX82" fmla="*/ 132820 w 578320"/>
              <a:gd name="connsiteY82" fmla="*/ 407979 h 577432"/>
              <a:gd name="connsiteX83" fmla="*/ 98693 w 578320"/>
              <a:gd name="connsiteY83" fmla="*/ 428239 h 577432"/>
              <a:gd name="connsiteX84" fmla="*/ 104227 w 578320"/>
              <a:gd name="connsiteY84" fmla="*/ 435607 h 577432"/>
              <a:gd name="connsiteX85" fmla="*/ 59953 w 578320"/>
              <a:gd name="connsiteY85" fmla="*/ 461393 h 577432"/>
              <a:gd name="connsiteX86" fmla="*/ 57186 w 578320"/>
              <a:gd name="connsiteY86" fmla="*/ 460472 h 577432"/>
              <a:gd name="connsiteX87" fmla="*/ 0 w 578320"/>
              <a:gd name="connsiteY87" fmla="*/ 288255 h 577432"/>
              <a:gd name="connsiteX88" fmla="*/ 288699 w 578320"/>
              <a:gd name="connsiteY88" fmla="*/ 0 h 57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</a:cxnLst>
            <a:rect l="l" t="t" r="r" b="b"/>
            <a:pathLst>
              <a:path w="578320" h="577432">
                <a:moveTo>
                  <a:pt x="434432" y="403374"/>
                </a:moveTo>
                <a:cubicBezTo>
                  <a:pt x="426131" y="439291"/>
                  <a:pt x="413218" y="471524"/>
                  <a:pt x="398460" y="497310"/>
                </a:cubicBezTo>
                <a:cubicBezTo>
                  <a:pt x="430742" y="480733"/>
                  <a:pt x="458413" y="456789"/>
                  <a:pt x="479628" y="428239"/>
                </a:cubicBezTo>
                <a:cubicBezTo>
                  <a:pt x="466714" y="419030"/>
                  <a:pt x="451034" y="410741"/>
                  <a:pt x="434432" y="403374"/>
                </a:cubicBezTo>
                <a:close/>
                <a:moveTo>
                  <a:pt x="355072" y="324108"/>
                </a:moveTo>
                <a:lnTo>
                  <a:pt x="188173" y="350812"/>
                </a:lnTo>
                <a:lnTo>
                  <a:pt x="221368" y="383963"/>
                </a:lnTo>
                <a:lnTo>
                  <a:pt x="214914" y="393171"/>
                </a:lnTo>
                <a:cubicBezTo>
                  <a:pt x="199238" y="413429"/>
                  <a:pt x="119938" y="513800"/>
                  <a:pt x="60001" y="513800"/>
                </a:cubicBezTo>
                <a:cubicBezTo>
                  <a:pt x="52625" y="513800"/>
                  <a:pt x="46170" y="512879"/>
                  <a:pt x="39715" y="510117"/>
                </a:cubicBezTo>
                <a:cubicBezTo>
                  <a:pt x="58157" y="528534"/>
                  <a:pt x="82132" y="537742"/>
                  <a:pt x="110717" y="537742"/>
                </a:cubicBezTo>
                <a:cubicBezTo>
                  <a:pt x="181718" y="537742"/>
                  <a:pt x="263785" y="481571"/>
                  <a:pt x="286837" y="464996"/>
                </a:cubicBezTo>
                <a:lnTo>
                  <a:pt x="296058" y="458550"/>
                </a:lnTo>
                <a:lnTo>
                  <a:pt x="328331" y="490779"/>
                </a:lnTo>
                <a:close/>
                <a:moveTo>
                  <a:pt x="351384" y="298325"/>
                </a:moveTo>
                <a:cubicBezTo>
                  <a:pt x="360605" y="296483"/>
                  <a:pt x="367982" y="299246"/>
                  <a:pt x="374436" y="305692"/>
                </a:cubicBezTo>
                <a:cubicBezTo>
                  <a:pt x="379969" y="311217"/>
                  <a:pt x="382735" y="320425"/>
                  <a:pt x="381813" y="328712"/>
                </a:cubicBezTo>
                <a:lnTo>
                  <a:pt x="354150" y="495383"/>
                </a:lnTo>
                <a:cubicBezTo>
                  <a:pt x="352306" y="504592"/>
                  <a:pt x="345851" y="512879"/>
                  <a:pt x="336630" y="515642"/>
                </a:cubicBezTo>
                <a:cubicBezTo>
                  <a:pt x="333864" y="516563"/>
                  <a:pt x="331098" y="516563"/>
                  <a:pt x="328331" y="516563"/>
                </a:cubicBezTo>
                <a:cubicBezTo>
                  <a:pt x="321877" y="516563"/>
                  <a:pt x="314500" y="513800"/>
                  <a:pt x="309889" y="509196"/>
                </a:cubicBezTo>
                <a:lnTo>
                  <a:pt x="293292" y="492621"/>
                </a:lnTo>
                <a:cubicBezTo>
                  <a:pt x="256408" y="518404"/>
                  <a:pt x="181718" y="563525"/>
                  <a:pt x="110717" y="563525"/>
                </a:cubicBezTo>
                <a:cubicBezTo>
                  <a:pt x="74755" y="563525"/>
                  <a:pt x="44326" y="551554"/>
                  <a:pt x="21273" y="528534"/>
                </a:cubicBezTo>
                <a:cubicBezTo>
                  <a:pt x="12052" y="519325"/>
                  <a:pt x="10208" y="505513"/>
                  <a:pt x="17585" y="494463"/>
                </a:cubicBezTo>
                <a:cubicBezTo>
                  <a:pt x="24962" y="484333"/>
                  <a:pt x="38793" y="480650"/>
                  <a:pt x="50780" y="486175"/>
                </a:cubicBezTo>
                <a:cubicBezTo>
                  <a:pt x="53547" y="487096"/>
                  <a:pt x="56313" y="488017"/>
                  <a:pt x="60001" y="488017"/>
                </a:cubicBezTo>
                <a:cubicBezTo>
                  <a:pt x="92275" y="488017"/>
                  <a:pt x="146678" y="436450"/>
                  <a:pt x="186329" y="386725"/>
                </a:cubicBezTo>
                <a:lnTo>
                  <a:pt x="169731" y="369229"/>
                </a:lnTo>
                <a:cubicBezTo>
                  <a:pt x="163276" y="362783"/>
                  <a:pt x="160510" y="352654"/>
                  <a:pt x="163276" y="343446"/>
                </a:cubicBezTo>
                <a:cubicBezTo>
                  <a:pt x="166964" y="333317"/>
                  <a:pt x="174341" y="326871"/>
                  <a:pt x="184484" y="325029"/>
                </a:cubicBezTo>
                <a:close/>
                <a:moveTo>
                  <a:pt x="505454" y="194319"/>
                </a:moveTo>
                <a:cubicBezTo>
                  <a:pt x="487006" y="207212"/>
                  <a:pt x="466714" y="218264"/>
                  <a:pt x="442733" y="226552"/>
                </a:cubicBezTo>
                <a:cubicBezTo>
                  <a:pt x="445500" y="246813"/>
                  <a:pt x="446423" y="267074"/>
                  <a:pt x="446423" y="288255"/>
                </a:cubicBezTo>
                <a:cubicBezTo>
                  <a:pt x="446423" y="310358"/>
                  <a:pt x="445500" y="330619"/>
                  <a:pt x="442733" y="350880"/>
                </a:cubicBezTo>
                <a:cubicBezTo>
                  <a:pt x="466714" y="359168"/>
                  <a:pt x="487006" y="370220"/>
                  <a:pt x="505454" y="382192"/>
                </a:cubicBezTo>
                <a:cubicBezTo>
                  <a:pt x="518367" y="353643"/>
                  <a:pt x="525746" y="322331"/>
                  <a:pt x="525746" y="288255"/>
                </a:cubicBezTo>
                <a:cubicBezTo>
                  <a:pt x="525746" y="255101"/>
                  <a:pt x="518367" y="223789"/>
                  <a:pt x="505454" y="194319"/>
                </a:cubicBezTo>
                <a:close/>
                <a:moveTo>
                  <a:pt x="71944" y="194319"/>
                </a:moveTo>
                <a:cubicBezTo>
                  <a:pt x="59953" y="223789"/>
                  <a:pt x="52575" y="255101"/>
                  <a:pt x="52575" y="288255"/>
                </a:cubicBezTo>
                <a:cubicBezTo>
                  <a:pt x="52575" y="322331"/>
                  <a:pt x="59953" y="353643"/>
                  <a:pt x="71944" y="382192"/>
                </a:cubicBezTo>
                <a:cubicBezTo>
                  <a:pt x="90391" y="370220"/>
                  <a:pt x="111606" y="359168"/>
                  <a:pt x="134665" y="350880"/>
                </a:cubicBezTo>
                <a:cubicBezTo>
                  <a:pt x="132820" y="330619"/>
                  <a:pt x="130975" y="310358"/>
                  <a:pt x="130975" y="288255"/>
                </a:cubicBezTo>
                <a:cubicBezTo>
                  <a:pt x="130975" y="267074"/>
                  <a:pt x="132820" y="246813"/>
                  <a:pt x="134665" y="226552"/>
                </a:cubicBezTo>
                <a:cubicBezTo>
                  <a:pt x="111606" y="217343"/>
                  <a:pt x="90391" y="207212"/>
                  <a:pt x="71944" y="194319"/>
                </a:cubicBezTo>
                <a:close/>
                <a:moveTo>
                  <a:pt x="398460" y="79201"/>
                </a:moveTo>
                <a:cubicBezTo>
                  <a:pt x="413218" y="105908"/>
                  <a:pt x="426131" y="138141"/>
                  <a:pt x="434432" y="174058"/>
                </a:cubicBezTo>
                <a:cubicBezTo>
                  <a:pt x="451034" y="166691"/>
                  <a:pt x="466714" y="158402"/>
                  <a:pt x="479628" y="149193"/>
                </a:cubicBezTo>
                <a:cubicBezTo>
                  <a:pt x="458413" y="120643"/>
                  <a:pt x="430742" y="96699"/>
                  <a:pt x="398460" y="79201"/>
                </a:cubicBezTo>
                <a:close/>
                <a:moveTo>
                  <a:pt x="178938" y="79201"/>
                </a:moveTo>
                <a:cubicBezTo>
                  <a:pt x="147578" y="96699"/>
                  <a:pt x="119907" y="120643"/>
                  <a:pt x="98693" y="149193"/>
                </a:cubicBezTo>
                <a:cubicBezTo>
                  <a:pt x="111606" y="158402"/>
                  <a:pt x="127286" y="166691"/>
                  <a:pt x="143888" y="174058"/>
                </a:cubicBezTo>
                <a:cubicBezTo>
                  <a:pt x="152190" y="138141"/>
                  <a:pt x="164180" y="105908"/>
                  <a:pt x="178938" y="79201"/>
                </a:cubicBezTo>
                <a:close/>
                <a:moveTo>
                  <a:pt x="315447" y="61703"/>
                </a:moveTo>
                <a:lnTo>
                  <a:pt x="315447" y="198924"/>
                </a:lnTo>
                <a:cubicBezTo>
                  <a:pt x="339429" y="198003"/>
                  <a:pt x="362488" y="194319"/>
                  <a:pt x="383702" y="189714"/>
                </a:cubicBezTo>
                <a:cubicBezTo>
                  <a:pt x="369867" y="125248"/>
                  <a:pt x="343118" y="79201"/>
                  <a:pt x="315447" y="61703"/>
                </a:cubicBezTo>
                <a:close/>
                <a:moveTo>
                  <a:pt x="262873" y="61703"/>
                </a:moveTo>
                <a:cubicBezTo>
                  <a:pt x="234280" y="79201"/>
                  <a:pt x="208454" y="125248"/>
                  <a:pt x="194618" y="189714"/>
                </a:cubicBezTo>
                <a:cubicBezTo>
                  <a:pt x="215832" y="194319"/>
                  <a:pt x="238891" y="198003"/>
                  <a:pt x="262873" y="198924"/>
                </a:cubicBezTo>
                <a:close/>
                <a:moveTo>
                  <a:pt x="288699" y="0"/>
                </a:moveTo>
                <a:cubicBezTo>
                  <a:pt x="448267" y="0"/>
                  <a:pt x="578320" y="129853"/>
                  <a:pt x="578320" y="288255"/>
                </a:cubicBezTo>
                <a:cubicBezTo>
                  <a:pt x="578320" y="447579"/>
                  <a:pt x="448267" y="577432"/>
                  <a:pt x="288699" y="577432"/>
                </a:cubicBezTo>
                <a:cubicBezTo>
                  <a:pt x="262873" y="577432"/>
                  <a:pt x="237969" y="573748"/>
                  <a:pt x="213065" y="567302"/>
                </a:cubicBezTo>
                <a:cubicBezTo>
                  <a:pt x="242581" y="555330"/>
                  <a:pt x="269329" y="539674"/>
                  <a:pt x="289621" y="526780"/>
                </a:cubicBezTo>
                <a:lnTo>
                  <a:pt x="291466" y="527701"/>
                </a:lnTo>
                <a:cubicBezTo>
                  <a:pt x="300690" y="537832"/>
                  <a:pt x="314525" y="543357"/>
                  <a:pt x="328360" y="543357"/>
                </a:cubicBezTo>
                <a:cubicBezTo>
                  <a:pt x="333895" y="543357"/>
                  <a:pt x="339429" y="542436"/>
                  <a:pt x="344963" y="540594"/>
                </a:cubicBezTo>
                <a:cubicBezTo>
                  <a:pt x="363410" y="535069"/>
                  <a:pt x="377246" y="518492"/>
                  <a:pt x="380013" y="499152"/>
                </a:cubicBezTo>
                <a:lnTo>
                  <a:pt x="407683" y="332461"/>
                </a:lnTo>
                <a:cubicBezTo>
                  <a:pt x="409528" y="316805"/>
                  <a:pt x="404916" y="300228"/>
                  <a:pt x="393848" y="288255"/>
                </a:cubicBezTo>
                <a:cubicBezTo>
                  <a:pt x="393848" y="272599"/>
                  <a:pt x="392926" y="256943"/>
                  <a:pt x="392003" y="241287"/>
                </a:cubicBezTo>
                <a:cubicBezTo>
                  <a:pt x="367100" y="246813"/>
                  <a:pt x="342196" y="250497"/>
                  <a:pt x="315447" y="251418"/>
                </a:cubicBezTo>
                <a:lnTo>
                  <a:pt x="315447" y="277204"/>
                </a:lnTo>
                <a:lnTo>
                  <a:pt x="262873" y="286413"/>
                </a:lnTo>
                <a:lnTo>
                  <a:pt x="262873" y="251418"/>
                </a:lnTo>
                <a:cubicBezTo>
                  <a:pt x="236124" y="250497"/>
                  <a:pt x="210298" y="246813"/>
                  <a:pt x="186317" y="241287"/>
                </a:cubicBezTo>
                <a:cubicBezTo>
                  <a:pt x="184472" y="256943"/>
                  <a:pt x="183550" y="272599"/>
                  <a:pt x="183550" y="288255"/>
                </a:cubicBezTo>
                <a:cubicBezTo>
                  <a:pt x="183550" y="291939"/>
                  <a:pt x="184472" y="295623"/>
                  <a:pt x="184472" y="298386"/>
                </a:cubicBezTo>
                <a:lnTo>
                  <a:pt x="179860" y="299307"/>
                </a:lnTo>
                <a:cubicBezTo>
                  <a:pt x="160491" y="302991"/>
                  <a:pt x="144811" y="315884"/>
                  <a:pt x="138354" y="335224"/>
                </a:cubicBezTo>
                <a:cubicBezTo>
                  <a:pt x="132820" y="353643"/>
                  <a:pt x="137432" y="373904"/>
                  <a:pt x="151267" y="387718"/>
                </a:cubicBezTo>
                <a:cubicBezTo>
                  <a:pt x="144811" y="395085"/>
                  <a:pt x="138354" y="402453"/>
                  <a:pt x="132820" y="407979"/>
                </a:cubicBezTo>
                <a:cubicBezTo>
                  <a:pt x="119907" y="414425"/>
                  <a:pt x="108839" y="420872"/>
                  <a:pt x="98693" y="428239"/>
                </a:cubicBezTo>
                <a:cubicBezTo>
                  <a:pt x="100537" y="430081"/>
                  <a:pt x="102382" y="432844"/>
                  <a:pt x="104227" y="435607"/>
                </a:cubicBezTo>
                <a:cubicBezTo>
                  <a:pt x="83935" y="452184"/>
                  <a:pt x="68255" y="461393"/>
                  <a:pt x="59953" y="461393"/>
                </a:cubicBezTo>
                <a:cubicBezTo>
                  <a:pt x="59031" y="461393"/>
                  <a:pt x="58109" y="461393"/>
                  <a:pt x="57186" y="460472"/>
                </a:cubicBezTo>
                <a:cubicBezTo>
                  <a:pt x="21214" y="412583"/>
                  <a:pt x="0" y="352722"/>
                  <a:pt x="0" y="288255"/>
                </a:cubicBezTo>
                <a:cubicBezTo>
                  <a:pt x="0" y="129853"/>
                  <a:pt x="130053" y="0"/>
                  <a:pt x="288699" y="0"/>
                </a:cubicBezTo>
                <a:close/>
              </a:path>
            </a:pathLst>
          </a:custGeom>
          <a:solidFill>
            <a:schemeClr val="accent2">
              <a:alpha val="8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en-US" sz="2400" b="1" dirty="0">
              <a:cs typeface="+mn-ea"/>
              <a:sym typeface="+mn-lt"/>
            </a:endParaRPr>
          </a:p>
        </p:txBody>
      </p:sp>
      <p:sp>
        <p:nvSpPr>
          <p:cNvPr id="15" name="任意多边形: 形状 14">
            <a:extLst>
              <a:ext uri="{FF2B5EF4-FFF2-40B4-BE49-F238E27FC236}">
                <a16:creationId xmlns:a16="http://schemas.microsoft.com/office/drawing/2014/main" id="{007BD78A-2B42-4A17-B553-69C16F8F5593}"/>
              </a:ext>
            </a:extLst>
          </p:cNvPr>
          <p:cNvSpPr/>
          <p:nvPr/>
        </p:nvSpPr>
        <p:spPr>
          <a:xfrm>
            <a:off x="6100377" y="3605531"/>
            <a:ext cx="386976" cy="386382"/>
          </a:xfrm>
          <a:custGeom>
            <a:avLst/>
            <a:gdLst>
              <a:gd name="connsiteX0" fmla="*/ 434432 w 578320"/>
              <a:gd name="connsiteY0" fmla="*/ 403374 h 577432"/>
              <a:gd name="connsiteX1" fmla="*/ 398460 w 578320"/>
              <a:gd name="connsiteY1" fmla="*/ 497310 h 577432"/>
              <a:gd name="connsiteX2" fmla="*/ 479628 w 578320"/>
              <a:gd name="connsiteY2" fmla="*/ 428239 h 577432"/>
              <a:gd name="connsiteX3" fmla="*/ 434432 w 578320"/>
              <a:gd name="connsiteY3" fmla="*/ 403374 h 577432"/>
              <a:gd name="connsiteX4" fmla="*/ 355072 w 578320"/>
              <a:gd name="connsiteY4" fmla="*/ 324108 h 577432"/>
              <a:gd name="connsiteX5" fmla="*/ 188173 w 578320"/>
              <a:gd name="connsiteY5" fmla="*/ 350812 h 577432"/>
              <a:gd name="connsiteX6" fmla="*/ 221368 w 578320"/>
              <a:gd name="connsiteY6" fmla="*/ 383963 h 577432"/>
              <a:gd name="connsiteX7" fmla="*/ 214914 w 578320"/>
              <a:gd name="connsiteY7" fmla="*/ 393171 h 577432"/>
              <a:gd name="connsiteX8" fmla="*/ 60001 w 578320"/>
              <a:gd name="connsiteY8" fmla="*/ 513800 h 577432"/>
              <a:gd name="connsiteX9" fmla="*/ 39715 w 578320"/>
              <a:gd name="connsiteY9" fmla="*/ 510117 h 577432"/>
              <a:gd name="connsiteX10" fmla="*/ 110717 w 578320"/>
              <a:gd name="connsiteY10" fmla="*/ 537742 h 577432"/>
              <a:gd name="connsiteX11" fmla="*/ 286837 w 578320"/>
              <a:gd name="connsiteY11" fmla="*/ 464996 h 577432"/>
              <a:gd name="connsiteX12" fmla="*/ 296058 w 578320"/>
              <a:gd name="connsiteY12" fmla="*/ 458550 h 577432"/>
              <a:gd name="connsiteX13" fmla="*/ 328331 w 578320"/>
              <a:gd name="connsiteY13" fmla="*/ 490779 h 577432"/>
              <a:gd name="connsiteX14" fmla="*/ 351384 w 578320"/>
              <a:gd name="connsiteY14" fmla="*/ 298325 h 577432"/>
              <a:gd name="connsiteX15" fmla="*/ 374436 w 578320"/>
              <a:gd name="connsiteY15" fmla="*/ 305692 h 577432"/>
              <a:gd name="connsiteX16" fmla="*/ 381813 w 578320"/>
              <a:gd name="connsiteY16" fmla="*/ 328712 h 577432"/>
              <a:gd name="connsiteX17" fmla="*/ 354150 w 578320"/>
              <a:gd name="connsiteY17" fmla="*/ 495383 h 577432"/>
              <a:gd name="connsiteX18" fmla="*/ 336630 w 578320"/>
              <a:gd name="connsiteY18" fmla="*/ 515642 h 577432"/>
              <a:gd name="connsiteX19" fmla="*/ 328331 w 578320"/>
              <a:gd name="connsiteY19" fmla="*/ 516563 h 577432"/>
              <a:gd name="connsiteX20" fmla="*/ 309889 w 578320"/>
              <a:gd name="connsiteY20" fmla="*/ 509196 h 577432"/>
              <a:gd name="connsiteX21" fmla="*/ 293292 w 578320"/>
              <a:gd name="connsiteY21" fmla="*/ 492621 h 577432"/>
              <a:gd name="connsiteX22" fmla="*/ 110717 w 578320"/>
              <a:gd name="connsiteY22" fmla="*/ 563525 h 577432"/>
              <a:gd name="connsiteX23" fmla="*/ 21273 w 578320"/>
              <a:gd name="connsiteY23" fmla="*/ 528534 h 577432"/>
              <a:gd name="connsiteX24" fmla="*/ 17585 w 578320"/>
              <a:gd name="connsiteY24" fmla="*/ 494463 h 577432"/>
              <a:gd name="connsiteX25" fmla="*/ 50780 w 578320"/>
              <a:gd name="connsiteY25" fmla="*/ 486175 h 577432"/>
              <a:gd name="connsiteX26" fmla="*/ 60001 w 578320"/>
              <a:gd name="connsiteY26" fmla="*/ 488017 h 577432"/>
              <a:gd name="connsiteX27" fmla="*/ 186329 w 578320"/>
              <a:gd name="connsiteY27" fmla="*/ 386725 h 577432"/>
              <a:gd name="connsiteX28" fmla="*/ 169731 w 578320"/>
              <a:gd name="connsiteY28" fmla="*/ 369229 h 577432"/>
              <a:gd name="connsiteX29" fmla="*/ 163276 w 578320"/>
              <a:gd name="connsiteY29" fmla="*/ 343446 h 577432"/>
              <a:gd name="connsiteX30" fmla="*/ 184484 w 578320"/>
              <a:gd name="connsiteY30" fmla="*/ 325029 h 577432"/>
              <a:gd name="connsiteX31" fmla="*/ 505454 w 578320"/>
              <a:gd name="connsiteY31" fmla="*/ 194319 h 577432"/>
              <a:gd name="connsiteX32" fmla="*/ 442733 w 578320"/>
              <a:gd name="connsiteY32" fmla="*/ 226552 h 577432"/>
              <a:gd name="connsiteX33" fmla="*/ 446423 w 578320"/>
              <a:gd name="connsiteY33" fmla="*/ 288255 h 577432"/>
              <a:gd name="connsiteX34" fmla="*/ 442733 w 578320"/>
              <a:gd name="connsiteY34" fmla="*/ 350880 h 577432"/>
              <a:gd name="connsiteX35" fmla="*/ 505454 w 578320"/>
              <a:gd name="connsiteY35" fmla="*/ 382192 h 577432"/>
              <a:gd name="connsiteX36" fmla="*/ 525746 w 578320"/>
              <a:gd name="connsiteY36" fmla="*/ 288255 h 577432"/>
              <a:gd name="connsiteX37" fmla="*/ 505454 w 578320"/>
              <a:gd name="connsiteY37" fmla="*/ 194319 h 577432"/>
              <a:gd name="connsiteX38" fmla="*/ 71944 w 578320"/>
              <a:gd name="connsiteY38" fmla="*/ 194319 h 577432"/>
              <a:gd name="connsiteX39" fmla="*/ 52575 w 578320"/>
              <a:gd name="connsiteY39" fmla="*/ 288255 h 577432"/>
              <a:gd name="connsiteX40" fmla="*/ 71944 w 578320"/>
              <a:gd name="connsiteY40" fmla="*/ 382192 h 577432"/>
              <a:gd name="connsiteX41" fmla="*/ 134665 w 578320"/>
              <a:gd name="connsiteY41" fmla="*/ 350880 h 577432"/>
              <a:gd name="connsiteX42" fmla="*/ 130975 w 578320"/>
              <a:gd name="connsiteY42" fmla="*/ 288255 h 577432"/>
              <a:gd name="connsiteX43" fmla="*/ 134665 w 578320"/>
              <a:gd name="connsiteY43" fmla="*/ 226552 h 577432"/>
              <a:gd name="connsiteX44" fmla="*/ 71944 w 578320"/>
              <a:gd name="connsiteY44" fmla="*/ 194319 h 577432"/>
              <a:gd name="connsiteX45" fmla="*/ 398460 w 578320"/>
              <a:gd name="connsiteY45" fmla="*/ 79201 h 577432"/>
              <a:gd name="connsiteX46" fmla="*/ 434432 w 578320"/>
              <a:gd name="connsiteY46" fmla="*/ 174058 h 577432"/>
              <a:gd name="connsiteX47" fmla="*/ 479628 w 578320"/>
              <a:gd name="connsiteY47" fmla="*/ 149193 h 577432"/>
              <a:gd name="connsiteX48" fmla="*/ 398460 w 578320"/>
              <a:gd name="connsiteY48" fmla="*/ 79201 h 577432"/>
              <a:gd name="connsiteX49" fmla="*/ 178938 w 578320"/>
              <a:gd name="connsiteY49" fmla="*/ 79201 h 577432"/>
              <a:gd name="connsiteX50" fmla="*/ 98693 w 578320"/>
              <a:gd name="connsiteY50" fmla="*/ 149193 h 577432"/>
              <a:gd name="connsiteX51" fmla="*/ 143888 w 578320"/>
              <a:gd name="connsiteY51" fmla="*/ 174058 h 577432"/>
              <a:gd name="connsiteX52" fmla="*/ 178938 w 578320"/>
              <a:gd name="connsiteY52" fmla="*/ 79201 h 577432"/>
              <a:gd name="connsiteX53" fmla="*/ 315447 w 578320"/>
              <a:gd name="connsiteY53" fmla="*/ 61703 h 577432"/>
              <a:gd name="connsiteX54" fmla="*/ 315447 w 578320"/>
              <a:gd name="connsiteY54" fmla="*/ 198924 h 577432"/>
              <a:gd name="connsiteX55" fmla="*/ 383702 w 578320"/>
              <a:gd name="connsiteY55" fmla="*/ 189714 h 577432"/>
              <a:gd name="connsiteX56" fmla="*/ 315447 w 578320"/>
              <a:gd name="connsiteY56" fmla="*/ 61703 h 577432"/>
              <a:gd name="connsiteX57" fmla="*/ 262873 w 578320"/>
              <a:gd name="connsiteY57" fmla="*/ 61703 h 577432"/>
              <a:gd name="connsiteX58" fmla="*/ 194618 w 578320"/>
              <a:gd name="connsiteY58" fmla="*/ 189714 h 577432"/>
              <a:gd name="connsiteX59" fmla="*/ 262873 w 578320"/>
              <a:gd name="connsiteY59" fmla="*/ 198924 h 577432"/>
              <a:gd name="connsiteX60" fmla="*/ 288699 w 578320"/>
              <a:gd name="connsiteY60" fmla="*/ 0 h 577432"/>
              <a:gd name="connsiteX61" fmla="*/ 578320 w 578320"/>
              <a:gd name="connsiteY61" fmla="*/ 288255 h 577432"/>
              <a:gd name="connsiteX62" fmla="*/ 288699 w 578320"/>
              <a:gd name="connsiteY62" fmla="*/ 577432 h 577432"/>
              <a:gd name="connsiteX63" fmla="*/ 213065 w 578320"/>
              <a:gd name="connsiteY63" fmla="*/ 567302 h 577432"/>
              <a:gd name="connsiteX64" fmla="*/ 289621 w 578320"/>
              <a:gd name="connsiteY64" fmla="*/ 526780 h 577432"/>
              <a:gd name="connsiteX65" fmla="*/ 291466 w 578320"/>
              <a:gd name="connsiteY65" fmla="*/ 527701 h 577432"/>
              <a:gd name="connsiteX66" fmla="*/ 328360 w 578320"/>
              <a:gd name="connsiteY66" fmla="*/ 543357 h 577432"/>
              <a:gd name="connsiteX67" fmla="*/ 344963 w 578320"/>
              <a:gd name="connsiteY67" fmla="*/ 540594 h 577432"/>
              <a:gd name="connsiteX68" fmla="*/ 380013 w 578320"/>
              <a:gd name="connsiteY68" fmla="*/ 499152 h 577432"/>
              <a:gd name="connsiteX69" fmla="*/ 407683 w 578320"/>
              <a:gd name="connsiteY69" fmla="*/ 332461 h 577432"/>
              <a:gd name="connsiteX70" fmla="*/ 393848 w 578320"/>
              <a:gd name="connsiteY70" fmla="*/ 288255 h 577432"/>
              <a:gd name="connsiteX71" fmla="*/ 392003 w 578320"/>
              <a:gd name="connsiteY71" fmla="*/ 241287 h 577432"/>
              <a:gd name="connsiteX72" fmla="*/ 315447 w 578320"/>
              <a:gd name="connsiteY72" fmla="*/ 251418 h 577432"/>
              <a:gd name="connsiteX73" fmla="*/ 315447 w 578320"/>
              <a:gd name="connsiteY73" fmla="*/ 277204 h 577432"/>
              <a:gd name="connsiteX74" fmla="*/ 262873 w 578320"/>
              <a:gd name="connsiteY74" fmla="*/ 286413 h 577432"/>
              <a:gd name="connsiteX75" fmla="*/ 262873 w 578320"/>
              <a:gd name="connsiteY75" fmla="*/ 251418 h 577432"/>
              <a:gd name="connsiteX76" fmla="*/ 186317 w 578320"/>
              <a:gd name="connsiteY76" fmla="*/ 241287 h 577432"/>
              <a:gd name="connsiteX77" fmla="*/ 183550 w 578320"/>
              <a:gd name="connsiteY77" fmla="*/ 288255 h 577432"/>
              <a:gd name="connsiteX78" fmla="*/ 184472 w 578320"/>
              <a:gd name="connsiteY78" fmla="*/ 298386 h 577432"/>
              <a:gd name="connsiteX79" fmla="*/ 179860 w 578320"/>
              <a:gd name="connsiteY79" fmla="*/ 299307 h 577432"/>
              <a:gd name="connsiteX80" fmla="*/ 138354 w 578320"/>
              <a:gd name="connsiteY80" fmla="*/ 335224 h 577432"/>
              <a:gd name="connsiteX81" fmla="*/ 151267 w 578320"/>
              <a:gd name="connsiteY81" fmla="*/ 387718 h 577432"/>
              <a:gd name="connsiteX82" fmla="*/ 132820 w 578320"/>
              <a:gd name="connsiteY82" fmla="*/ 407979 h 577432"/>
              <a:gd name="connsiteX83" fmla="*/ 98693 w 578320"/>
              <a:gd name="connsiteY83" fmla="*/ 428239 h 577432"/>
              <a:gd name="connsiteX84" fmla="*/ 104227 w 578320"/>
              <a:gd name="connsiteY84" fmla="*/ 435607 h 577432"/>
              <a:gd name="connsiteX85" fmla="*/ 59953 w 578320"/>
              <a:gd name="connsiteY85" fmla="*/ 461393 h 577432"/>
              <a:gd name="connsiteX86" fmla="*/ 57186 w 578320"/>
              <a:gd name="connsiteY86" fmla="*/ 460472 h 577432"/>
              <a:gd name="connsiteX87" fmla="*/ 0 w 578320"/>
              <a:gd name="connsiteY87" fmla="*/ 288255 h 577432"/>
              <a:gd name="connsiteX88" fmla="*/ 288699 w 578320"/>
              <a:gd name="connsiteY88" fmla="*/ 0 h 57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</a:cxnLst>
            <a:rect l="l" t="t" r="r" b="b"/>
            <a:pathLst>
              <a:path w="578320" h="577432">
                <a:moveTo>
                  <a:pt x="434432" y="403374"/>
                </a:moveTo>
                <a:cubicBezTo>
                  <a:pt x="426131" y="439291"/>
                  <a:pt x="413218" y="471524"/>
                  <a:pt x="398460" y="497310"/>
                </a:cubicBezTo>
                <a:cubicBezTo>
                  <a:pt x="430742" y="480733"/>
                  <a:pt x="458413" y="456789"/>
                  <a:pt x="479628" y="428239"/>
                </a:cubicBezTo>
                <a:cubicBezTo>
                  <a:pt x="466714" y="419030"/>
                  <a:pt x="451034" y="410741"/>
                  <a:pt x="434432" y="403374"/>
                </a:cubicBezTo>
                <a:close/>
                <a:moveTo>
                  <a:pt x="355072" y="324108"/>
                </a:moveTo>
                <a:lnTo>
                  <a:pt x="188173" y="350812"/>
                </a:lnTo>
                <a:lnTo>
                  <a:pt x="221368" y="383963"/>
                </a:lnTo>
                <a:lnTo>
                  <a:pt x="214914" y="393171"/>
                </a:lnTo>
                <a:cubicBezTo>
                  <a:pt x="199238" y="413429"/>
                  <a:pt x="119938" y="513800"/>
                  <a:pt x="60001" y="513800"/>
                </a:cubicBezTo>
                <a:cubicBezTo>
                  <a:pt x="52625" y="513800"/>
                  <a:pt x="46170" y="512879"/>
                  <a:pt x="39715" y="510117"/>
                </a:cubicBezTo>
                <a:cubicBezTo>
                  <a:pt x="58157" y="528534"/>
                  <a:pt x="82132" y="537742"/>
                  <a:pt x="110717" y="537742"/>
                </a:cubicBezTo>
                <a:cubicBezTo>
                  <a:pt x="181718" y="537742"/>
                  <a:pt x="263785" y="481571"/>
                  <a:pt x="286837" y="464996"/>
                </a:cubicBezTo>
                <a:lnTo>
                  <a:pt x="296058" y="458550"/>
                </a:lnTo>
                <a:lnTo>
                  <a:pt x="328331" y="490779"/>
                </a:lnTo>
                <a:close/>
                <a:moveTo>
                  <a:pt x="351384" y="298325"/>
                </a:moveTo>
                <a:cubicBezTo>
                  <a:pt x="360605" y="296483"/>
                  <a:pt x="367982" y="299246"/>
                  <a:pt x="374436" y="305692"/>
                </a:cubicBezTo>
                <a:cubicBezTo>
                  <a:pt x="379969" y="311217"/>
                  <a:pt x="382735" y="320425"/>
                  <a:pt x="381813" y="328712"/>
                </a:cubicBezTo>
                <a:lnTo>
                  <a:pt x="354150" y="495383"/>
                </a:lnTo>
                <a:cubicBezTo>
                  <a:pt x="352306" y="504592"/>
                  <a:pt x="345851" y="512879"/>
                  <a:pt x="336630" y="515642"/>
                </a:cubicBezTo>
                <a:cubicBezTo>
                  <a:pt x="333864" y="516563"/>
                  <a:pt x="331098" y="516563"/>
                  <a:pt x="328331" y="516563"/>
                </a:cubicBezTo>
                <a:cubicBezTo>
                  <a:pt x="321877" y="516563"/>
                  <a:pt x="314500" y="513800"/>
                  <a:pt x="309889" y="509196"/>
                </a:cubicBezTo>
                <a:lnTo>
                  <a:pt x="293292" y="492621"/>
                </a:lnTo>
                <a:cubicBezTo>
                  <a:pt x="256408" y="518404"/>
                  <a:pt x="181718" y="563525"/>
                  <a:pt x="110717" y="563525"/>
                </a:cubicBezTo>
                <a:cubicBezTo>
                  <a:pt x="74755" y="563525"/>
                  <a:pt x="44326" y="551554"/>
                  <a:pt x="21273" y="528534"/>
                </a:cubicBezTo>
                <a:cubicBezTo>
                  <a:pt x="12052" y="519325"/>
                  <a:pt x="10208" y="505513"/>
                  <a:pt x="17585" y="494463"/>
                </a:cubicBezTo>
                <a:cubicBezTo>
                  <a:pt x="24962" y="484333"/>
                  <a:pt x="38793" y="480650"/>
                  <a:pt x="50780" y="486175"/>
                </a:cubicBezTo>
                <a:cubicBezTo>
                  <a:pt x="53547" y="487096"/>
                  <a:pt x="56313" y="488017"/>
                  <a:pt x="60001" y="488017"/>
                </a:cubicBezTo>
                <a:cubicBezTo>
                  <a:pt x="92275" y="488017"/>
                  <a:pt x="146678" y="436450"/>
                  <a:pt x="186329" y="386725"/>
                </a:cubicBezTo>
                <a:lnTo>
                  <a:pt x="169731" y="369229"/>
                </a:lnTo>
                <a:cubicBezTo>
                  <a:pt x="163276" y="362783"/>
                  <a:pt x="160510" y="352654"/>
                  <a:pt x="163276" y="343446"/>
                </a:cubicBezTo>
                <a:cubicBezTo>
                  <a:pt x="166964" y="333317"/>
                  <a:pt x="174341" y="326871"/>
                  <a:pt x="184484" y="325029"/>
                </a:cubicBezTo>
                <a:close/>
                <a:moveTo>
                  <a:pt x="505454" y="194319"/>
                </a:moveTo>
                <a:cubicBezTo>
                  <a:pt x="487006" y="207212"/>
                  <a:pt x="466714" y="218264"/>
                  <a:pt x="442733" y="226552"/>
                </a:cubicBezTo>
                <a:cubicBezTo>
                  <a:pt x="445500" y="246813"/>
                  <a:pt x="446423" y="267074"/>
                  <a:pt x="446423" y="288255"/>
                </a:cubicBezTo>
                <a:cubicBezTo>
                  <a:pt x="446423" y="310358"/>
                  <a:pt x="445500" y="330619"/>
                  <a:pt x="442733" y="350880"/>
                </a:cubicBezTo>
                <a:cubicBezTo>
                  <a:pt x="466714" y="359168"/>
                  <a:pt x="487006" y="370220"/>
                  <a:pt x="505454" y="382192"/>
                </a:cubicBezTo>
                <a:cubicBezTo>
                  <a:pt x="518367" y="353643"/>
                  <a:pt x="525746" y="322331"/>
                  <a:pt x="525746" y="288255"/>
                </a:cubicBezTo>
                <a:cubicBezTo>
                  <a:pt x="525746" y="255101"/>
                  <a:pt x="518367" y="223789"/>
                  <a:pt x="505454" y="194319"/>
                </a:cubicBezTo>
                <a:close/>
                <a:moveTo>
                  <a:pt x="71944" y="194319"/>
                </a:moveTo>
                <a:cubicBezTo>
                  <a:pt x="59953" y="223789"/>
                  <a:pt x="52575" y="255101"/>
                  <a:pt x="52575" y="288255"/>
                </a:cubicBezTo>
                <a:cubicBezTo>
                  <a:pt x="52575" y="322331"/>
                  <a:pt x="59953" y="353643"/>
                  <a:pt x="71944" y="382192"/>
                </a:cubicBezTo>
                <a:cubicBezTo>
                  <a:pt x="90391" y="370220"/>
                  <a:pt x="111606" y="359168"/>
                  <a:pt x="134665" y="350880"/>
                </a:cubicBezTo>
                <a:cubicBezTo>
                  <a:pt x="132820" y="330619"/>
                  <a:pt x="130975" y="310358"/>
                  <a:pt x="130975" y="288255"/>
                </a:cubicBezTo>
                <a:cubicBezTo>
                  <a:pt x="130975" y="267074"/>
                  <a:pt x="132820" y="246813"/>
                  <a:pt x="134665" y="226552"/>
                </a:cubicBezTo>
                <a:cubicBezTo>
                  <a:pt x="111606" y="217343"/>
                  <a:pt x="90391" y="207212"/>
                  <a:pt x="71944" y="194319"/>
                </a:cubicBezTo>
                <a:close/>
                <a:moveTo>
                  <a:pt x="398460" y="79201"/>
                </a:moveTo>
                <a:cubicBezTo>
                  <a:pt x="413218" y="105908"/>
                  <a:pt x="426131" y="138141"/>
                  <a:pt x="434432" y="174058"/>
                </a:cubicBezTo>
                <a:cubicBezTo>
                  <a:pt x="451034" y="166691"/>
                  <a:pt x="466714" y="158402"/>
                  <a:pt x="479628" y="149193"/>
                </a:cubicBezTo>
                <a:cubicBezTo>
                  <a:pt x="458413" y="120643"/>
                  <a:pt x="430742" y="96699"/>
                  <a:pt x="398460" y="79201"/>
                </a:cubicBezTo>
                <a:close/>
                <a:moveTo>
                  <a:pt x="178938" y="79201"/>
                </a:moveTo>
                <a:cubicBezTo>
                  <a:pt x="147578" y="96699"/>
                  <a:pt x="119907" y="120643"/>
                  <a:pt x="98693" y="149193"/>
                </a:cubicBezTo>
                <a:cubicBezTo>
                  <a:pt x="111606" y="158402"/>
                  <a:pt x="127286" y="166691"/>
                  <a:pt x="143888" y="174058"/>
                </a:cubicBezTo>
                <a:cubicBezTo>
                  <a:pt x="152190" y="138141"/>
                  <a:pt x="164180" y="105908"/>
                  <a:pt x="178938" y="79201"/>
                </a:cubicBezTo>
                <a:close/>
                <a:moveTo>
                  <a:pt x="315447" y="61703"/>
                </a:moveTo>
                <a:lnTo>
                  <a:pt x="315447" y="198924"/>
                </a:lnTo>
                <a:cubicBezTo>
                  <a:pt x="339429" y="198003"/>
                  <a:pt x="362488" y="194319"/>
                  <a:pt x="383702" y="189714"/>
                </a:cubicBezTo>
                <a:cubicBezTo>
                  <a:pt x="369867" y="125248"/>
                  <a:pt x="343118" y="79201"/>
                  <a:pt x="315447" y="61703"/>
                </a:cubicBezTo>
                <a:close/>
                <a:moveTo>
                  <a:pt x="262873" y="61703"/>
                </a:moveTo>
                <a:cubicBezTo>
                  <a:pt x="234280" y="79201"/>
                  <a:pt x="208454" y="125248"/>
                  <a:pt x="194618" y="189714"/>
                </a:cubicBezTo>
                <a:cubicBezTo>
                  <a:pt x="215832" y="194319"/>
                  <a:pt x="238891" y="198003"/>
                  <a:pt x="262873" y="198924"/>
                </a:cubicBezTo>
                <a:close/>
                <a:moveTo>
                  <a:pt x="288699" y="0"/>
                </a:moveTo>
                <a:cubicBezTo>
                  <a:pt x="448267" y="0"/>
                  <a:pt x="578320" y="129853"/>
                  <a:pt x="578320" y="288255"/>
                </a:cubicBezTo>
                <a:cubicBezTo>
                  <a:pt x="578320" y="447579"/>
                  <a:pt x="448267" y="577432"/>
                  <a:pt x="288699" y="577432"/>
                </a:cubicBezTo>
                <a:cubicBezTo>
                  <a:pt x="262873" y="577432"/>
                  <a:pt x="237969" y="573748"/>
                  <a:pt x="213065" y="567302"/>
                </a:cubicBezTo>
                <a:cubicBezTo>
                  <a:pt x="242581" y="555330"/>
                  <a:pt x="269329" y="539674"/>
                  <a:pt x="289621" y="526780"/>
                </a:cubicBezTo>
                <a:lnTo>
                  <a:pt x="291466" y="527701"/>
                </a:lnTo>
                <a:cubicBezTo>
                  <a:pt x="300690" y="537832"/>
                  <a:pt x="314525" y="543357"/>
                  <a:pt x="328360" y="543357"/>
                </a:cubicBezTo>
                <a:cubicBezTo>
                  <a:pt x="333895" y="543357"/>
                  <a:pt x="339429" y="542436"/>
                  <a:pt x="344963" y="540594"/>
                </a:cubicBezTo>
                <a:cubicBezTo>
                  <a:pt x="363410" y="535069"/>
                  <a:pt x="377246" y="518492"/>
                  <a:pt x="380013" y="499152"/>
                </a:cubicBezTo>
                <a:lnTo>
                  <a:pt x="407683" y="332461"/>
                </a:lnTo>
                <a:cubicBezTo>
                  <a:pt x="409528" y="316805"/>
                  <a:pt x="404916" y="300228"/>
                  <a:pt x="393848" y="288255"/>
                </a:cubicBezTo>
                <a:cubicBezTo>
                  <a:pt x="393848" y="272599"/>
                  <a:pt x="392926" y="256943"/>
                  <a:pt x="392003" y="241287"/>
                </a:cubicBezTo>
                <a:cubicBezTo>
                  <a:pt x="367100" y="246813"/>
                  <a:pt x="342196" y="250497"/>
                  <a:pt x="315447" y="251418"/>
                </a:cubicBezTo>
                <a:lnTo>
                  <a:pt x="315447" y="277204"/>
                </a:lnTo>
                <a:lnTo>
                  <a:pt x="262873" y="286413"/>
                </a:lnTo>
                <a:lnTo>
                  <a:pt x="262873" y="251418"/>
                </a:lnTo>
                <a:cubicBezTo>
                  <a:pt x="236124" y="250497"/>
                  <a:pt x="210298" y="246813"/>
                  <a:pt x="186317" y="241287"/>
                </a:cubicBezTo>
                <a:cubicBezTo>
                  <a:pt x="184472" y="256943"/>
                  <a:pt x="183550" y="272599"/>
                  <a:pt x="183550" y="288255"/>
                </a:cubicBezTo>
                <a:cubicBezTo>
                  <a:pt x="183550" y="291939"/>
                  <a:pt x="184472" y="295623"/>
                  <a:pt x="184472" y="298386"/>
                </a:cubicBezTo>
                <a:lnTo>
                  <a:pt x="179860" y="299307"/>
                </a:lnTo>
                <a:cubicBezTo>
                  <a:pt x="160491" y="302991"/>
                  <a:pt x="144811" y="315884"/>
                  <a:pt x="138354" y="335224"/>
                </a:cubicBezTo>
                <a:cubicBezTo>
                  <a:pt x="132820" y="353643"/>
                  <a:pt x="137432" y="373904"/>
                  <a:pt x="151267" y="387718"/>
                </a:cubicBezTo>
                <a:cubicBezTo>
                  <a:pt x="144811" y="395085"/>
                  <a:pt x="138354" y="402453"/>
                  <a:pt x="132820" y="407979"/>
                </a:cubicBezTo>
                <a:cubicBezTo>
                  <a:pt x="119907" y="414425"/>
                  <a:pt x="108839" y="420872"/>
                  <a:pt x="98693" y="428239"/>
                </a:cubicBezTo>
                <a:cubicBezTo>
                  <a:pt x="100537" y="430081"/>
                  <a:pt x="102382" y="432844"/>
                  <a:pt x="104227" y="435607"/>
                </a:cubicBezTo>
                <a:cubicBezTo>
                  <a:pt x="83935" y="452184"/>
                  <a:pt x="68255" y="461393"/>
                  <a:pt x="59953" y="461393"/>
                </a:cubicBezTo>
                <a:cubicBezTo>
                  <a:pt x="59031" y="461393"/>
                  <a:pt x="58109" y="461393"/>
                  <a:pt x="57186" y="460472"/>
                </a:cubicBezTo>
                <a:cubicBezTo>
                  <a:pt x="21214" y="412583"/>
                  <a:pt x="0" y="352722"/>
                  <a:pt x="0" y="288255"/>
                </a:cubicBezTo>
                <a:cubicBezTo>
                  <a:pt x="0" y="129853"/>
                  <a:pt x="130053" y="0"/>
                  <a:pt x="288699" y="0"/>
                </a:cubicBezTo>
                <a:close/>
              </a:path>
            </a:pathLst>
          </a:custGeom>
          <a:solidFill>
            <a:schemeClr val="accent1">
              <a:alpha val="8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en-US" sz="2400" b="1" dirty="0">
              <a:cs typeface="+mn-ea"/>
              <a:sym typeface="+mn-lt"/>
            </a:endParaRPr>
          </a:p>
        </p:txBody>
      </p:sp>
      <p:sp>
        <p:nvSpPr>
          <p:cNvPr id="16" name="任意多边形: 形状 15">
            <a:extLst>
              <a:ext uri="{FF2B5EF4-FFF2-40B4-BE49-F238E27FC236}">
                <a16:creationId xmlns:a16="http://schemas.microsoft.com/office/drawing/2014/main" id="{6A5959F1-D2CC-4B61-B441-77832D59202C}"/>
              </a:ext>
            </a:extLst>
          </p:cNvPr>
          <p:cNvSpPr/>
          <p:nvPr/>
        </p:nvSpPr>
        <p:spPr>
          <a:xfrm>
            <a:off x="9894185" y="3605531"/>
            <a:ext cx="386976" cy="386382"/>
          </a:xfrm>
          <a:custGeom>
            <a:avLst/>
            <a:gdLst>
              <a:gd name="connsiteX0" fmla="*/ 434432 w 578320"/>
              <a:gd name="connsiteY0" fmla="*/ 403374 h 577432"/>
              <a:gd name="connsiteX1" fmla="*/ 398460 w 578320"/>
              <a:gd name="connsiteY1" fmla="*/ 497310 h 577432"/>
              <a:gd name="connsiteX2" fmla="*/ 479628 w 578320"/>
              <a:gd name="connsiteY2" fmla="*/ 428239 h 577432"/>
              <a:gd name="connsiteX3" fmla="*/ 434432 w 578320"/>
              <a:gd name="connsiteY3" fmla="*/ 403374 h 577432"/>
              <a:gd name="connsiteX4" fmla="*/ 355072 w 578320"/>
              <a:gd name="connsiteY4" fmla="*/ 324108 h 577432"/>
              <a:gd name="connsiteX5" fmla="*/ 188173 w 578320"/>
              <a:gd name="connsiteY5" fmla="*/ 350812 h 577432"/>
              <a:gd name="connsiteX6" fmla="*/ 221368 w 578320"/>
              <a:gd name="connsiteY6" fmla="*/ 383963 h 577432"/>
              <a:gd name="connsiteX7" fmla="*/ 214914 w 578320"/>
              <a:gd name="connsiteY7" fmla="*/ 393171 h 577432"/>
              <a:gd name="connsiteX8" fmla="*/ 60001 w 578320"/>
              <a:gd name="connsiteY8" fmla="*/ 513800 h 577432"/>
              <a:gd name="connsiteX9" fmla="*/ 39715 w 578320"/>
              <a:gd name="connsiteY9" fmla="*/ 510117 h 577432"/>
              <a:gd name="connsiteX10" fmla="*/ 110717 w 578320"/>
              <a:gd name="connsiteY10" fmla="*/ 537742 h 577432"/>
              <a:gd name="connsiteX11" fmla="*/ 286837 w 578320"/>
              <a:gd name="connsiteY11" fmla="*/ 464996 h 577432"/>
              <a:gd name="connsiteX12" fmla="*/ 296058 w 578320"/>
              <a:gd name="connsiteY12" fmla="*/ 458550 h 577432"/>
              <a:gd name="connsiteX13" fmla="*/ 328331 w 578320"/>
              <a:gd name="connsiteY13" fmla="*/ 490779 h 577432"/>
              <a:gd name="connsiteX14" fmla="*/ 351384 w 578320"/>
              <a:gd name="connsiteY14" fmla="*/ 298325 h 577432"/>
              <a:gd name="connsiteX15" fmla="*/ 374436 w 578320"/>
              <a:gd name="connsiteY15" fmla="*/ 305692 h 577432"/>
              <a:gd name="connsiteX16" fmla="*/ 381813 w 578320"/>
              <a:gd name="connsiteY16" fmla="*/ 328712 h 577432"/>
              <a:gd name="connsiteX17" fmla="*/ 354150 w 578320"/>
              <a:gd name="connsiteY17" fmla="*/ 495383 h 577432"/>
              <a:gd name="connsiteX18" fmla="*/ 336630 w 578320"/>
              <a:gd name="connsiteY18" fmla="*/ 515642 h 577432"/>
              <a:gd name="connsiteX19" fmla="*/ 328331 w 578320"/>
              <a:gd name="connsiteY19" fmla="*/ 516563 h 577432"/>
              <a:gd name="connsiteX20" fmla="*/ 309889 w 578320"/>
              <a:gd name="connsiteY20" fmla="*/ 509196 h 577432"/>
              <a:gd name="connsiteX21" fmla="*/ 293292 w 578320"/>
              <a:gd name="connsiteY21" fmla="*/ 492621 h 577432"/>
              <a:gd name="connsiteX22" fmla="*/ 110717 w 578320"/>
              <a:gd name="connsiteY22" fmla="*/ 563525 h 577432"/>
              <a:gd name="connsiteX23" fmla="*/ 21273 w 578320"/>
              <a:gd name="connsiteY23" fmla="*/ 528534 h 577432"/>
              <a:gd name="connsiteX24" fmla="*/ 17585 w 578320"/>
              <a:gd name="connsiteY24" fmla="*/ 494463 h 577432"/>
              <a:gd name="connsiteX25" fmla="*/ 50780 w 578320"/>
              <a:gd name="connsiteY25" fmla="*/ 486175 h 577432"/>
              <a:gd name="connsiteX26" fmla="*/ 60001 w 578320"/>
              <a:gd name="connsiteY26" fmla="*/ 488017 h 577432"/>
              <a:gd name="connsiteX27" fmla="*/ 186329 w 578320"/>
              <a:gd name="connsiteY27" fmla="*/ 386725 h 577432"/>
              <a:gd name="connsiteX28" fmla="*/ 169731 w 578320"/>
              <a:gd name="connsiteY28" fmla="*/ 369229 h 577432"/>
              <a:gd name="connsiteX29" fmla="*/ 163276 w 578320"/>
              <a:gd name="connsiteY29" fmla="*/ 343446 h 577432"/>
              <a:gd name="connsiteX30" fmla="*/ 184484 w 578320"/>
              <a:gd name="connsiteY30" fmla="*/ 325029 h 577432"/>
              <a:gd name="connsiteX31" fmla="*/ 505454 w 578320"/>
              <a:gd name="connsiteY31" fmla="*/ 194319 h 577432"/>
              <a:gd name="connsiteX32" fmla="*/ 442733 w 578320"/>
              <a:gd name="connsiteY32" fmla="*/ 226552 h 577432"/>
              <a:gd name="connsiteX33" fmla="*/ 446423 w 578320"/>
              <a:gd name="connsiteY33" fmla="*/ 288255 h 577432"/>
              <a:gd name="connsiteX34" fmla="*/ 442733 w 578320"/>
              <a:gd name="connsiteY34" fmla="*/ 350880 h 577432"/>
              <a:gd name="connsiteX35" fmla="*/ 505454 w 578320"/>
              <a:gd name="connsiteY35" fmla="*/ 382192 h 577432"/>
              <a:gd name="connsiteX36" fmla="*/ 525746 w 578320"/>
              <a:gd name="connsiteY36" fmla="*/ 288255 h 577432"/>
              <a:gd name="connsiteX37" fmla="*/ 505454 w 578320"/>
              <a:gd name="connsiteY37" fmla="*/ 194319 h 577432"/>
              <a:gd name="connsiteX38" fmla="*/ 71944 w 578320"/>
              <a:gd name="connsiteY38" fmla="*/ 194319 h 577432"/>
              <a:gd name="connsiteX39" fmla="*/ 52575 w 578320"/>
              <a:gd name="connsiteY39" fmla="*/ 288255 h 577432"/>
              <a:gd name="connsiteX40" fmla="*/ 71944 w 578320"/>
              <a:gd name="connsiteY40" fmla="*/ 382192 h 577432"/>
              <a:gd name="connsiteX41" fmla="*/ 134665 w 578320"/>
              <a:gd name="connsiteY41" fmla="*/ 350880 h 577432"/>
              <a:gd name="connsiteX42" fmla="*/ 130975 w 578320"/>
              <a:gd name="connsiteY42" fmla="*/ 288255 h 577432"/>
              <a:gd name="connsiteX43" fmla="*/ 134665 w 578320"/>
              <a:gd name="connsiteY43" fmla="*/ 226552 h 577432"/>
              <a:gd name="connsiteX44" fmla="*/ 71944 w 578320"/>
              <a:gd name="connsiteY44" fmla="*/ 194319 h 577432"/>
              <a:gd name="connsiteX45" fmla="*/ 398460 w 578320"/>
              <a:gd name="connsiteY45" fmla="*/ 79201 h 577432"/>
              <a:gd name="connsiteX46" fmla="*/ 434432 w 578320"/>
              <a:gd name="connsiteY46" fmla="*/ 174058 h 577432"/>
              <a:gd name="connsiteX47" fmla="*/ 479628 w 578320"/>
              <a:gd name="connsiteY47" fmla="*/ 149193 h 577432"/>
              <a:gd name="connsiteX48" fmla="*/ 398460 w 578320"/>
              <a:gd name="connsiteY48" fmla="*/ 79201 h 577432"/>
              <a:gd name="connsiteX49" fmla="*/ 178938 w 578320"/>
              <a:gd name="connsiteY49" fmla="*/ 79201 h 577432"/>
              <a:gd name="connsiteX50" fmla="*/ 98693 w 578320"/>
              <a:gd name="connsiteY50" fmla="*/ 149193 h 577432"/>
              <a:gd name="connsiteX51" fmla="*/ 143888 w 578320"/>
              <a:gd name="connsiteY51" fmla="*/ 174058 h 577432"/>
              <a:gd name="connsiteX52" fmla="*/ 178938 w 578320"/>
              <a:gd name="connsiteY52" fmla="*/ 79201 h 577432"/>
              <a:gd name="connsiteX53" fmla="*/ 315447 w 578320"/>
              <a:gd name="connsiteY53" fmla="*/ 61703 h 577432"/>
              <a:gd name="connsiteX54" fmla="*/ 315447 w 578320"/>
              <a:gd name="connsiteY54" fmla="*/ 198924 h 577432"/>
              <a:gd name="connsiteX55" fmla="*/ 383702 w 578320"/>
              <a:gd name="connsiteY55" fmla="*/ 189714 h 577432"/>
              <a:gd name="connsiteX56" fmla="*/ 315447 w 578320"/>
              <a:gd name="connsiteY56" fmla="*/ 61703 h 577432"/>
              <a:gd name="connsiteX57" fmla="*/ 262873 w 578320"/>
              <a:gd name="connsiteY57" fmla="*/ 61703 h 577432"/>
              <a:gd name="connsiteX58" fmla="*/ 194618 w 578320"/>
              <a:gd name="connsiteY58" fmla="*/ 189714 h 577432"/>
              <a:gd name="connsiteX59" fmla="*/ 262873 w 578320"/>
              <a:gd name="connsiteY59" fmla="*/ 198924 h 577432"/>
              <a:gd name="connsiteX60" fmla="*/ 288699 w 578320"/>
              <a:gd name="connsiteY60" fmla="*/ 0 h 577432"/>
              <a:gd name="connsiteX61" fmla="*/ 578320 w 578320"/>
              <a:gd name="connsiteY61" fmla="*/ 288255 h 577432"/>
              <a:gd name="connsiteX62" fmla="*/ 288699 w 578320"/>
              <a:gd name="connsiteY62" fmla="*/ 577432 h 577432"/>
              <a:gd name="connsiteX63" fmla="*/ 213065 w 578320"/>
              <a:gd name="connsiteY63" fmla="*/ 567302 h 577432"/>
              <a:gd name="connsiteX64" fmla="*/ 289621 w 578320"/>
              <a:gd name="connsiteY64" fmla="*/ 526780 h 577432"/>
              <a:gd name="connsiteX65" fmla="*/ 291466 w 578320"/>
              <a:gd name="connsiteY65" fmla="*/ 527701 h 577432"/>
              <a:gd name="connsiteX66" fmla="*/ 328360 w 578320"/>
              <a:gd name="connsiteY66" fmla="*/ 543357 h 577432"/>
              <a:gd name="connsiteX67" fmla="*/ 344963 w 578320"/>
              <a:gd name="connsiteY67" fmla="*/ 540594 h 577432"/>
              <a:gd name="connsiteX68" fmla="*/ 380013 w 578320"/>
              <a:gd name="connsiteY68" fmla="*/ 499152 h 577432"/>
              <a:gd name="connsiteX69" fmla="*/ 407683 w 578320"/>
              <a:gd name="connsiteY69" fmla="*/ 332461 h 577432"/>
              <a:gd name="connsiteX70" fmla="*/ 393848 w 578320"/>
              <a:gd name="connsiteY70" fmla="*/ 288255 h 577432"/>
              <a:gd name="connsiteX71" fmla="*/ 392003 w 578320"/>
              <a:gd name="connsiteY71" fmla="*/ 241287 h 577432"/>
              <a:gd name="connsiteX72" fmla="*/ 315447 w 578320"/>
              <a:gd name="connsiteY72" fmla="*/ 251418 h 577432"/>
              <a:gd name="connsiteX73" fmla="*/ 315447 w 578320"/>
              <a:gd name="connsiteY73" fmla="*/ 277204 h 577432"/>
              <a:gd name="connsiteX74" fmla="*/ 262873 w 578320"/>
              <a:gd name="connsiteY74" fmla="*/ 286413 h 577432"/>
              <a:gd name="connsiteX75" fmla="*/ 262873 w 578320"/>
              <a:gd name="connsiteY75" fmla="*/ 251418 h 577432"/>
              <a:gd name="connsiteX76" fmla="*/ 186317 w 578320"/>
              <a:gd name="connsiteY76" fmla="*/ 241287 h 577432"/>
              <a:gd name="connsiteX77" fmla="*/ 183550 w 578320"/>
              <a:gd name="connsiteY77" fmla="*/ 288255 h 577432"/>
              <a:gd name="connsiteX78" fmla="*/ 184472 w 578320"/>
              <a:gd name="connsiteY78" fmla="*/ 298386 h 577432"/>
              <a:gd name="connsiteX79" fmla="*/ 179860 w 578320"/>
              <a:gd name="connsiteY79" fmla="*/ 299307 h 577432"/>
              <a:gd name="connsiteX80" fmla="*/ 138354 w 578320"/>
              <a:gd name="connsiteY80" fmla="*/ 335224 h 577432"/>
              <a:gd name="connsiteX81" fmla="*/ 151267 w 578320"/>
              <a:gd name="connsiteY81" fmla="*/ 387718 h 577432"/>
              <a:gd name="connsiteX82" fmla="*/ 132820 w 578320"/>
              <a:gd name="connsiteY82" fmla="*/ 407979 h 577432"/>
              <a:gd name="connsiteX83" fmla="*/ 98693 w 578320"/>
              <a:gd name="connsiteY83" fmla="*/ 428239 h 577432"/>
              <a:gd name="connsiteX84" fmla="*/ 104227 w 578320"/>
              <a:gd name="connsiteY84" fmla="*/ 435607 h 577432"/>
              <a:gd name="connsiteX85" fmla="*/ 59953 w 578320"/>
              <a:gd name="connsiteY85" fmla="*/ 461393 h 577432"/>
              <a:gd name="connsiteX86" fmla="*/ 57186 w 578320"/>
              <a:gd name="connsiteY86" fmla="*/ 460472 h 577432"/>
              <a:gd name="connsiteX87" fmla="*/ 0 w 578320"/>
              <a:gd name="connsiteY87" fmla="*/ 288255 h 577432"/>
              <a:gd name="connsiteX88" fmla="*/ 288699 w 578320"/>
              <a:gd name="connsiteY88" fmla="*/ 0 h 57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</a:cxnLst>
            <a:rect l="l" t="t" r="r" b="b"/>
            <a:pathLst>
              <a:path w="578320" h="577432">
                <a:moveTo>
                  <a:pt x="434432" y="403374"/>
                </a:moveTo>
                <a:cubicBezTo>
                  <a:pt x="426131" y="439291"/>
                  <a:pt x="413218" y="471524"/>
                  <a:pt x="398460" y="497310"/>
                </a:cubicBezTo>
                <a:cubicBezTo>
                  <a:pt x="430742" y="480733"/>
                  <a:pt x="458413" y="456789"/>
                  <a:pt x="479628" y="428239"/>
                </a:cubicBezTo>
                <a:cubicBezTo>
                  <a:pt x="466714" y="419030"/>
                  <a:pt x="451034" y="410741"/>
                  <a:pt x="434432" y="403374"/>
                </a:cubicBezTo>
                <a:close/>
                <a:moveTo>
                  <a:pt x="355072" y="324108"/>
                </a:moveTo>
                <a:lnTo>
                  <a:pt x="188173" y="350812"/>
                </a:lnTo>
                <a:lnTo>
                  <a:pt x="221368" y="383963"/>
                </a:lnTo>
                <a:lnTo>
                  <a:pt x="214914" y="393171"/>
                </a:lnTo>
                <a:cubicBezTo>
                  <a:pt x="199238" y="413429"/>
                  <a:pt x="119938" y="513800"/>
                  <a:pt x="60001" y="513800"/>
                </a:cubicBezTo>
                <a:cubicBezTo>
                  <a:pt x="52625" y="513800"/>
                  <a:pt x="46170" y="512879"/>
                  <a:pt x="39715" y="510117"/>
                </a:cubicBezTo>
                <a:cubicBezTo>
                  <a:pt x="58157" y="528534"/>
                  <a:pt x="82132" y="537742"/>
                  <a:pt x="110717" y="537742"/>
                </a:cubicBezTo>
                <a:cubicBezTo>
                  <a:pt x="181718" y="537742"/>
                  <a:pt x="263785" y="481571"/>
                  <a:pt x="286837" y="464996"/>
                </a:cubicBezTo>
                <a:lnTo>
                  <a:pt x="296058" y="458550"/>
                </a:lnTo>
                <a:lnTo>
                  <a:pt x="328331" y="490779"/>
                </a:lnTo>
                <a:close/>
                <a:moveTo>
                  <a:pt x="351384" y="298325"/>
                </a:moveTo>
                <a:cubicBezTo>
                  <a:pt x="360605" y="296483"/>
                  <a:pt x="367982" y="299246"/>
                  <a:pt x="374436" y="305692"/>
                </a:cubicBezTo>
                <a:cubicBezTo>
                  <a:pt x="379969" y="311217"/>
                  <a:pt x="382735" y="320425"/>
                  <a:pt x="381813" y="328712"/>
                </a:cubicBezTo>
                <a:lnTo>
                  <a:pt x="354150" y="495383"/>
                </a:lnTo>
                <a:cubicBezTo>
                  <a:pt x="352306" y="504592"/>
                  <a:pt x="345851" y="512879"/>
                  <a:pt x="336630" y="515642"/>
                </a:cubicBezTo>
                <a:cubicBezTo>
                  <a:pt x="333864" y="516563"/>
                  <a:pt x="331098" y="516563"/>
                  <a:pt x="328331" y="516563"/>
                </a:cubicBezTo>
                <a:cubicBezTo>
                  <a:pt x="321877" y="516563"/>
                  <a:pt x="314500" y="513800"/>
                  <a:pt x="309889" y="509196"/>
                </a:cubicBezTo>
                <a:lnTo>
                  <a:pt x="293292" y="492621"/>
                </a:lnTo>
                <a:cubicBezTo>
                  <a:pt x="256408" y="518404"/>
                  <a:pt x="181718" y="563525"/>
                  <a:pt x="110717" y="563525"/>
                </a:cubicBezTo>
                <a:cubicBezTo>
                  <a:pt x="74755" y="563525"/>
                  <a:pt x="44326" y="551554"/>
                  <a:pt x="21273" y="528534"/>
                </a:cubicBezTo>
                <a:cubicBezTo>
                  <a:pt x="12052" y="519325"/>
                  <a:pt x="10208" y="505513"/>
                  <a:pt x="17585" y="494463"/>
                </a:cubicBezTo>
                <a:cubicBezTo>
                  <a:pt x="24962" y="484333"/>
                  <a:pt x="38793" y="480650"/>
                  <a:pt x="50780" y="486175"/>
                </a:cubicBezTo>
                <a:cubicBezTo>
                  <a:pt x="53547" y="487096"/>
                  <a:pt x="56313" y="488017"/>
                  <a:pt x="60001" y="488017"/>
                </a:cubicBezTo>
                <a:cubicBezTo>
                  <a:pt x="92275" y="488017"/>
                  <a:pt x="146678" y="436450"/>
                  <a:pt x="186329" y="386725"/>
                </a:cubicBezTo>
                <a:lnTo>
                  <a:pt x="169731" y="369229"/>
                </a:lnTo>
                <a:cubicBezTo>
                  <a:pt x="163276" y="362783"/>
                  <a:pt x="160510" y="352654"/>
                  <a:pt x="163276" y="343446"/>
                </a:cubicBezTo>
                <a:cubicBezTo>
                  <a:pt x="166964" y="333317"/>
                  <a:pt x="174341" y="326871"/>
                  <a:pt x="184484" y="325029"/>
                </a:cubicBezTo>
                <a:close/>
                <a:moveTo>
                  <a:pt x="505454" y="194319"/>
                </a:moveTo>
                <a:cubicBezTo>
                  <a:pt x="487006" y="207212"/>
                  <a:pt x="466714" y="218264"/>
                  <a:pt x="442733" y="226552"/>
                </a:cubicBezTo>
                <a:cubicBezTo>
                  <a:pt x="445500" y="246813"/>
                  <a:pt x="446423" y="267074"/>
                  <a:pt x="446423" y="288255"/>
                </a:cubicBezTo>
                <a:cubicBezTo>
                  <a:pt x="446423" y="310358"/>
                  <a:pt x="445500" y="330619"/>
                  <a:pt x="442733" y="350880"/>
                </a:cubicBezTo>
                <a:cubicBezTo>
                  <a:pt x="466714" y="359168"/>
                  <a:pt x="487006" y="370220"/>
                  <a:pt x="505454" y="382192"/>
                </a:cubicBezTo>
                <a:cubicBezTo>
                  <a:pt x="518367" y="353643"/>
                  <a:pt x="525746" y="322331"/>
                  <a:pt x="525746" y="288255"/>
                </a:cubicBezTo>
                <a:cubicBezTo>
                  <a:pt x="525746" y="255101"/>
                  <a:pt x="518367" y="223789"/>
                  <a:pt x="505454" y="194319"/>
                </a:cubicBezTo>
                <a:close/>
                <a:moveTo>
                  <a:pt x="71944" y="194319"/>
                </a:moveTo>
                <a:cubicBezTo>
                  <a:pt x="59953" y="223789"/>
                  <a:pt x="52575" y="255101"/>
                  <a:pt x="52575" y="288255"/>
                </a:cubicBezTo>
                <a:cubicBezTo>
                  <a:pt x="52575" y="322331"/>
                  <a:pt x="59953" y="353643"/>
                  <a:pt x="71944" y="382192"/>
                </a:cubicBezTo>
                <a:cubicBezTo>
                  <a:pt x="90391" y="370220"/>
                  <a:pt x="111606" y="359168"/>
                  <a:pt x="134665" y="350880"/>
                </a:cubicBezTo>
                <a:cubicBezTo>
                  <a:pt x="132820" y="330619"/>
                  <a:pt x="130975" y="310358"/>
                  <a:pt x="130975" y="288255"/>
                </a:cubicBezTo>
                <a:cubicBezTo>
                  <a:pt x="130975" y="267074"/>
                  <a:pt x="132820" y="246813"/>
                  <a:pt x="134665" y="226552"/>
                </a:cubicBezTo>
                <a:cubicBezTo>
                  <a:pt x="111606" y="217343"/>
                  <a:pt x="90391" y="207212"/>
                  <a:pt x="71944" y="194319"/>
                </a:cubicBezTo>
                <a:close/>
                <a:moveTo>
                  <a:pt x="398460" y="79201"/>
                </a:moveTo>
                <a:cubicBezTo>
                  <a:pt x="413218" y="105908"/>
                  <a:pt x="426131" y="138141"/>
                  <a:pt x="434432" y="174058"/>
                </a:cubicBezTo>
                <a:cubicBezTo>
                  <a:pt x="451034" y="166691"/>
                  <a:pt x="466714" y="158402"/>
                  <a:pt x="479628" y="149193"/>
                </a:cubicBezTo>
                <a:cubicBezTo>
                  <a:pt x="458413" y="120643"/>
                  <a:pt x="430742" y="96699"/>
                  <a:pt x="398460" y="79201"/>
                </a:cubicBezTo>
                <a:close/>
                <a:moveTo>
                  <a:pt x="178938" y="79201"/>
                </a:moveTo>
                <a:cubicBezTo>
                  <a:pt x="147578" y="96699"/>
                  <a:pt x="119907" y="120643"/>
                  <a:pt x="98693" y="149193"/>
                </a:cubicBezTo>
                <a:cubicBezTo>
                  <a:pt x="111606" y="158402"/>
                  <a:pt x="127286" y="166691"/>
                  <a:pt x="143888" y="174058"/>
                </a:cubicBezTo>
                <a:cubicBezTo>
                  <a:pt x="152190" y="138141"/>
                  <a:pt x="164180" y="105908"/>
                  <a:pt x="178938" y="79201"/>
                </a:cubicBezTo>
                <a:close/>
                <a:moveTo>
                  <a:pt x="315447" y="61703"/>
                </a:moveTo>
                <a:lnTo>
                  <a:pt x="315447" y="198924"/>
                </a:lnTo>
                <a:cubicBezTo>
                  <a:pt x="339429" y="198003"/>
                  <a:pt x="362488" y="194319"/>
                  <a:pt x="383702" y="189714"/>
                </a:cubicBezTo>
                <a:cubicBezTo>
                  <a:pt x="369867" y="125248"/>
                  <a:pt x="343118" y="79201"/>
                  <a:pt x="315447" y="61703"/>
                </a:cubicBezTo>
                <a:close/>
                <a:moveTo>
                  <a:pt x="262873" y="61703"/>
                </a:moveTo>
                <a:cubicBezTo>
                  <a:pt x="234280" y="79201"/>
                  <a:pt x="208454" y="125248"/>
                  <a:pt x="194618" y="189714"/>
                </a:cubicBezTo>
                <a:cubicBezTo>
                  <a:pt x="215832" y="194319"/>
                  <a:pt x="238891" y="198003"/>
                  <a:pt x="262873" y="198924"/>
                </a:cubicBezTo>
                <a:close/>
                <a:moveTo>
                  <a:pt x="288699" y="0"/>
                </a:moveTo>
                <a:cubicBezTo>
                  <a:pt x="448267" y="0"/>
                  <a:pt x="578320" y="129853"/>
                  <a:pt x="578320" y="288255"/>
                </a:cubicBezTo>
                <a:cubicBezTo>
                  <a:pt x="578320" y="447579"/>
                  <a:pt x="448267" y="577432"/>
                  <a:pt x="288699" y="577432"/>
                </a:cubicBezTo>
                <a:cubicBezTo>
                  <a:pt x="262873" y="577432"/>
                  <a:pt x="237969" y="573748"/>
                  <a:pt x="213065" y="567302"/>
                </a:cubicBezTo>
                <a:cubicBezTo>
                  <a:pt x="242581" y="555330"/>
                  <a:pt x="269329" y="539674"/>
                  <a:pt x="289621" y="526780"/>
                </a:cubicBezTo>
                <a:lnTo>
                  <a:pt x="291466" y="527701"/>
                </a:lnTo>
                <a:cubicBezTo>
                  <a:pt x="300690" y="537832"/>
                  <a:pt x="314525" y="543357"/>
                  <a:pt x="328360" y="543357"/>
                </a:cubicBezTo>
                <a:cubicBezTo>
                  <a:pt x="333895" y="543357"/>
                  <a:pt x="339429" y="542436"/>
                  <a:pt x="344963" y="540594"/>
                </a:cubicBezTo>
                <a:cubicBezTo>
                  <a:pt x="363410" y="535069"/>
                  <a:pt x="377246" y="518492"/>
                  <a:pt x="380013" y="499152"/>
                </a:cubicBezTo>
                <a:lnTo>
                  <a:pt x="407683" y="332461"/>
                </a:lnTo>
                <a:cubicBezTo>
                  <a:pt x="409528" y="316805"/>
                  <a:pt x="404916" y="300228"/>
                  <a:pt x="393848" y="288255"/>
                </a:cubicBezTo>
                <a:cubicBezTo>
                  <a:pt x="393848" y="272599"/>
                  <a:pt x="392926" y="256943"/>
                  <a:pt x="392003" y="241287"/>
                </a:cubicBezTo>
                <a:cubicBezTo>
                  <a:pt x="367100" y="246813"/>
                  <a:pt x="342196" y="250497"/>
                  <a:pt x="315447" y="251418"/>
                </a:cubicBezTo>
                <a:lnTo>
                  <a:pt x="315447" y="277204"/>
                </a:lnTo>
                <a:lnTo>
                  <a:pt x="262873" y="286413"/>
                </a:lnTo>
                <a:lnTo>
                  <a:pt x="262873" y="251418"/>
                </a:lnTo>
                <a:cubicBezTo>
                  <a:pt x="236124" y="250497"/>
                  <a:pt x="210298" y="246813"/>
                  <a:pt x="186317" y="241287"/>
                </a:cubicBezTo>
                <a:cubicBezTo>
                  <a:pt x="184472" y="256943"/>
                  <a:pt x="183550" y="272599"/>
                  <a:pt x="183550" y="288255"/>
                </a:cubicBezTo>
                <a:cubicBezTo>
                  <a:pt x="183550" y="291939"/>
                  <a:pt x="184472" y="295623"/>
                  <a:pt x="184472" y="298386"/>
                </a:cubicBezTo>
                <a:lnTo>
                  <a:pt x="179860" y="299307"/>
                </a:lnTo>
                <a:cubicBezTo>
                  <a:pt x="160491" y="302991"/>
                  <a:pt x="144811" y="315884"/>
                  <a:pt x="138354" y="335224"/>
                </a:cubicBezTo>
                <a:cubicBezTo>
                  <a:pt x="132820" y="353643"/>
                  <a:pt x="137432" y="373904"/>
                  <a:pt x="151267" y="387718"/>
                </a:cubicBezTo>
                <a:cubicBezTo>
                  <a:pt x="144811" y="395085"/>
                  <a:pt x="138354" y="402453"/>
                  <a:pt x="132820" y="407979"/>
                </a:cubicBezTo>
                <a:cubicBezTo>
                  <a:pt x="119907" y="414425"/>
                  <a:pt x="108839" y="420872"/>
                  <a:pt x="98693" y="428239"/>
                </a:cubicBezTo>
                <a:cubicBezTo>
                  <a:pt x="100537" y="430081"/>
                  <a:pt x="102382" y="432844"/>
                  <a:pt x="104227" y="435607"/>
                </a:cubicBezTo>
                <a:cubicBezTo>
                  <a:pt x="83935" y="452184"/>
                  <a:pt x="68255" y="461393"/>
                  <a:pt x="59953" y="461393"/>
                </a:cubicBezTo>
                <a:cubicBezTo>
                  <a:pt x="59031" y="461393"/>
                  <a:pt x="58109" y="461393"/>
                  <a:pt x="57186" y="460472"/>
                </a:cubicBezTo>
                <a:cubicBezTo>
                  <a:pt x="21214" y="412583"/>
                  <a:pt x="0" y="352722"/>
                  <a:pt x="0" y="288255"/>
                </a:cubicBezTo>
                <a:cubicBezTo>
                  <a:pt x="0" y="129853"/>
                  <a:pt x="130053" y="0"/>
                  <a:pt x="288699" y="0"/>
                </a:cubicBezTo>
                <a:close/>
              </a:path>
            </a:pathLst>
          </a:custGeom>
          <a:solidFill>
            <a:schemeClr val="accent2">
              <a:alpha val="8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en-US" sz="2400" b="1" dirty="0"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99509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尽量减少外出活动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6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043AB2E2-323A-4E84-B9C1-F2ED1E853B7E}"/>
              </a:ext>
            </a:extLst>
          </p:cNvPr>
          <p:cNvSpPr txBox="1"/>
          <p:nvPr/>
        </p:nvSpPr>
        <p:spPr>
          <a:xfrm>
            <a:off x="3901379" y="4200944"/>
            <a:ext cx="1893026" cy="1267668"/>
          </a:xfrm>
          <a:prstGeom prst="rect">
            <a:avLst/>
          </a:prstGeom>
          <a:noFill/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zh-CN" sz="1100">
                <a:cs typeface="+mn-ea"/>
                <a:sym typeface="+mn-lt"/>
              </a:rPr>
              <a:t>Copy pas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te </a:t>
            </a:r>
            <a:r>
              <a:rPr lang="en-US" altLang="zh-CN" sz="1100" dirty="0">
                <a:cs typeface="+mn-ea"/>
                <a:sym typeface="+mn-lt"/>
              </a:rPr>
              <a:t>fonts. Choose the only option to retain text.</a:t>
            </a:r>
          </a:p>
          <a:p>
            <a:pPr algn="ctr">
              <a:lnSpc>
                <a:spcPct val="130000"/>
              </a:lnSpc>
            </a:pPr>
            <a:endParaRPr lang="en-US" altLang="zh-CN" sz="1100" dirty="0">
              <a:cs typeface="+mn-ea"/>
              <a:sym typeface="+mn-lt"/>
            </a:endParaRPr>
          </a:p>
          <a:p>
            <a:pPr algn="ctr">
              <a:lnSpc>
                <a:spcPct val="130000"/>
              </a:lnSpc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043AB2E2-323A-4E84-B9C1-F2ED1E853B7E}"/>
              </a:ext>
            </a:extLst>
          </p:cNvPr>
          <p:cNvSpPr txBox="1"/>
          <p:nvPr/>
        </p:nvSpPr>
        <p:spPr>
          <a:xfrm>
            <a:off x="8806268" y="4200944"/>
            <a:ext cx="1893026" cy="1267668"/>
          </a:xfrm>
          <a:prstGeom prst="rect">
            <a:avLst/>
          </a:prstGeom>
          <a:noFill/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zh-CN" sz="1100">
                <a:cs typeface="+mn-ea"/>
                <a:sym typeface="+mn-lt"/>
              </a:rPr>
              <a:t>Copy pas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te </a:t>
            </a:r>
            <a:r>
              <a:rPr lang="en-US" altLang="zh-CN" sz="1100" dirty="0">
                <a:cs typeface="+mn-ea"/>
                <a:sym typeface="+mn-lt"/>
              </a:rPr>
              <a:t>fonts. Choose the only option to retain text.</a:t>
            </a:r>
          </a:p>
          <a:p>
            <a:pPr algn="ctr">
              <a:lnSpc>
                <a:spcPct val="130000"/>
              </a:lnSpc>
            </a:pPr>
            <a:endParaRPr lang="en-US" altLang="zh-CN" sz="1100" dirty="0">
              <a:cs typeface="+mn-ea"/>
              <a:sym typeface="+mn-lt"/>
            </a:endParaRPr>
          </a:p>
          <a:p>
            <a:pPr algn="ctr">
              <a:lnSpc>
                <a:spcPct val="130000"/>
              </a:lnSpc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043AB2E2-323A-4E84-B9C1-F2ED1E853B7E}"/>
              </a:ext>
            </a:extLst>
          </p:cNvPr>
          <p:cNvSpPr txBox="1"/>
          <p:nvPr/>
        </p:nvSpPr>
        <p:spPr>
          <a:xfrm>
            <a:off x="1492705" y="3551657"/>
            <a:ext cx="1893026" cy="1267668"/>
          </a:xfrm>
          <a:prstGeom prst="rect">
            <a:avLst/>
          </a:prstGeom>
          <a:noFill/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zh-CN" sz="1100">
                <a:cs typeface="+mn-ea"/>
                <a:sym typeface="+mn-lt"/>
              </a:rPr>
              <a:t>Copy pas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te </a:t>
            </a:r>
            <a:r>
              <a:rPr lang="en-US" altLang="zh-CN" sz="1100" dirty="0">
                <a:cs typeface="+mn-ea"/>
                <a:sym typeface="+mn-lt"/>
              </a:rPr>
              <a:t>fonts. Choose the only option to retain text.</a:t>
            </a:r>
          </a:p>
          <a:p>
            <a:pPr algn="ctr">
              <a:lnSpc>
                <a:spcPct val="130000"/>
              </a:lnSpc>
            </a:pPr>
            <a:endParaRPr lang="en-US" altLang="zh-CN" sz="1100" dirty="0">
              <a:cs typeface="+mn-ea"/>
              <a:sym typeface="+mn-lt"/>
            </a:endParaRPr>
          </a:p>
          <a:p>
            <a:pPr algn="ctr">
              <a:lnSpc>
                <a:spcPct val="130000"/>
              </a:lnSpc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3AB2E2-323A-4E84-B9C1-F2ED1E853B7E}"/>
              </a:ext>
            </a:extLst>
          </p:cNvPr>
          <p:cNvSpPr txBox="1"/>
          <p:nvPr/>
        </p:nvSpPr>
        <p:spPr>
          <a:xfrm>
            <a:off x="1492705" y="4850232"/>
            <a:ext cx="1893026" cy="1267668"/>
          </a:xfrm>
          <a:prstGeom prst="rect">
            <a:avLst/>
          </a:prstGeom>
          <a:noFill/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zh-CN" sz="1100">
                <a:cs typeface="+mn-ea"/>
                <a:sym typeface="+mn-lt"/>
              </a:rPr>
              <a:t>Copy pas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te </a:t>
            </a:r>
            <a:r>
              <a:rPr lang="en-US" altLang="zh-CN" sz="1100" dirty="0">
                <a:cs typeface="+mn-ea"/>
                <a:sym typeface="+mn-lt"/>
              </a:rPr>
              <a:t>fonts. Choose the only option to retain text.</a:t>
            </a:r>
          </a:p>
          <a:p>
            <a:pPr algn="ctr">
              <a:lnSpc>
                <a:spcPct val="130000"/>
              </a:lnSpc>
            </a:pPr>
            <a:endParaRPr lang="en-US" altLang="zh-CN" sz="1100" dirty="0">
              <a:cs typeface="+mn-ea"/>
              <a:sym typeface="+mn-lt"/>
            </a:endParaRPr>
          </a:p>
          <a:p>
            <a:pPr algn="ctr">
              <a:lnSpc>
                <a:spcPct val="130000"/>
              </a:lnSpc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10" name="任意多边形: 形状 9"/>
          <p:cNvSpPr/>
          <p:nvPr/>
        </p:nvSpPr>
        <p:spPr bwMode="auto">
          <a:xfrm>
            <a:off x="1856651" y="1519432"/>
            <a:ext cx="8504222" cy="2364888"/>
          </a:xfrm>
          <a:custGeom>
            <a:avLst/>
            <a:gdLst>
              <a:gd name="T0" fmla="+- 0 10799 137"/>
              <a:gd name="T1" fmla="*/ T0 w 21325"/>
              <a:gd name="T2" fmla="*/ 10297 h 20595"/>
              <a:gd name="T3" fmla="+- 0 10799 137"/>
              <a:gd name="T4" fmla="*/ T3 w 21325"/>
              <a:gd name="T5" fmla="*/ 10297 h 20595"/>
              <a:gd name="T6" fmla="+- 0 10799 137"/>
              <a:gd name="T7" fmla="*/ T6 w 21325"/>
              <a:gd name="T8" fmla="*/ 10297 h 20595"/>
              <a:gd name="T9" fmla="+- 0 10799 137"/>
              <a:gd name="T10" fmla="*/ T9 w 21325"/>
              <a:gd name="T11" fmla="*/ 10297 h 20595"/>
            </a:gdLst>
            <a:ahLst/>
            <a:cxnLst>
              <a:cxn ang="0">
                <a:pos x="T1" y="T2"/>
              </a:cxn>
              <a:cxn ang="0">
                <a:pos x="T4" y="T5"/>
              </a:cxn>
              <a:cxn ang="0">
                <a:pos x="T7" y="T8"/>
              </a:cxn>
              <a:cxn ang="0">
                <a:pos x="T10" y="T11"/>
              </a:cxn>
            </a:cxnLst>
            <a:rect l="0" t="0" r="r" b="b"/>
            <a:pathLst>
              <a:path w="21600" h="21599">
                <a:moveTo>
                  <a:pt x="7597" y="0"/>
                </a:moveTo>
                <a:cubicBezTo>
                  <a:pt x="6838" y="0"/>
                  <a:pt x="6080" y="1004"/>
                  <a:pt x="5501" y="3015"/>
                </a:cubicBezTo>
                <a:cubicBezTo>
                  <a:pt x="5353" y="3528"/>
                  <a:pt x="5225" y="4082"/>
                  <a:pt x="5115" y="4666"/>
                </a:cubicBezTo>
                <a:cubicBezTo>
                  <a:pt x="4939" y="5522"/>
                  <a:pt x="4760" y="6511"/>
                  <a:pt x="4570" y="7355"/>
                </a:cubicBezTo>
                <a:cubicBezTo>
                  <a:pt x="4428" y="7986"/>
                  <a:pt x="4228" y="8422"/>
                  <a:pt x="4005" y="8636"/>
                </a:cubicBezTo>
                <a:cubicBezTo>
                  <a:pt x="3680" y="8949"/>
                  <a:pt x="3374" y="8788"/>
                  <a:pt x="3094" y="8196"/>
                </a:cubicBezTo>
                <a:cubicBezTo>
                  <a:pt x="2854" y="7690"/>
                  <a:pt x="2656" y="6882"/>
                  <a:pt x="2410" y="6452"/>
                </a:cubicBezTo>
                <a:cubicBezTo>
                  <a:pt x="1858" y="4949"/>
                  <a:pt x="1057" y="5076"/>
                  <a:pt x="549" y="6842"/>
                </a:cubicBezTo>
                <a:cubicBezTo>
                  <a:pt x="0" y="8749"/>
                  <a:pt x="0" y="11844"/>
                  <a:pt x="549" y="13751"/>
                </a:cubicBezTo>
                <a:cubicBezTo>
                  <a:pt x="1098" y="15659"/>
                  <a:pt x="1989" y="15659"/>
                  <a:pt x="2538" y="13751"/>
                </a:cubicBezTo>
                <a:cubicBezTo>
                  <a:pt x="2561" y="13672"/>
                  <a:pt x="2581" y="13587"/>
                  <a:pt x="2602" y="13503"/>
                </a:cubicBezTo>
                <a:cubicBezTo>
                  <a:pt x="2649" y="13392"/>
                  <a:pt x="2696" y="13278"/>
                  <a:pt x="2742" y="13164"/>
                </a:cubicBezTo>
                <a:cubicBezTo>
                  <a:pt x="3014" y="12500"/>
                  <a:pt x="3306" y="11842"/>
                  <a:pt x="3645" y="11816"/>
                </a:cubicBezTo>
                <a:cubicBezTo>
                  <a:pt x="4182" y="11775"/>
                  <a:pt x="4587" y="13254"/>
                  <a:pt x="4927" y="14750"/>
                </a:cubicBezTo>
                <a:cubicBezTo>
                  <a:pt x="5068" y="15771"/>
                  <a:pt x="5257" y="16732"/>
                  <a:pt x="5501" y="17578"/>
                </a:cubicBezTo>
                <a:cubicBezTo>
                  <a:pt x="6658" y="21599"/>
                  <a:pt x="8536" y="21599"/>
                  <a:pt x="9694" y="17578"/>
                </a:cubicBezTo>
                <a:cubicBezTo>
                  <a:pt x="9738" y="17424"/>
                  <a:pt x="9780" y="17265"/>
                  <a:pt x="9821" y="17104"/>
                </a:cubicBezTo>
                <a:cubicBezTo>
                  <a:pt x="10363" y="15788"/>
                  <a:pt x="10746" y="13433"/>
                  <a:pt x="11404" y="12762"/>
                </a:cubicBezTo>
                <a:cubicBezTo>
                  <a:pt x="12070" y="12084"/>
                  <a:pt x="12714" y="13243"/>
                  <a:pt x="13256" y="14575"/>
                </a:cubicBezTo>
                <a:cubicBezTo>
                  <a:pt x="13456" y="15068"/>
                  <a:pt x="13651" y="15594"/>
                  <a:pt x="13861" y="16048"/>
                </a:cubicBezTo>
                <a:cubicBezTo>
                  <a:pt x="14532" y="17738"/>
                  <a:pt x="15431" y="17839"/>
                  <a:pt x="16130" y="16344"/>
                </a:cubicBezTo>
                <a:lnTo>
                  <a:pt x="16130" y="16388"/>
                </a:lnTo>
                <a:cubicBezTo>
                  <a:pt x="16145" y="16345"/>
                  <a:pt x="16159" y="16299"/>
                  <a:pt x="16173" y="16255"/>
                </a:cubicBezTo>
                <a:cubicBezTo>
                  <a:pt x="16291" y="15989"/>
                  <a:pt x="16402" y="15679"/>
                  <a:pt x="16505" y="15321"/>
                </a:cubicBezTo>
                <a:cubicBezTo>
                  <a:pt x="16568" y="15103"/>
                  <a:pt x="16624" y="14870"/>
                  <a:pt x="16677" y="14632"/>
                </a:cubicBezTo>
                <a:cubicBezTo>
                  <a:pt x="16712" y="14515"/>
                  <a:pt x="16748" y="14401"/>
                  <a:pt x="16782" y="14282"/>
                </a:cubicBezTo>
                <a:cubicBezTo>
                  <a:pt x="17121" y="13107"/>
                  <a:pt x="17480" y="11817"/>
                  <a:pt x="17954" y="11816"/>
                </a:cubicBezTo>
                <a:cubicBezTo>
                  <a:pt x="18294" y="11815"/>
                  <a:pt x="18586" y="12494"/>
                  <a:pt x="18857" y="13164"/>
                </a:cubicBezTo>
                <a:cubicBezTo>
                  <a:pt x="18904" y="13280"/>
                  <a:pt x="18950" y="13395"/>
                  <a:pt x="18998" y="13508"/>
                </a:cubicBezTo>
                <a:cubicBezTo>
                  <a:pt x="19018" y="13590"/>
                  <a:pt x="19039" y="13673"/>
                  <a:pt x="19061" y="13751"/>
                </a:cubicBezTo>
                <a:cubicBezTo>
                  <a:pt x="19610" y="15659"/>
                  <a:pt x="20501" y="15659"/>
                  <a:pt x="21050" y="13751"/>
                </a:cubicBezTo>
                <a:cubicBezTo>
                  <a:pt x="21600" y="11844"/>
                  <a:pt x="21600" y="8749"/>
                  <a:pt x="21050" y="6842"/>
                </a:cubicBezTo>
                <a:cubicBezTo>
                  <a:pt x="20542" y="5076"/>
                  <a:pt x="19741" y="4949"/>
                  <a:pt x="19189" y="6452"/>
                </a:cubicBezTo>
                <a:cubicBezTo>
                  <a:pt x="18942" y="6879"/>
                  <a:pt x="18743" y="7682"/>
                  <a:pt x="18505" y="8196"/>
                </a:cubicBezTo>
                <a:cubicBezTo>
                  <a:pt x="18225" y="8801"/>
                  <a:pt x="17918" y="8993"/>
                  <a:pt x="17594" y="8636"/>
                </a:cubicBezTo>
                <a:cubicBezTo>
                  <a:pt x="17380" y="8400"/>
                  <a:pt x="17191" y="7922"/>
                  <a:pt x="17029" y="7355"/>
                </a:cubicBezTo>
                <a:cubicBezTo>
                  <a:pt x="16943" y="7055"/>
                  <a:pt x="16864" y="6740"/>
                  <a:pt x="16779" y="6456"/>
                </a:cubicBezTo>
                <a:cubicBezTo>
                  <a:pt x="16701" y="6037"/>
                  <a:pt x="16611" y="5639"/>
                  <a:pt x="16505" y="5272"/>
                </a:cubicBezTo>
                <a:cubicBezTo>
                  <a:pt x="15756" y="2669"/>
                  <a:pt x="14569" y="2508"/>
                  <a:pt x="13765" y="4789"/>
                </a:cubicBezTo>
                <a:cubicBezTo>
                  <a:pt x="13683" y="4942"/>
                  <a:pt x="13602" y="5101"/>
                  <a:pt x="13523" y="5272"/>
                </a:cubicBezTo>
                <a:cubicBezTo>
                  <a:pt x="12989" y="6421"/>
                  <a:pt x="12485" y="8048"/>
                  <a:pt x="11822" y="8121"/>
                </a:cubicBezTo>
                <a:cubicBezTo>
                  <a:pt x="11248" y="8184"/>
                  <a:pt x="10789" y="7089"/>
                  <a:pt x="10400" y="5658"/>
                </a:cubicBezTo>
                <a:cubicBezTo>
                  <a:pt x="10217" y="4985"/>
                  <a:pt x="10050" y="4244"/>
                  <a:pt x="9859" y="3643"/>
                </a:cubicBezTo>
                <a:cubicBezTo>
                  <a:pt x="9807" y="3428"/>
                  <a:pt x="9752" y="3217"/>
                  <a:pt x="9694" y="3015"/>
                </a:cubicBezTo>
                <a:cubicBezTo>
                  <a:pt x="9115" y="1004"/>
                  <a:pt x="8356" y="0"/>
                  <a:pt x="7597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indent="0" algn="l">
              <a:lnSpc>
                <a:spcPct val="100000"/>
              </a:lnSpc>
              <a:buSzTx/>
              <a:buFontTx/>
              <a:buNone/>
            </a:pPr>
            <a:endParaRPr lang="id-ID">
              <a:cs typeface="+mn-ea"/>
              <a:sym typeface="+mn-lt"/>
            </a:endParaRPr>
          </a:p>
        </p:txBody>
      </p:sp>
      <p:sp>
        <p:nvSpPr>
          <p:cNvPr id="11" name="任意多边形: 形状 10"/>
          <p:cNvSpPr/>
          <p:nvPr/>
        </p:nvSpPr>
        <p:spPr bwMode="auto">
          <a:xfrm>
            <a:off x="3864198" y="1767040"/>
            <a:ext cx="1967388" cy="1815354"/>
          </a:xfrm>
          <a:custGeom>
            <a:avLst/>
            <a:gdLst>
              <a:gd name="T0" fmla="+- 0 10799 137"/>
              <a:gd name="T1" fmla="*/ T0 w 21325"/>
              <a:gd name="T2" fmla="*/ 10297 h 20595"/>
              <a:gd name="T3" fmla="+- 0 10799 137"/>
              <a:gd name="T4" fmla="*/ T3 w 21325"/>
              <a:gd name="T5" fmla="*/ 10297 h 20595"/>
              <a:gd name="T6" fmla="+- 0 10799 137"/>
              <a:gd name="T7" fmla="*/ T6 w 21325"/>
              <a:gd name="T8" fmla="*/ 10297 h 20595"/>
              <a:gd name="T9" fmla="+- 0 10799 137"/>
              <a:gd name="T10" fmla="*/ T9 w 21325"/>
              <a:gd name="T11" fmla="*/ 10297 h 20595"/>
            </a:gdLst>
            <a:ahLst/>
            <a:cxnLst>
              <a:cxn ang="0">
                <a:pos x="T1" y="T2"/>
              </a:cxn>
              <a:cxn ang="0">
                <a:pos x="T4" y="T5"/>
              </a:cxn>
              <a:cxn ang="0">
                <a:pos x="T7" y="T8"/>
              </a:cxn>
              <a:cxn ang="0">
                <a:pos x="T10" y="T11"/>
              </a:cxn>
            </a:cxnLst>
            <a:rect l="0" t="0" r="r" b="b"/>
            <a:pathLst>
              <a:path w="4997" h="16580">
                <a:moveTo>
                  <a:pt x="2498" y="0"/>
                </a:moveTo>
                <a:cubicBezTo>
                  <a:pt x="3081" y="0"/>
                  <a:pt x="3663" y="770"/>
                  <a:pt x="4108" y="2314"/>
                </a:cubicBezTo>
                <a:cubicBezTo>
                  <a:pt x="4997" y="5400"/>
                  <a:pt x="4997" y="10406"/>
                  <a:pt x="4108" y="13493"/>
                </a:cubicBezTo>
                <a:cubicBezTo>
                  <a:pt x="3219" y="16580"/>
                  <a:pt x="1778" y="16580"/>
                  <a:pt x="889" y="13493"/>
                </a:cubicBezTo>
                <a:cubicBezTo>
                  <a:pt x="0" y="10406"/>
                  <a:pt x="0" y="5400"/>
                  <a:pt x="889" y="2314"/>
                </a:cubicBezTo>
                <a:cubicBezTo>
                  <a:pt x="1333" y="770"/>
                  <a:pt x="1916" y="0"/>
                  <a:pt x="2498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indent="0" algn="l">
              <a:lnSpc>
                <a:spcPct val="100000"/>
              </a:lnSpc>
              <a:buSzTx/>
              <a:buFontTx/>
              <a:buNone/>
            </a:pPr>
            <a:endParaRPr lang="id-ID">
              <a:cs typeface="+mn-ea"/>
              <a:sym typeface="+mn-lt"/>
            </a:endParaRPr>
          </a:p>
        </p:txBody>
      </p:sp>
      <p:sp>
        <p:nvSpPr>
          <p:cNvPr id="12" name="任意多边形: 形状 11"/>
          <p:cNvSpPr/>
          <p:nvPr/>
        </p:nvSpPr>
        <p:spPr bwMode="auto">
          <a:xfrm>
            <a:off x="7135175" y="2074654"/>
            <a:ext cx="1300437" cy="1200127"/>
          </a:xfrm>
          <a:custGeom>
            <a:avLst/>
            <a:gdLst>
              <a:gd name="T0" fmla="+- 0 10799 137"/>
              <a:gd name="T1" fmla="*/ T0 w 21325"/>
              <a:gd name="T2" fmla="*/ 10297 h 20595"/>
              <a:gd name="T3" fmla="+- 0 10799 137"/>
              <a:gd name="T4" fmla="*/ T3 w 21325"/>
              <a:gd name="T5" fmla="*/ 10297 h 20595"/>
              <a:gd name="T6" fmla="+- 0 10799 137"/>
              <a:gd name="T7" fmla="*/ T6 w 21325"/>
              <a:gd name="T8" fmla="*/ 10297 h 20595"/>
              <a:gd name="T9" fmla="+- 0 10799 137"/>
              <a:gd name="T10" fmla="*/ T9 w 21325"/>
              <a:gd name="T11" fmla="*/ 10297 h 20595"/>
            </a:gdLst>
            <a:ahLst/>
            <a:cxnLst>
              <a:cxn ang="0">
                <a:pos x="T1" y="T2"/>
              </a:cxn>
              <a:cxn ang="0">
                <a:pos x="T4" y="T5"/>
              </a:cxn>
              <a:cxn ang="0">
                <a:pos x="T7" y="T8"/>
              </a:cxn>
              <a:cxn ang="0">
                <a:pos x="T10" y="T11"/>
              </a:cxn>
            </a:cxnLst>
            <a:rect l="0" t="0" r="r" b="b"/>
            <a:pathLst>
              <a:path w="3303" h="10961">
                <a:moveTo>
                  <a:pt x="1651" y="0"/>
                </a:moveTo>
                <a:cubicBezTo>
                  <a:pt x="2037" y="0"/>
                  <a:pt x="2422" y="510"/>
                  <a:pt x="2715" y="1531"/>
                </a:cubicBezTo>
                <a:cubicBezTo>
                  <a:pt x="3303" y="3571"/>
                  <a:pt x="3303" y="6880"/>
                  <a:pt x="2715" y="8921"/>
                </a:cubicBezTo>
                <a:cubicBezTo>
                  <a:pt x="2128" y="10961"/>
                  <a:pt x="1175" y="10961"/>
                  <a:pt x="587" y="8921"/>
                </a:cubicBezTo>
                <a:cubicBezTo>
                  <a:pt x="0" y="6880"/>
                  <a:pt x="0" y="3571"/>
                  <a:pt x="587" y="1531"/>
                </a:cubicBezTo>
                <a:cubicBezTo>
                  <a:pt x="881" y="510"/>
                  <a:pt x="1266" y="0"/>
                  <a:pt x="1651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indent="0" algn="l">
              <a:lnSpc>
                <a:spcPct val="100000"/>
              </a:lnSpc>
              <a:buSzTx/>
              <a:buFontTx/>
              <a:buNone/>
            </a:pPr>
            <a:endParaRPr lang="id-ID">
              <a:cs typeface="+mn-ea"/>
              <a:sym typeface="+mn-lt"/>
            </a:endParaRPr>
          </a:p>
        </p:txBody>
      </p:sp>
      <p:sp>
        <p:nvSpPr>
          <p:cNvPr id="13" name="任意多边形: 形状 12"/>
          <p:cNvSpPr/>
          <p:nvPr/>
        </p:nvSpPr>
        <p:spPr bwMode="auto">
          <a:xfrm>
            <a:off x="2028101" y="2268945"/>
            <a:ext cx="879163" cy="811545"/>
          </a:xfrm>
          <a:custGeom>
            <a:avLst/>
            <a:gdLst>
              <a:gd name="T0" fmla="+- 0 10799 137"/>
              <a:gd name="T1" fmla="*/ T0 w 21325"/>
              <a:gd name="T2" fmla="*/ 10297 h 20595"/>
              <a:gd name="T3" fmla="+- 0 10799 137"/>
              <a:gd name="T4" fmla="*/ T3 w 21325"/>
              <a:gd name="T5" fmla="*/ 10297 h 20595"/>
              <a:gd name="T6" fmla="+- 0 10799 137"/>
              <a:gd name="T7" fmla="*/ T6 w 21325"/>
              <a:gd name="T8" fmla="*/ 10297 h 20595"/>
              <a:gd name="T9" fmla="+- 0 10799 137"/>
              <a:gd name="T10" fmla="*/ T9 w 21325"/>
              <a:gd name="T11" fmla="*/ 10297 h 20595"/>
            </a:gdLst>
            <a:ahLst/>
            <a:cxnLst>
              <a:cxn ang="0">
                <a:pos x="T1" y="T2"/>
              </a:cxn>
              <a:cxn ang="0">
                <a:pos x="T4" y="T5"/>
              </a:cxn>
              <a:cxn ang="0">
                <a:pos x="T7" y="T8"/>
              </a:cxn>
              <a:cxn ang="0">
                <a:pos x="T10" y="T11"/>
              </a:cxn>
            </a:cxnLst>
            <a:rect l="0" t="0" r="r" b="b"/>
            <a:pathLst>
              <a:path w="2233" h="7412">
                <a:moveTo>
                  <a:pt x="1117" y="0"/>
                </a:moveTo>
                <a:cubicBezTo>
                  <a:pt x="1377" y="0"/>
                  <a:pt x="1637" y="344"/>
                  <a:pt x="1836" y="1034"/>
                </a:cubicBezTo>
                <a:cubicBezTo>
                  <a:pt x="2233" y="2414"/>
                  <a:pt x="2233" y="4652"/>
                  <a:pt x="1836" y="6032"/>
                </a:cubicBezTo>
                <a:cubicBezTo>
                  <a:pt x="1439" y="7412"/>
                  <a:pt x="794" y="7412"/>
                  <a:pt x="397" y="6032"/>
                </a:cubicBezTo>
                <a:cubicBezTo>
                  <a:pt x="0" y="4652"/>
                  <a:pt x="0" y="2414"/>
                  <a:pt x="397" y="1034"/>
                </a:cubicBezTo>
                <a:cubicBezTo>
                  <a:pt x="596" y="344"/>
                  <a:pt x="856" y="0"/>
                  <a:pt x="1117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indent="0" algn="l">
              <a:lnSpc>
                <a:spcPct val="100000"/>
              </a:lnSpc>
              <a:buSzTx/>
              <a:buFontTx/>
              <a:buNone/>
            </a:pPr>
            <a:endParaRPr lang="id-ID">
              <a:cs typeface="+mn-ea"/>
              <a:sym typeface="+mn-lt"/>
            </a:endParaRPr>
          </a:p>
        </p:txBody>
      </p:sp>
      <p:sp>
        <p:nvSpPr>
          <p:cNvPr id="14" name="任意多边形: 形状 13"/>
          <p:cNvSpPr/>
          <p:nvPr/>
        </p:nvSpPr>
        <p:spPr bwMode="auto">
          <a:xfrm>
            <a:off x="9313200" y="2268945"/>
            <a:ext cx="879163" cy="811545"/>
          </a:xfrm>
          <a:custGeom>
            <a:avLst/>
            <a:gdLst>
              <a:gd name="T0" fmla="+- 0 10799 137"/>
              <a:gd name="T1" fmla="*/ T0 w 21325"/>
              <a:gd name="T2" fmla="*/ 10297 h 20595"/>
              <a:gd name="T3" fmla="+- 0 10799 137"/>
              <a:gd name="T4" fmla="*/ T3 w 21325"/>
              <a:gd name="T5" fmla="*/ 10297 h 20595"/>
              <a:gd name="T6" fmla="+- 0 10799 137"/>
              <a:gd name="T7" fmla="*/ T6 w 21325"/>
              <a:gd name="T8" fmla="*/ 10297 h 20595"/>
              <a:gd name="T9" fmla="+- 0 10799 137"/>
              <a:gd name="T10" fmla="*/ T9 w 21325"/>
              <a:gd name="T11" fmla="*/ 10297 h 20595"/>
            </a:gdLst>
            <a:ahLst/>
            <a:cxnLst>
              <a:cxn ang="0">
                <a:pos x="T1" y="T2"/>
              </a:cxn>
              <a:cxn ang="0">
                <a:pos x="T4" y="T5"/>
              </a:cxn>
              <a:cxn ang="0">
                <a:pos x="T7" y="T8"/>
              </a:cxn>
              <a:cxn ang="0">
                <a:pos x="T10" y="T11"/>
              </a:cxn>
            </a:cxnLst>
            <a:rect l="0" t="0" r="r" b="b"/>
            <a:pathLst>
              <a:path w="2233" h="7412">
                <a:moveTo>
                  <a:pt x="1116" y="0"/>
                </a:moveTo>
                <a:cubicBezTo>
                  <a:pt x="1377" y="0"/>
                  <a:pt x="1637" y="344"/>
                  <a:pt x="1836" y="1034"/>
                </a:cubicBezTo>
                <a:cubicBezTo>
                  <a:pt x="2233" y="2414"/>
                  <a:pt x="2233" y="4652"/>
                  <a:pt x="1836" y="6032"/>
                </a:cubicBezTo>
                <a:cubicBezTo>
                  <a:pt x="1439" y="7412"/>
                  <a:pt x="794" y="7412"/>
                  <a:pt x="397" y="6032"/>
                </a:cubicBezTo>
                <a:cubicBezTo>
                  <a:pt x="0" y="4652"/>
                  <a:pt x="0" y="2414"/>
                  <a:pt x="397" y="1034"/>
                </a:cubicBezTo>
                <a:cubicBezTo>
                  <a:pt x="596" y="344"/>
                  <a:pt x="856" y="0"/>
                  <a:pt x="1116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indent="0" algn="l">
              <a:lnSpc>
                <a:spcPct val="100000"/>
              </a:lnSpc>
              <a:buSzTx/>
              <a:buFontTx/>
              <a:buNone/>
            </a:pPr>
            <a:endParaRPr lang="id-ID">
              <a:cs typeface="+mn-ea"/>
              <a:sym typeface="+mn-lt"/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DC6E2E27-5DA5-40CB-93C5-96DE140CE15C}"/>
              </a:ext>
            </a:extLst>
          </p:cNvPr>
          <p:cNvSpPr/>
          <p:nvPr/>
        </p:nvSpPr>
        <p:spPr>
          <a:xfrm>
            <a:off x="1492705" y="1766387"/>
            <a:ext cx="1893026" cy="412028"/>
          </a:xfrm>
          <a:prstGeom prst="rect">
            <a:avLst/>
          </a:prstGeom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1600" b="1" i="1" u="sng">
                <a:cs typeface="+mn-ea"/>
                <a:sym typeface="+mn-lt"/>
              </a:rPr>
              <a:t>01</a:t>
            </a:r>
            <a:r>
              <a:rPr lang="en-US" altLang="zh-CN" sz="100" b="1" i="1" u="sng">
                <a:cs typeface="+mn-ea"/>
                <a:sym typeface="+mn-lt"/>
              </a:rPr>
              <a:t> </a:t>
            </a:r>
            <a:r>
              <a:rPr lang="en-US" altLang="zh-CN" sz="1600" b="1" i="1" u="sng">
                <a:cs typeface="+mn-ea"/>
                <a:sym typeface="+mn-lt"/>
              </a:rPr>
              <a:t>.</a:t>
            </a:r>
            <a:r>
              <a:rPr lang="en-US" altLang="zh-CN" sz="1600" b="1" i="1" u="sng" dirty="0">
                <a:cs typeface="+mn-ea"/>
                <a:sym typeface="+mn-lt"/>
              </a:rPr>
              <a:t>Text here</a:t>
            </a:r>
            <a:endParaRPr lang="zh-CN" altLang="en-US" sz="1600" b="1" i="1" u="sng" dirty="0">
              <a:cs typeface="+mn-ea"/>
              <a:sym typeface="+mn-lt"/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DC6E2E27-5DA5-40CB-93C5-96DE140CE15C}"/>
              </a:ext>
            </a:extLst>
          </p:cNvPr>
          <p:cNvSpPr/>
          <p:nvPr/>
        </p:nvSpPr>
        <p:spPr>
          <a:xfrm>
            <a:off x="3901379" y="1178251"/>
            <a:ext cx="1893026" cy="412028"/>
          </a:xfrm>
          <a:prstGeom prst="rect">
            <a:avLst/>
          </a:prstGeom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1600" b="1" i="1" u="sng">
                <a:cs typeface="+mn-ea"/>
                <a:sym typeface="+mn-lt"/>
              </a:rPr>
              <a:t>02</a:t>
            </a:r>
            <a:r>
              <a:rPr lang="en-US" altLang="zh-CN" sz="100" b="1" i="1" u="sng">
                <a:cs typeface="+mn-ea"/>
                <a:sym typeface="+mn-lt"/>
              </a:rPr>
              <a:t> </a:t>
            </a:r>
            <a:r>
              <a:rPr lang="en-US" altLang="zh-CN" sz="1600" b="1" i="1" u="sng">
                <a:cs typeface="+mn-ea"/>
                <a:sym typeface="+mn-lt"/>
              </a:rPr>
              <a:t>.</a:t>
            </a:r>
            <a:r>
              <a:rPr lang="en-US" altLang="zh-CN" sz="1600" b="1" i="1" u="sng" dirty="0">
                <a:cs typeface="+mn-ea"/>
                <a:sym typeface="+mn-lt"/>
              </a:rPr>
              <a:t>Text here</a:t>
            </a:r>
            <a:endParaRPr lang="zh-CN" altLang="en-US" sz="1600" b="1" i="1" u="sng" dirty="0">
              <a:cs typeface="+mn-ea"/>
              <a:sym typeface="+mn-lt"/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DC6E2E27-5DA5-40CB-93C5-96DE140CE15C}"/>
              </a:ext>
            </a:extLst>
          </p:cNvPr>
          <p:cNvSpPr/>
          <p:nvPr/>
        </p:nvSpPr>
        <p:spPr>
          <a:xfrm>
            <a:off x="6838880" y="1526376"/>
            <a:ext cx="1893026" cy="412028"/>
          </a:xfrm>
          <a:prstGeom prst="rect">
            <a:avLst/>
          </a:prstGeom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1600" b="1" i="1" u="sng">
                <a:cs typeface="+mn-ea"/>
                <a:sym typeface="+mn-lt"/>
              </a:rPr>
              <a:t>03</a:t>
            </a:r>
            <a:r>
              <a:rPr lang="en-US" altLang="zh-CN" sz="100" b="1" i="1" u="sng">
                <a:cs typeface="+mn-ea"/>
                <a:sym typeface="+mn-lt"/>
              </a:rPr>
              <a:t> </a:t>
            </a:r>
            <a:r>
              <a:rPr lang="en-US" altLang="zh-CN" sz="1600" b="1" i="1" u="sng">
                <a:cs typeface="+mn-ea"/>
                <a:sym typeface="+mn-lt"/>
              </a:rPr>
              <a:t>.</a:t>
            </a:r>
            <a:r>
              <a:rPr lang="en-US" altLang="zh-CN" sz="1600" b="1" i="1" u="sng" dirty="0">
                <a:cs typeface="+mn-ea"/>
                <a:sym typeface="+mn-lt"/>
              </a:rPr>
              <a:t>Text here</a:t>
            </a:r>
            <a:endParaRPr lang="zh-CN" altLang="en-US" sz="1600" b="1" i="1" u="sng" dirty="0">
              <a:cs typeface="+mn-ea"/>
              <a:sym typeface="+mn-lt"/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C6E2E27-5DA5-40CB-93C5-96DE140CE15C}"/>
              </a:ext>
            </a:extLst>
          </p:cNvPr>
          <p:cNvSpPr/>
          <p:nvPr/>
        </p:nvSpPr>
        <p:spPr>
          <a:xfrm>
            <a:off x="8806268" y="1766387"/>
            <a:ext cx="1893026" cy="412028"/>
          </a:xfrm>
          <a:prstGeom prst="rect">
            <a:avLst/>
          </a:prstGeom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1600" b="1" i="1" u="sng">
                <a:cs typeface="+mn-ea"/>
                <a:sym typeface="+mn-lt"/>
              </a:rPr>
              <a:t>04</a:t>
            </a:r>
            <a:r>
              <a:rPr lang="en-US" altLang="zh-CN" sz="100" b="1" i="1" u="sng">
                <a:cs typeface="+mn-ea"/>
                <a:sym typeface="+mn-lt"/>
              </a:rPr>
              <a:t> </a:t>
            </a:r>
            <a:r>
              <a:rPr lang="en-US" altLang="zh-CN" sz="1600" b="1" i="1" u="sng">
                <a:cs typeface="+mn-ea"/>
                <a:sym typeface="+mn-lt"/>
              </a:rPr>
              <a:t>.</a:t>
            </a:r>
            <a:r>
              <a:rPr lang="en-US" altLang="zh-CN" sz="1600" b="1" i="1" u="sng" dirty="0">
                <a:cs typeface="+mn-ea"/>
                <a:sym typeface="+mn-lt"/>
              </a:rPr>
              <a:t>Text here</a:t>
            </a:r>
            <a:endParaRPr lang="zh-CN" altLang="en-US" sz="1600" b="1" i="1" u="sng" dirty="0">
              <a:cs typeface="+mn-ea"/>
              <a:sym typeface="+mn-lt"/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2292495" y="2520509"/>
            <a:ext cx="350374" cy="308416"/>
          </a:xfrm>
          <a:custGeom>
            <a:avLst/>
            <a:gdLst>
              <a:gd name="connsiteX0" fmla="*/ 18335 w 604256"/>
              <a:gd name="connsiteY0" fmla="*/ 334272 h 531895"/>
              <a:gd name="connsiteX1" fmla="*/ 37988 w 604256"/>
              <a:gd name="connsiteY1" fmla="*/ 336249 h 531895"/>
              <a:gd name="connsiteX2" fmla="*/ 302130 w 604256"/>
              <a:gd name="connsiteY2" fmla="*/ 476833 h 531895"/>
              <a:gd name="connsiteX3" fmla="*/ 566126 w 604256"/>
              <a:gd name="connsiteY3" fmla="*/ 336249 h 531895"/>
              <a:gd name="connsiteX4" fmla="*/ 601178 w 604256"/>
              <a:gd name="connsiteY4" fmla="*/ 346793 h 531895"/>
              <a:gd name="connsiteX5" fmla="*/ 590619 w 604256"/>
              <a:gd name="connsiteY5" fmla="*/ 381793 h 531895"/>
              <a:gd name="connsiteX6" fmla="*/ 314303 w 604256"/>
              <a:gd name="connsiteY6" fmla="*/ 528820 h 531895"/>
              <a:gd name="connsiteX7" fmla="*/ 302130 w 604256"/>
              <a:gd name="connsiteY7" fmla="*/ 531895 h 531895"/>
              <a:gd name="connsiteX8" fmla="*/ 289957 w 604256"/>
              <a:gd name="connsiteY8" fmla="*/ 528820 h 531895"/>
              <a:gd name="connsiteX9" fmla="*/ 13641 w 604256"/>
              <a:gd name="connsiteY9" fmla="*/ 381793 h 531895"/>
              <a:gd name="connsiteX10" fmla="*/ 3082 w 604256"/>
              <a:gd name="connsiteY10" fmla="*/ 346793 h 531895"/>
              <a:gd name="connsiteX11" fmla="*/ 18335 w 604256"/>
              <a:gd name="connsiteY11" fmla="*/ 334272 h 531895"/>
              <a:gd name="connsiteX12" fmla="*/ 18335 w 604256"/>
              <a:gd name="connsiteY12" fmla="*/ 233364 h 531895"/>
              <a:gd name="connsiteX13" fmla="*/ 37988 w 604256"/>
              <a:gd name="connsiteY13" fmla="*/ 235341 h 531895"/>
              <a:gd name="connsiteX14" fmla="*/ 302130 w 604256"/>
              <a:gd name="connsiteY14" fmla="*/ 375925 h 531895"/>
              <a:gd name="connsiteX15" fmla="*/ 566126 w 604256"/>
              <a:gd name="connsiteY15" fmla="*/ 235341 h 531895"/>
              <a:gd name="connsiteX16" fmla="*/ 601178 w 604256"/>
              <a:gd name="connsiteY16" fmla="*/ 245885 h 531895"/>
              <a:gd name="connsiteX17" fmla="*/ 590619 w 604256"/>
              <a:gd name="connsiteY17" fmla="*/ 280885 h 531895"/>
              <a:gd name="connsiteX18" fmla="*/ 314303 w 604256"/>
              <a:gd name="connsiteY18" fmla="*/ 428058 h 531895"/>
              <a:gd name="connsiteX19" fmla="*/ 302130 w 604256"/>
              <a:gd name="connsiteY19" fmla="*/ 430987 h 531895"/>
              <a:gd name="connsiteX20" fmla="*/ 289957 w 604256"/>
              <a:gd name="connsiteY20" fmla="*/ 428058 h 531895"/>
              <a:gd name="connsiteX21" fmla="*/ 13641 w 604256"/>
              <a:gd name="connsiteY21" fmla="*/ 280885 h 531895"/>
              <a:gd name="connsiteX22" fmla="*/ 3082 w 604256"/>
              <a:gd name="connsiteY22" fmla="*/ 245885 h 531895"/>
              <a:gd name="connsiteX23" fmla="*/ 18335 w 604256"/>
              <a:gd name="connsiteY23" fmla="*/ 233364 h 531895"/>
              <a:gd name="connsiteX24" fmla="*/ 291571 w 604256"/>
              <a:gd name="connsiteY24" fmla="*/ 2196 h 531895"/>
              <a:gd name="connsiteX25" fmla="*/ 312689 w 604256"/>
              <a:gd name="connsiteY25" fmla="*/ 2196 h 531895"/>
              <a:gd name="connsiteX26" fmla="*/ 588846 w 604256"/>
              <a:gd name="connsiteY26" fmla="*/ 125214 h 531895"/>
              <a:gd name="connsiteX27" fmla="*/ 604245 w 604256"/>
              <a:gd name="connsiteY27" fmla="*/ 147914 h 531895"/>
              <a:gd name="connsiteX28" fmla="*/ 590605 w 604256"/>
              <a:gd name="connsiteY28" fmla="*/ 171639 h 531895"/>
              <a:gd name="connsiteX29" fmla="*/ 314303 w 604256"/>
              <a:gd name="connsiteY29" fmla="*/ 318676 h 531895"/>
              <a:gd name="connsiteX30" fmla="*/ 302130 w 604256"/>
              <a:gd name="connsiteY30" fmla="*/ 321751 h 531895"/>
              <a:gd name="connsiteX31" fmla="*/ 289957 w 604256"/>
              <a:gd name="connsiteY31" fmla="*/ 318676 h 531895"/>
              <a:gd name="connsiteX32" fmla="*/ 13654 w 604256"/>
              <a:gd name="connsiteY32" fmla="*/ 171639 h 531895"/>
              <a:gd name="connsiteX33" fmla="*/ 15 w 604256"/>
              <a:gd name="connsiteY33" fmla="*/ 147914 h 531895"/>
              <a:gd name="connsiteX34" fmla="*/ 15414 w 604256"/>
              <a:gd name="connsiteY34" fmla="*/ 125214 h 5318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604256" h="531895">
                <a:moveTo>
                  <a:pt x="18335" y="334272"/>
                </a:moveTo>
                <a:cubicBezTo>
                  <a:pt x="24642" y="332369"/>
                  <a:pt x="31682" y="332881"/>
                  <a:pt x="37988" y="336249"/>
                </a:cubicBezTo>
                <a:lnTo>
                  <a:pt x="302130" y="476833"/>
                </a:lnTo>
                <a:lnTo>
                  <a:pt x="566126" y="336249"/>
                </a:lnTo>
                <a:cubicBezTo>
                  <a:pt x="578739" y="329513"/>
                  <a:pt x="594432" y="334199"/>
                  <a:pt x="601178" y="346793"/>
                </a:cubicBezTo>
                <a:cubicBezTo>
                  <a:pt x="607925" y="359387"/>
                  <a:pt x="603085" y="375056"/>
                  <a:pt x="590619" y="381793"/>
                </a:cubicBezTo>
                <a:lnTo>
                  <a:pt x="314303" y="528820"/>
                </a:lnTo>
                <a:cubicBezTo>
                  <a:pt x="310490" y="530870"/>
                  <a:pt x="306383" y="531895"/>
                  <a:pt x="302130" y="531895"/>
                </a:cubicBezTo>
                <a:cubicBezTo>
                  <a:pt x="297877" y="531895"/>
                  <a:pt x="293770" y="530870"/>
                  <a:pt x="289957" y="528820"/>
                </a:cubicBezTo>
                <a:lnTo>
                  <a:pt x="13641" y="381793"/>
                </a:lnTo>
                <a:cubicBezTo>
                  <a:pt x="1028" y="375056"/>
                  <a:pt x="-3665" y="359387"/>
                  <a:pt x="3082" y="346793"/>
                </a:cubicBezTo>
                <a:cubicBezTo>
                  <a:pt x="6455" y="340496"/>
                  <a:pt x="12028" y="336176"/>
                  <a:pt x="18335" y="334272"/>
                </a:cubicBezTo>
                <a:close/>
                <a:moveTo>
                  <a:pt x="18335" y="233364"/>
                </a:moveTo>
                <a:cubicBezTo>
                  <a:pt x="24642" y="231461"/>
                  <a:pt x="31682" y="231973"/>
                  <a:pt x="37988" y="235341"/>
                </a:cubicBezTo>
                <a:lnTo>
                  <a:pt x="302130" y="375925"/>
                </a:lnTo>
                <a:lnTo>
                  <a:pt x="566126" y="235341"/>
                </a:lnTo>
                <a:cubicBezTo>
                  <a:pt x="578739" y="228605"/>
                  <a:pt x="594432" y="233291"/>
                  <a:pt x="601178" y="245885"/>
                </a:cubicBezTo>
                <a:cubicBezTo>
                  <a:pt x="607925" y="258479"/>
                  <a:pt x="603085" y="274148"/>
                  <a:pt x="590619" y="280885"/>
                </a:cubicBezTo>
                <a:lnTo>
                  <a:pt x="314303" y="428058"/>
                </a:lnTo>
                <a:cubicBezTo>
                  <a:pt x="310490" y="430108"/>
                  <a:pt x="306383" y="430987"/>
                  <a:pt x="302130" y="430987"/>
                </a:cubicBezTo>
                <a:cubicBezTo>
                  <a:pt x="297877" y="430987"/>
                  <a:pt x="293770" y="430108"/>
                  <a:pt x="289957" y="428058"/>
                </a:cubicBezTo>
                <a:lnTo>
                  <a:pt x="13641" y="280885"/>
                </a:lnTo>
                <a:cubicBezTo>
                  <a:pt x="1028" y="274148"/>
                  <a:pt x="-3665" y="258479"/>
                  <a:pt x="3082" y="245885"/>
                </a:cubicBezTo>
                <a:cubicBezTo>
                  <a:pt x="6455" y="239588"/>
                  <a:pt x="12028" y="235268"/>
                  <a:pt x="18335" y="233364"/>
                </a:cubicBezTo>
                <a:close/>
                <a:moveTo>
                  <a:pt x="291571" y="2196"/>
                </a:moveTo>
                <a:cubicBezTo>
                  <a:pt x="298317" y="-733"/>
                  <a:pt x="305943" y="-733"/>
                  <a:pt x="312689" y="2196"/>
                </a:cubicBezTo>
                <a:lnTo>
                  <a:pt x="588846" y="125214"/>
                </a:lnTo>
                <a:cubicBezTo>
                  <a:pt x="597938" y="129315"/>
                  <a:pt x="603805" y="138102"/>
                  <a:pt x="604245" y="147914"/>
                </a:cubicBezTo>
                <a:cubicBezTo>
                  <a:pt x="604538" y="157726"/>
                  <a:pt x="599258" y="166953"/>
                  <a:pt x="590605" y="171639"/>
                </a:cubicBezTo>
                <a:lnTo>
                  <a:pt x="314303" y="318676"/>
                </a:lnTo>
                <a:cubicBezTo>
                  <a:pt x="310489" y="320726"/>
                  <a:pt x="306383" y="321751"/>
                  <a:pt x="302130" y="321751"/>
                </a:cubicBezTo>
                <a:cubicBezTo>
                  <a:pt x="297877" y="321751"/>
                  <a:pt x="293771" y="320726"/>
                  <a:pt x="289957" y="318676"/>
                </a:cubicBezTo>
                <a:lnTo>
                  <a:pt x="13654" y="171639"/>
                </a:lnTo>
                <a:cubicBezTo>
                  <a:pt x="5002" y="166953"/>
                  <a:pt x="-278" y="157726"/>
                  <a:pt x="15" y="147914"/>
                </a:cubicBezTo>
                <a:cubicBezTo>
                  <a:pt x="309" y="138102"/>
                  <a:pt x="6322" y="129315"/>
                  <a:pt x="15414" y="125214"/>
                </a:cubicBezTo>
                <a:close/>
              </a:path>
            </a:pathLst>
          </a:custGeom>
          <a:solidFill>
            <a:schemeClr val="bg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20" name="任意多边形: 形状 19"/>
          <p:cNvSpPr/>
          <p:nvPr/>
        </p:nvSpPr>
        <p:spPr>
          <a:xfrm>
            <a:off x="9562830" y="2520834"/>
            <a:ext cx="379902" cy="307766"/>
          </a:xfrm>
          <a:custGeom>
            <a:avLst/>
            <a:gdLst>
              <a:gd name="connsiteX0" fmla="*/ 16411 w 608731"/>
              <a:gd name="connsiteY0" fmla="*/ 453912 h 493146"/>
              <a:gd name="connsiteX1" fmla="*/ 586924 w 608731"/>
              <a:gd name="connsiteY1" fmla="*/ 453912 h 493146"/>
              <a:gd name="connsiteX2" fmla="*/ 603335 w 608731"/>
              <a:gd name="connsiteY2" fmla="*/ 470291 h 493146"/>
              <a:gd name="connsiteX3" fmla="*/ 603335 w 608731"/>
              <a:gd name="connsiteY3" fmla="*/ 476842 h 493146"/>
              <a:gd name="connsiteX4" fmla="*/ 586924 w 608731"/>
              <a:gd name="connsiteY4" fmla="*/ 493146 h 493146"/>
              <a:gd name="connsiteX5" fmla="*/ 16411 w 608731"/>
              <a:gd name="connsiteY5" fmla="*/ 493146 h 493146"/>
              <a:gd name="connsiteX6" fmla="*/ 0 w 608731"/>
              <a:gd name="connsiteY6" fmla="*/ 476842 h 493146"/>
              <a:gd name="connsiteX7" fmla="*/ 0 w 608731"/>
              <a:gd name="connsiteY7" fmla="*/ 470291 h 493146"/>
              <a:gd name="connsiteX8" fmla="*/ 16411 w 608731"/>
              <a:gd name="connsiteY8" fmla="*/ 453912 h 493146"/>
              <a:gd name="connsiteX9" fmla="*/ 327127 w 608731"/>
              <a:gd name="connsiteY9" fmla="*/ 87 h 493146"/>
              <a:gd name="connsiteX10" fmla="*/ 338514 w 608731"/>
              <a:gd name="connsiteY10" fmla="*/ 10608 h 493146"/>
              <a:gd name="connsiteX11" fmla="*/ 375068 w 608731"/>
              <a:gd name="connsiteY11" fmla="*/ 199358 h 493146"/>
              <a:gd name="connsiteX12" fmla="*/ 451312 w 608731"/>
              <a:gd name="connsiteY12" fmla="*/ 149080 h 493146"/>
              <a:gd name="connsiteX13" fmla="*/ 471678 w 608731"/>
              <a:gd name="connsiteY13" fmla="*/ 160029 h 493146"/>
              <a:gd name="connsiteX14" fmla="*/ 471678 w 608731"/>
              <a:gd name="connsiteY14" fmla="*/ 266918 h 493146"/>
              <a:gd name="connsiteX15" fmla="*/ 594622 w 608731"/>
              <a:gd name="connsiteY15" fmla="*/ 257905 h 493146"/>
              <a:gd name="connsiteX16" fmla="*/ 604768 w 608731"/>
              <a:gd name="connsiteY16" fmla="*/ 280326 h 493146"/>
              <a:gd name="connsiteX17" fmla="*/ 496819 w 608731"/>
              <a:gd name="connsiteY17" fmla="*/ 386544 h 493146"/>
              <a:gd name="connsiteX18" fmla="*/ 564483 w 608731"/>
              <a:gd name="connsiteY18" fmla="*/ 429002 h 493146"/>
              <a:gd name="connsiteX19" fmla="*/ 437809 w 608731"/>
              <a:gd name="connsiteY19" fmla="*/ 429002 h 493146"/>
              <a:gd name="connsiteX20" fmla="*/ 401851 w 608731"/>
              <a:gd name="connsiteY20" fmla="*/ 406432 h 493146"/>
              <a:gd name="connsiteX21" fmla="*/ 472946 w 608731"/>
              <a:gd name="connsiteY21" fmla="*/ 336415 h 493146"/>
              <a:gd name="connsiteX22" fmla="*/ 388422 w 608731"/>
              <a:gd name="connsiteY22" fmla="*/ 342597 h 493146"/>
              <a:gd name="connsiteX23" fmla="*/ 388422 w 608731"/>
              <a:gd name="connsiteY23" fmla="*/ 272579 h 493146"/>
              <a:gd name="connsiteX24" fmla="*/ 336872 w 608731"/>
              <a:gd name="connsiteY24" fmla="*/ 306545 h 493146"/>
              <a:gd name="connsiteX25" fmla="*/ 313149 w 608731"/>
              <a:gd name="connsiteY25" fmla="*/ 184088 h 493146"/>
              <a:gd name="connsiteX26" fmla="*/ 263688 w 608731"/>
              <a:gd name="connsiteY26" fmla="*/ 295223 h 493146"/>
              <a:gd name="connsiteX27" fmla="*/ 185356 w 608731"/>
              <a:gd name="connsiteY27" fmla="*/ 240699 h 493146"/>
              <a:gd name="connsiteX28" fmla="*/ 209079 w 608731"/>
              <a:gd name="connsiteY28" fmla="*/ 345651 h 493146"/>
              <a:gd name="connsiteX29" fmla="*/ 142087 w 608731"/>
              <a:gd name="connsiteY29" fmla="*/ 360101 h 493146"/>
              <a:gd name="connsiteX30" fmla="*/ 190503 w 608731"/>
              <a:gd name="connsiteY30" fmla="*/ 402261 h 493146"/>
              <a:gd name="connsiteX31" fmla="*/ 156560 w 608731"/>
              <a:gd name="connsiteY31" fmla="*/ 429002 h 493146"/>
              <a:gd name="connsiteX32" fmla="*/ 36824 w 608731"/>
              <a:gd name="connsiteY32" fmla="*/ 429002 h 493146"/>
              <a:gd name="connsiteX33" fmla="*/ 100608 w 608731"/>
              <a:gd name="connsiteY33" fmla="*/ 378798 h 493146"/>
              <a:gd name="connsiteX34" fmla="*/ 29513 w 608731"/>
              <a:gd name="connsiteY34" fmla="*/ 316899 h 493146"/>
              <a:gd name="connsiteX35" fmla="*/ 35332 w 608731"/>
              <a:gd name="connsiteY35" fmla="*/ 294180 h 493146"/>
              <a:gd name="connsiteX36" fmla="*/ 135373 w 608731"/>
              <a:gd name="connsiteY36" fmla="*/ 272654 h 493146"/>
              <a:gd name="connsiteX37" fmla="*/ 98370 w 608731"/>
              <a:gd name="connsiteY37" fmla="*/ 108782 h 493146"/>
              <a:gd name="connsiteX38" fmla="*/ 118662 w 608731"/>
              <a:gd name="connsiteY38" fmla="*/ 95151 h 493146"/>
              <a:gd name="connsiteX39" fmla="*/ 237801 w 608731"/>
              <a:gd name="connsiteY39" fmla="*/ 178129 h 493146"/>
              <a:gd name="connsiteX40" fmla="*/ 313671 w 608731"/>
              <a:gd name="connsiteY40" fmla="*/ 7777 h 493146"/>
              <a:gd name="connsiteX41" fmla="*/ 327127 w 608731"/>
              <a:gd name="connsiteY41" fmla="*/ 87 h 493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608731" h="493146">
                <a:moveTo>
                  <a:pt x="16411" y="453912"/>
                </a:moveTo>
                <a:lnTo>
                  <a:pt x="586924" y="453912"/>
                </a:lnTo>
                <a:cubicBezTo>
                  <a:pt x="596025" y="453912"/>
                  <a:pt x="603335" y="461208"/>
                  <a:pt x="603335" y="470291"/>
                </a:cubicBezTo>
                <a:lnTo>
                  <a:pt x="603335" y="476842"/>
                </a:lnTo>
                <a:cubicBezTo>
                  <a:pt x="603335" y="485850"/>
                  <a:pt x="596025" y="493146"/>
                  <a:pt x="586924" y="493146"/>
                </a:cubicBezTo>
                <a:lnTo>
                  <a:pt x="16411" y="493146"/>
                </a:lnTo>
                <a:cubicBezTo>
                  <a:pt x="7310" y="493146"/>
                  <a:pt x="0" y="485850"/>
                  <a:pt x="0" y="476842"/>
                </a:cubicBezTo>
                <a:lnTo>
                  <a:pt x="0" y="470291"/>
                </a:lnTo>
                <a:cubicBezTo>
                  <a:pt x="0" y="461208"/>
                  <a:pt x="7310" y="453912"/>
                  <a:pt x="16411" y="453912"/>
                </a:cubicBezTo>
                <a:close/>
                <a:moveTo>
                  <a:pt x="327127" y="87"/>
                </a:moveTo>
                <a:cubicBezTo>
                  <a:pt x="332378" y="683"/>
                  <a:pt x="337283" y="4314"/>
                  <a:pt x="338514" y="10608"/>
                </a:cubicBezTo>
                <a:lnTo>
                  <a:pt x="375068" y="199358"/>
                </a:lnTo>
                <a:lnTo>
                  <a:pt x="451312" y="149080"/>
                </a:lnTo>
                <a:cubicBezTo>
                  <a:pt x="460040" y="143344"/>
                  <a:pt x="471678" y="149601"/>
                  <a:pt x="471678" y="160029"/>
                </a:cubicBezTo>
                <a:lnTo>
                  <a:pt x="471678" y="266918"/>
                </a:lnTo>
                <a:lnTo>
                  <a:pt x="594622" y="257905"/>
                </a:lnTo>
                <a:cubicBezTo>
                  <a:pt x="606782" y="257011"/>
                  <a:pt x="613496" y="271760"/>
                  <a:pt x="604768" y="280326"/>
                </a:cubicBezTo>
                <a:lnTo>
                  <a:pt x="496819" y="386544"/>
                </a:lnTo>
                <a:lnTo>
                  <a:pt x="564483" y="429002"/>
                </a:lnTo>
                <a:lnTo>
                  <a:pt x="437809" y="429002"/>
                </a:lnTo>
                <a:lnTo>
                  <a:pt x="401851" y="406432"/>
                </a:lnTo>
                <a:lnTo>
                  <a:pt x="472946" y="336415"/>
                </a:lnTo>
                <a:lnTo>
                  <a:pt x="388422" y="342597"/>
                </a:lnTo>
                <a:lnTo>
                  <a:pt x="388422" y="272579"/>
                </a:lnTo>
                <a:lnTo>
                  <a:pt x="336872" y="306545"/>
                </a:lnTo>
                <a:lnTo>
                  <a:pt x="313149" y="184088"/>
                </a:lnTo>
                <a:lnTo>
                  <a:pt x="263688" y="295223"/>
                </a:lnTo>
                <a:lnTo>
                  <a:pt x="185356" y="240699"/>
                </a:lnTo>
                <a:lnTo>
                  <a:pt x="209079" y="345651"/>
                </a:lnTo>
                <a:lnTo>
                  <a:pt x="142087" y="360101"/>
                </a:lnTo>
                <a:lnTo>
                  <a:pt x="190503" y="402261"/>
                </a:lnTo>
                <a:lnTo>
                  <a:pt x="156560" y="429002"/>
                </a:lnTo>
                <a:lnTo>
                  <a:pt x="36824" y="429002"/>
                </a:lnTo>
                <a:lnTo>
                  <a:pt x="100608" y="378798"/>
                </a:lnTo>
                <a:lnTo>
                  <a:pt x="29513" y="316899"/>
                </a:lnTo>
                <a:cubicBezTo>
                  <a:pt x="21381" y="309748"/>
                  <a:pt x="24813" y="296489"/>
                  <a:pt x="35332" y="294180"/>
                </a:cubicBezTo>
                <a:lnTo>
                  <a:pt x="135373" y="272654"/>
                </a:lnTo>
                <a:lnTo>
                  <a:pt x="98370" y="108782"/>
                </a:lnTo>
                <a:cubicBezTo>
                  <a:pt x="95759" y="97088"/>
                  <a:pt x="108889" y="88298"/>
                  <a:pt x="118662" y="95151"/>
                </a:cubicBezTo>
                <a:lnTo>
                  <a:pt x="237801" y="178129"/>
                </a:lnTo>
                <a:lnTo>
                  <a:pt x="313671" y="7777"/>
                </a:lnTo>
                <a:cubicBezTo>
                  <a:pt x="316282" y="1930"/>
                  <a:pt x="321877" y="-509"/>
                  <a:pt x="327127" y="87"/>
                </a:cubicBezTo>
                <a:close/>
              </a:path>
            </a:pathLst>
          </a:custGeom>
          <a:solidFill>
            <a:schemeClr val="bg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21" name="任意多边形: 形状 20"/>
          <p:cNvSpPr/>
          <p:nvPr/>
        </p:nvSpPr>
        <p:spPr>
          <a:xfrm>
            <a:off x="4433622" y="2244610"/>
            <a:ext cx="828540" cy="860216"/>
          </a:xfrm>
          <a:custGeom>
            <a:avLst/>
            <a:gdLst>
              <a:gd name="connsiteX0" fmla="*/ 332623 w 583294"/>
              <a:gd name="connsiteY0" fmla="*/ 296967 h 605593"/>
              <a:gd name="connsiteX1" fmla="*/ 316983 w 583294"/>
              <a:gd name="connsiteY1" fmla="*/ 302537 h 605593"/>
              <a:gd name="connsiteX2" fmla="*/ 311624 w 583294"/>
              <a:gd name="connsiteY2" fmla="*/ 308872 h 605593"/>
              <a:gd name="connsiteX3" fmla="*/ 311624 w 583294"/>
              <a:gd name="connsiteY3" fmla="*/ 325036 h 605593"/>
              <a:gd name="connsiteX4" fmla="*/ 309108 w 583294"/>
              <a:gd name="connsiteY4" fmla="*/ 326784 h 605593"/>
              <a:gd name="connsiteX5" fmla="*/ 307467 w 583294"/>
              <a:gd name="connsiteY5" fmla="*/ 331698 h 605593"/>
              <a:gd name="connsiteX6" fmla="*/ 311077 w 583294"/>
              <a:gd name="connsiteY6" fmla="*/ 366102 h 605593"/>
              <a:gd name="connsiteX7" fmla="*/ 315780 w 583294"/>
              <a:gd name="connsiteY7" fmla="*/ 371673 h 605593"/>
              <a:gd name="connsiteX8" fmla="*/ 317530 w 583294"/>
              <a:gd name="connsiteY8" fmla="*/ 371891 h 605593"/>
              <a:gd name="connsiteX9" fmla="*/ 322670 w 583294"/>
              <a:gd name="connsiteY9" fmla="*/ 369379 h 605593"/>
              <a:gd name="connsiteX10" fmla="*/ 340826 w 583294"/>
              <a:gd name="connsiteY10" fmla="*/ 345242 h 605593"/>
              <a:gd name="connsiteX11" fmla="*/ 342139 w 583294"/>
              <a:gd name="connsiteY11" fmla="*/ 341310 h 605593"/>
              <a:gd name="connsiteX12" fmla="*/ 342139 w 583294"/>
              <a:gd name="connsiteY12" fmla="*/ 302646 h 605593"/>
              <a:gd name="connsiteX13" fmla="*/ 339076 w 583294"/>
              <a:gd name="connsiteY13" fmla="*/ 297076 h 605593"/>
              <a:gd name="connsiteX14" fmla="*/ 332623 w 583294"/>
              <a:gd name="connsiteY14" fmla="*/ 296967 h 605593"/>
              <a:gd name="connsiteX15" fmla="*/ 250702 w 583294"/>
              <a:gd name="connsiteY15" fmla="*/ 296967 h 605593"/>
              <a:gd name="connsiteX16" fmla="*/ 244249 w 583294"/>
              <a:gd name="connsiteY16" fmla="*/ 297076 h 605593"/>
              <a:gd name="connsiteX17" fmla="*/ 241187 w 583294"/>
              <a:gd name="connsiteY17" fmla="*/ 302646 h 605593"/>
              <a:gd name="connsiteX18" fmla="*/ 241077 w 583294"/>
              <a:gd name="connsiteY18" fmla="*/ 341310 h 605593"/>
              <a:gd name="connsiteX19" fmla="*/ 242390 w 583294"/>
              <a:gd name="connsiteY19" fmla="*/ 345242 h 605593"/>
              <a:gd name="connsiteX20" fmla="*/ 260655 w 583294"/>
              <a:gd name="connsiteY20" fmla="*/ 369379 h 605593"/>
              <a:gd name="connsiteX21" fmla="*/ 265796 w 583294"/>
              <a:gd name="connsiteY21" fmla="*/ 371891 h 605593"/>
              <a:gd name="connsiteX22" fmla="*/ 267546 w 583294"/>
              <a:gd name="connsiteY22" fmla="*/ 371673 h 605593"/>
              <a:gd name="connsiteX23" fmla="*/ 272249 w 583294"/>
              <a:gd name="connsiteY23" fmla="*/ 366102 h 605593"/>
              <a:gd name="connsiteX24" fmla="*/ 275858 w 583294"/>
              <a:gd name="connsiteY24" fmla="*/ 331698 h 605593"/>
              <a:gd name="connsiteX25" fmla="*/ 274218 w 583294"/>
              <a:gd name="connsiteY25" fmla="*/ 326674 h 605593"/>
              <a:gd name="connsiteX26" fmla="*/ 271702 w 583294"/>
              <a:gd name="connsiteY26" fmla="*/ 325036 h 605593"/>
              <a:gd name="connsiteX27" fmla="*/ 271702 w 583294"/>
              <a:gd name="connsiteY27" fmla="*/ 308872 h 605593"/>
              <a:gd name="connsiteX28" fmla="*/ 266343 w 583294"/>
              <a:gd name="connsiteY28" fmla="*/ 302537 h 605593"/>
              <a:gd name="connsiteX29" fmla="*/ 250702 w 583294"/>
              <a:gd name="connsiteY29" fmla="*/ 296967 h 605593"/>
              <a:gd name="connsiteX30" fmla="*/ 30625 w 583294"/>
              <a:gd name="connsiteY30" fmla="*/ 270619 h 605593"/>
              <a:gd name="connsiteX31" fmla="*/ 94718 w 583294"/>
              <a:gd name="connsiteY31" fmla="*/ 270619 h 605593"/>
              <a:gd name="connsiteX32" fmla="*/ 125343 w 583294"/>
              <a:gd name="connsiteY32" fmla="*/ 301200 h 605593"/>
              <a:gd name="connsiteX33" fmla="*/ 293999 w 583294"/>
              <a:gd name="connsiteY33" fmla="*/ 469616 h 605593"/>
              <a:gd name="connsiteX34" fmla="*/ 462654 w 583294"/>
              <a:gd name="connsiteY34" fmla="*/ 301200 h 605593"/>
              <a:gd name="connsiteX35" fmla="*/ 493279 w 583294"/>
              <a:gd name="connsiteY35" fmla="*/ 270619 h 605593"/>
              <a:gd name="connsiteX36" fmla="*/ 552669 w 583294"/>
              <a:gd name="connsiteY36" fmla="*/ 270619 h 605593"/>
              <a:gd name="connsiteX37" fmla="*/ 583294 w 583294"/>
              <a:gd name="connsiteY37" fmla="*/ 301200 h 605593"/>
              <a:gd name="connsiteX38" fmla="*/ 552669 w 583294"/>
              <a:gd name="connsiteY38" fmla="*/ 331782 h 605593"/>
              <a:gd name="connsiteX39" fmla="*/ 521935 w 583294"/>
              <a:gd name="connsiteY39" fmla="*/ 331782 h 605593"/>
              <a:gd name="connsiteX40" fmla="*/ 478513 w 583294"/>
              <a:gd name="connsiteY40" fmla="*/ 438052 h 605593"/>
              <a:gd name="connsiteX41" fmla="*/ 504982 w 583294"/>
              <a:gd name="connsiteY41" fmla="*/ 464592 h 605593"/>
              <a:gd name="connsiteX42" fmla="*/ 504982 w 583294"/>
              <a:gd name="connsiteY42" fmla="*/ 507842 h 605593"/>
              <a:gd name="connsiteX43" fmla="*/ 483326 w 583294"/>
              <a:gd name="connsiteY43" fmla="*/ 516798 h 605593"/>
              <a:gd name="connsiteX44" fmla="*/ 461670 w 583294"/>
              <a:gd name="connsiteY44" fmla="*/ 507842 h 605593"/>
              <a:gd name="connsiteX45" fmla="*/ 435638 w 583294"/>
              <a:gd name="connsiteY45" fmla="*/ 481957 h 605593"/>
              <a:gd name="connsiteX46" fmla="*/ 322327 w 583294"/>
              <a:gd name="connsiteY46" fmla="*/ 529140 h 605593"/>
              <a:gd name="connsiteX47" fmla="*/ 322327 w 583294"/>
              <a:gd name="connsiteY47" fmla="*/ 575012 h 605593"/>
              <a:gd name="connsiteX48" fmla="*/ 291592 w 583294"/>
              <a:gd name="connsiteY48" fmla="*/ 605593 h 605593"/>
              <a:gd name="connsiteX49" fmla="*/ 260967 w 583294"/>
              <a:gd name="connsiteY49" fmla="*/ 575012 h 605593"/>
              <a:gd name="connsiteX50" fmla="*/ 260967 w 583294"/>
              <a:gd name="connsiteY50" fmla="*/ 528485 h 605593"/>
              <a:gd name="connsiteX51" fmla="*/ 149624 w 583294"/>
              <a:gd name="connsiteY51" fmla="*/ 479882 h 605593"/>
              <a:gd name="connsiteX52" fmla="*/ 121624 w 583294"/>
              <a:gd name="connsiteY52" fmla="*/ 507842 h 605593"/>
              <a:gd name="connsiteX53" fmla="*/ 99968 w 583294"/>
              <a:gd name="connsiteY53" fmla="*/ 516798 h 605593"/>
              <a:gd name="connsiteX54" fmla="*/ 78312 w 583294"/>
              <a:gd name="connsiteY54" fmla="*/ 507842 h 605593"/>
              <a:gd name="connsiteX55" fmla="*/ 78312 w 583294"/>
              <a:gd name="connsiteY55" fmla="*/ 464592 h 605593"/>
              <a:gd name="connsiteX56" fmla="*/ 107515 w 583294"/>
              <a:gd name="connsiteY56" fmla="*/ 435430 h 605593"/>
              <a:gd name="connsiteX57" fmla="*/ 66062 w 583294"/>
              <a:gd name="connsiteY57" fmla="*/ 331782 h 605593"/>
              <a:gd name="connsiteX58" fmla="*/ 30625 w 583294"/>
              <a:gd name="connsiteY58" fmla="*/ 331782 h 605593"/>
              <a:gd name="connsiteX59" fmla="*/ 0 w 583294"/>
              <a:gd name="connsiteY59" fmla="*/ 301200 h 605593"/>
              <a:gd name="connsiteX60" fmla="*/ 30625 w 583294"/>
              <a:gd name="connsiteY60" fmla="*/ 270619 h 605593"/>
              <a:gd name="connsiteX61" fmla="*/ 260655 w 583294"/>
              <a:gd name="connsiteY61" fmla="*/ 122871 h 605593"/>
              <a:gd name="connsiteX62" fmla="*/ 215703 w 583294"/>
              <a:gd name="connsiteY62" fmla="*/ 134776 h 605593"/>
              <a:gd name="connsiteX63" fmla="*/ 212093 w 583294"/>
              <a:gd name="connsiteY63" fmla="*/ 140565 h 605593"/>
              <a:gd name="connsiteX64" fmla="*/ 212093 w 583294"/>
              <a:gd name="connsiteY64" fmla="*/ 152142 h 605593"/>
              <a:gd name="connsiteX65" fmla="*/ 209468 w 583294"/>
              <a:gd name="connsiteY65" fmla="*/ 152142 h 605593"/>
              <a:gd name="connsiteX66" fmla="*/ 203015 w 583294"/>
              <a:gd name="connsiteY66" fmla="*/ 158586 h 605593"/>
              <a:gd name="connsiteX67" fmla="*/ 203015 w 583294"/>
              <a:gd name="connsiteY67" fmla="*/ 169289 h 605593"/>
              <a:gd name="connsiteX68" fmla="*/ 205969 w 583294"/>
              <a:gd name="connsiteY68" fmla="*/ 174641 h 605593"/>
              <a:gd name="connsiteX69" fmla="*/ 212203 w 583294"/>
              <a:gd name="connsiteY69" fmla="*/ 178791 h 605593"/>
              <a:gd name="connsiteX70" fmla="*/ 212640 w 583294"/>
              <a:gd name="connsiteY70" fmla="*/ 181413 h 605593"/>
              <a:gd name="connsiteX71" fmla="*/ 235828 w 583294"/>
              <a:gd name="connsiteY71" fmla="*/ 235039 h 605593"/>
              <a:gd name="connsiteX72" fmla="*/ 274218 w 583294"/>
              <a:gd name="connsiteY72" fmla="*/ 268242 h 605593"/>
              <a:gd name="connsiteX73" fmla="*/ 309108 w 583294"/>
              <a:gd name="connsiteY73" fmla="*/ 268242 h 605593"/>
              <a:gd name="connsiteX74" fmla="*/ 347498 w 583294"/>
              <a:gd name="connsiteY74" fmla="*/ 235039 h 605593"/>
              <a:gd name="connsiteX75" fmla="*/ 370685 w 583294"/>
              <a:gd name="connsiteY75" fmla="*/ 181413 h 605593"/>
              <a:gd name="connsiteX76" fmla="*/ 371123 w 583294"/>
              <a:gd name="connsiteY76" fmla="*/ 178791 h 605593"/>
              <a:gd name="connsiteX77" fmla="*/ 377357 w 583294"/>
              <a:gd name="connsiteY77" fmla="*/ 174641 h 605593"/>
              <a:gd name="connsiteX78" fmla="*/ 380310 w 583294"/>
              <a:gd name="connsiteY78" fmla="*/ 169289 h 605593"/>
              <a:gd name="connsiteX79" fmla="*/ 380310 w 583294"/>
              <a:gd name="connsiteY79" fmla="*/ 158586 h 605593"/>
              <a:gd name="connsiteX80" fmla="*/ 373857 w 583294"/>
              <a:gd name="connsiteY80" fmla="*/ 152142 h 605593"/>
              <a:gd name="connsiteX81" fmla="*/ 370248 w 583294"/>
              <a:gd name="connsiteY81" fmla="*/ 152142 h 605593"/>
              <a:gd name="connsiteX82" fmla="*/ 368279 w 583294"/>
              <a:gd name="connsiteY82" fmla="*/ 149958 h 605593"/>
              <a:gd name="connsiteX83" fmla="*/ 362045 w 583294"/>
              <a:gd name="connsiteY83" fmla="*/ 149521 h 605593"/>
              <a:gd name="connsiteX84" fmla="*/ 336451 w 583294"/>
              <a:gd name="connsiteY84" fmla="*/ 155309 h 605593"/>
              <a:gd name="connsiteX85" fmla="*/ 296749 w 583294"/>
              <a:gd name="connsiteY85" fmla="*/ 137288 h 605593"/>
              <a:gd name="connsiteX86" fmla="*/ 260655 w 583294"/>
              <a:gd name="connsiteY86" fmla="*/ 122871 h 605593"/>
              <a:gd name="connsiteX87" fmla="*/ 275311 w 583294"/>
              <a:gd name="connsiteY87" fmla="*/ 0 h 605593"/>
              <a:gd name="connsiteX88" fmla="*/ 308014 w 583294"/>
              <a:gd name="connsiteY88" fmla="*/ 0 h 605593"/>
              <a:gd name="connsiteX89" fmla="*/ 409185 w 583294"/>
              <a:gd name="connsiteY89" fmla="*/ 101027 h 605593"/>
              <a:gd name="connsiteX90" fmla="*/ 409185 w 583294"/>
              <a:gd name="connsiteY90" fmla="*/ 132701 h 605593"/>
              <a:gd name="connsiteX91" fmla="*/ 414982 w 583294"/>
              <a:gd name="connsiteY91" fmla="*/ 150722 h 605593"/>
              <a:gd name="connsiteX92" fmla="*/ 414982 w 583294"/>
              <a:gd name="connsiteY92" fmla="*/ 173331 h 605593"/>
              <a:gd name="connsiteX93" fmla="*/ 403826 w 583294"/>
              <a:gd name="connsiteY93" fmla="*/ 197140 h 605593"/>
              <a:gd name="connsiteX94" fmla="*/ 397263 w 583294"/>
              <a:gd name="connsiteY94" fmla="*/ 214288 h 605593"/>
              <a:gd name="connsiteX95" fmla="*/ 375498 w 583294"/>
              <a:gd name="connsiteY95" fmla="*/ 255136 h 605593"/>
              <a:gd name="connsiteX96" fmla="*/ 360732 w 583294"/>
              <a:gd name="connsiteY96" fmla="*/ 273922 h 605593"/>
              <a:gd name="connsiteX97" fmla="*/ 371670 w 583294"/>
              <a:gd name="connsiteY97" fmla="*/ 287574 h 605593"/>
              <a:gd name="connsiteX98" fmla="*/ 432919 w 583294"/>
              <a:gd name="connsiteY98" fmla="*/ 306141 h 605593"/>
              <a:gd name="connsiteX99" fmla="*/ 294014 w 583294"/>
              <a:gd name="connsiteY99" fmla="*/ 433272 h 605593"/>
              <a:gd name="connsiteX100" fmla="*/ 154891 w 583294"/>
              <a:gd name="connsiteY100" fmla="*/ 304721 h 605593"/>
              <a:gd name="connsiteX101" fmla="*/ 211656 w 583294"/>
              <a:gd name="connsiteY101" fmla="*/ 287574 h 605593"/>
              <a:gd name="connsiteX102" fmla="*/ 222593 w 583294"/>
              <a:gd name="connsiteY102" fmla="*/ 273922 h 605593"/>
              <a:gd name="connsiteX103" fmla="*/ 207828 w 583294"/>
              <a:gd name="connsiteY103" fmla="*/ 255136 h 605593"/>
              <a:gd name="connsiteX104" fmla="*/ 186063 w 583294"/>
              <a:gd name="connsiteY104" fmla="*/ 214288 h 605593"/>
              <a:gd name="connsiteX105" fmla="*/ 179500 w 583294"/>
              <a:gd name="connsiteY105" fmla="*/ 197140 h 605593"/>
              <a:gd name="connsiteX106" fmla="*/ 168344 w 583294"/>
              <a:gd name="connsiteY106" fmla="*/ 173331 h 605593"/>
              <a:gd name="connsiteX107" fmla="*/ 168344 w 583294"/>
              <a:gd name="connsiteY107" fmla="*/ 150722 h 605593"/>
              <a:gd name="connsiteX108" fmla="*/ 174141 w 583294"/>
              <a:gd name="connsiteY108" fmla="*/ 132701 h 605593"/>
              <a:gd name="connsiteX109" fmla="*/ 174141 w 583294"/>
              <a:gd name="connsiteY109" fmla="*/ 101027 h 605593"/>
              <a:gd name="connsiteX110" fmla="*/ 275311 w 583294"/>
              <a:gd name="connsiteY110" fmla="*/ 0 h 605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</a:cxnLst>
            <a:rect l="l" t="t" r="r" b="b"/>
            <a:pathLst>
              <a:path w="583294" h="605593">
                <a:moveTo>
                  <a:pt x="332623" y="296967"/>
                </a:moveTo>
                <a:cubicBezTo>
                  <a:pt x="327373" y="299697"/>
                  <a:pt x="322123" y="301663"/>
                  <a:pt x="316983" y="302537"/>
                </a:cubicBezTo>
                <a:cubicBezTo>
                  <a:pt x="313811" y="303083"/>
                  <a:pt x="311624" y="305814"/>
                  <a:pt x="311624" y="308872"/>
                </a:cubicBezTo>
                <a:lnTo>
                  <a:pt x="311624" y="325036"/>
                </a:lnTo>
                <a:cubicBezTo>
                  <a:pt x="310639" y="325364"/>
                  <a:pt x="309874" y="326019"/>
                  <a:pt x="309108" y="326784"/>
                </a:cubicBezTo>
                <a:cubicBezTo>
                  <a:pt x="307905" y="328094"/>
                  <a:pt x="307358" y="329951"/>
                  <a:pt x="307467" y="331698"/>
                </a:cubicBezTo>
                <a:lnTo>
                  <a:pt x="311077" y="366102"/>
                </a:lnTo>
                <a:cubicBezTo>
                  <a:pt x="311295" y="368724"/>
                  <a:pt x="313155" y="371017"/>
                  <a:pt x="315780" y="371673"/>
                </a:cubicBezTo>
                <a:cubicBezTo>
                  <a:pt x="316327" y="371891"/>
                  <a:pt x="316983" y="371891"/>
                  <a:pt x="317530" y="371891"/>
                </a:cubicBezTo>
                <a:cubicBezTo>
                  <a:pt x="319498" y="371891"/>
                  <a:pt x="321467" y="371017"/>
                  <a:pt x="322670" y="369379"/>
                </a:cubicBezTo>
                <a:lnTo>
                  <a:pt x="340826" y="345242"/>
                </a:lnTo>
                <a:cubicBezTo>
                  <a:pt x="341701" y="344149"/>
                  <a:pt x="342139" y="342730"/>
                  <a:pt x="342139" y="341310"/>
                </a:cubicBezTo>
                <a:lnTo>
                  <a:pt x="342139" y="302646"/>
                </a:lnTo>
                <a:cubicBezTo>
                  <a:pt x="342139" y="300353"/>
                  <a:pt x="340936" y="298277"/>
                  <a:pt x="339076" y="297076"/>
                </a:cubicBezTo>
                <a:cubicBezTo>
                  <a:pt x="337108" y="295984"/>
                  <a:pt x="334701" y="295875"/>
                  <a:pt x="332623" y="296967"/>
                </a:cubicBezTo>
                <a:close/>
                <a:moveTo>
                  <a:pt x="250702" y="296967"/>
                </a:moveTo>
                <a:cubicBezTo>
                  <a:pt x="248624" y="295875"/>
                  <a:pt x="246218" y="295984"/>
                  <a:pt x="244249" y="297076"/>
                </a:cubicBezTo>
                <a:cubicBezTo>
                  <a:pt x="242281" y="298277"/>
                  <a:pt x="241187" y="300353"/>
                  <a:pt x="241187" y="302646"/>
                </a:cubicBezTo>
                <a:lnTo>
                  <a:pt x="241077" y="341310"/>
                </a:lnTo>
                <a:cubicBezTo>
                  <a:pt x="241077" y="342730"/>
                  <a:pt x="241624" y="344149"/>
                  <a:pt x="242390" y="345242"/>
                </a:cubicBezTo>
                <a:lnTo>
                  <a:pt x="260655" y="369379"/>
                </a:lnTo>
                <a:cubicBezTo>
                  <a:pt x="261859" y="371017"/>
                  <a:pt x="263827" y="371891"/>
                  <a:pt x="265796" y="371891"/>
                </a:cubicBezTo>
                <a:cubicBezTo>
                  <a:pt x="266343" y="371891"/>
                  <a:pt x="266999" y="371891"/>
                  <a:pt x="267546" y="371673"/>
                </a:cubicBezTo>
                <a:cubicBezTo>
                  <a:pt x="270171" y="371017"/>
                  <a:pt x="272030" y="368833"/>
                  <a:pt x="272249" y="366102"/>
                </a:cubicBezTo>
                <a:lnTo>
                  <a:pt x="275858" y="331698"/>
                </a:lnTo>
                <a:cubicBezTo>
                  <a:pt x="275968" y="329951"/>
                  <a:pt x="275421" y="328094"/>
                  <a:pt x="274218" y="326674"/>
                </a:cubicBezTo>
                <a:cubicBezTo>
                  <a:pt x="273452" y="326019"/>
                  <a:pt x="272687" y="325364"/>
                  <a:pt x="271702" y="325036"/>
                </a:cubicBezTo>
                <a:lnTo>
                  <a:pt x="271702" y="308872"/>
                </a:lnTo>
                <a:cubicBezTo>
                  <a:pt x="271702" y="305814"/>
                  <a:pt x="269515" y="303083"/>
                  <a:pt x="266343" y="302537"/>
                </a:cubicBezTo>
                <a:cubicBezTo>
                  <a:pt x="261202" y="301663"/>
                  <a:pt x="255952" y="299697"/>
                  <a:pt x="250702" y="296967"/>
                </a:cubicBezTo>
                <a:close/>
                <a:moveTo>
                  <a:pt x="30625" y="270619"/>
                </a:moveTo>
                <a:lnTo>
                  <a:pt x="94718" y="270619"/>
                </a:lnTo>
                <a:cubicBezTo>
                  <a:pt x="111562" y="270619"/>
                  <a:pt x="125343" y="284271"/>
                  <a:pt x="125343" y="301200"/>
                </a:cubicBezTo>
                <a:cubicBezTo>
                  <a:pt x="125343" y="394036"/>
                  <a:pt x="201030" y="469616"/>
                  <a:pt x="293999" y="469616"/>
                </a:cubicBezTo>
                <a:cubicBezTo>
                  <a:pt x="386967" y="469616"/>
                  <a:pt x="462654" y="394036"/>
                  <a:pt x="462654" y="301200"/>
                </a:cubicBezTo>
                <a:cubicBezTo>
                  <a:pt x="462654" y="284271"/>
                  <a:pt x="476326" y="270619"/>
                  <a:pt x="493279" y="270619"/>
                </a:cubicBezTo>
                <a:lnTo>
                  <a:pt x="552669" y="270619"/>
                </a:lnTo>
                <a:cubicBezTo>
                  <a:pt x="569622" y="270619"/>
                  <a:pt x="583294" y="284271"/>
                  <a:pt x="583294" y="301200"/>
                </a:cubicBezTo>
                <a:cubicBezTo>
                  <a:pt x="583294" y="318129"/>
                  <a:pt x="569622" y="331782"/>
                  <a:pt x="552669" y="331782"/>
                </a:cubicBezTo>
                <a:lnTo>
                  <a:pt x="521935" y="331782"/>
                </a:lnTo>
                <a:cubicBezTo>
                  <a:pt x="516576" y="371319"/>
                  <a:pt x="501263" y="407579"/>
                  <a:pt x="478513" y="438052"/>
                </a:cubicBezTo>
                <a:lnTo>
                  <a:pt x="504982" y="464592"/>
                </a:lnTo>
                <a:cubicBezTo>
                  <a:pt x="516904" y="476497"/>
                  <a:pt x="516904" y="495937"/>
                  <a:pt x="504982" y="507842"/>
                </a:cubicBezTo>
                <a:cubicBezTo>
                  <a:pt x="498966" y="513849"/>
                  <a:pt x="491091" y="516798"/>
                  <a:pt x="483326" y="516798"/>
                </a:cubicBezTo>
                <a:cubicBezTo>
                  <a:pt x="475451" y="516798"/>
                  <a:pt x="467576" y="513849"/>
                  <a:pt x="461670" y="507842"/>
                </a:cubicBezTo>
                <a:lnTo>
                  <a:pt x="435638" y="481957"/>
                </a:lnTo>
                <a:cubicBezTo>
                  <a:pt x="403592" y="507078"/>
                  <a:pt x="364764" y="523897"/>
                  <a:pt x="322327" y="529140"/>
                </a:cubicBezTo>
                <a:lnTo>
                  <a:pt x="322327" y="575012"/>
                </a:lnTo>
                <a:cubicBezTo>
                  <a:pt x="322327" y="591832"/>
                  <a:pt x="308545" y="605593"/>
                  <a:pt x="291592" y="605593"/>
                </a:cubicBezTo>
                <a:cubicBezTo>
                  <a:pt x="274749" y="605593"/>
                  <a:pt x="260967" y="591832"/>
                  <a:pt x="260967" y="575012"/>
                </a:cubicBezTo>
                <a:lnTo>
                  <a:pt x="260967" y="528485"/>
                </a:lnTo>
                <a:cubicBezTo>
                  <a:pt x="219186" y="522478"/>
                  <a:pt x="181015" y="505221"/>
                  <a:pt x="149624" y="479882"/>
                </a:cubicBezTo>
                <a:lnTo>
                  <a:pt x="121624" y="507842"/>
                </a:lnTo>
                <a:cubicBezTo>
                  <a:pt x="115718" y="513849"/>
                  <a:pt x="107843" y="516798"/>
                  <a:pt x="99968" y="516798"/>
                </a:cubicBezTo>
                <a:cubicBezTo>
                  <a:pt x="92093" y="516798"/>
                  <a:pt x="84328" y="513849"/>
                  <a:pt x="78312" y="507842"/>
                </a:cubicBezTo>
                <a:cubicBezTo>
                  <a:pt x="66281" y="495937"/>
                  <a:pt x="66281" y="476497"/>
                  <a:pt x="78312" y="464592"/>
                </a:cubicBezTo>
                <a:lnTo>
                  <a:pt x="107515" y="435430"/>
                </a:lnTo>
                <a:cubicBezTo>
                  <a:pt x="85859" y="405504"/>
                  <a:pt x="71203" y="370117"/>
                  <a:pt x="66062" y="331782"/>
                </a:cubicBezTo>
                <a:lnTo>
                  <a:pt x="30625" y="331782"/>
                </a:lnTo>
                <a:cubicBezTo>
                  <a:pt x="13672" y="331782"/>
                  <a:pt x="0" y="318129"/>
                  <a:pt x="0" y="301200"/>
                </a:cubicBezTo>
                <a:cubicBezTo>
                  <a:pt x="0" y="284271"/>
                  <a:pt x="13672" y="270619"/>
                  <a:pt x="30625" y="270619"/>
                </a:cubicBezTo>
                <a:close/>
                <a:moveTo>
                  <a:pt x="260655" y="122871"/>
                </a:moveTo>
                <a:cubicBezTo>
                  <a:pt x="242390" y="122871"/>
                  <a:pt x="224671" y="130298"/>
                  <a:pt x="215703" y="134776"/>
                </a:cubicBezTo>
                <a:cubicBezTo>
                  <a:pt x="213515" y="135868"/>
                  <a:pt x="212093" y="138162"/>
                  <a:pt x="212093" y="140565"/>
                </a:cubicBezTo>
                <a:lnTo>
                  <a:pt x="212093" y="152142"/>
                </a:lnTo>
                <a:lnTo>
                  <a:pt x="209468" y="152142"/>
                </a:lnTo>
                <a:cubicBezTo>
                  <a:pt x="205859" y="152142"/>
                  <a:pt x="203015" y="154982"/>
                  <a:pt x="203015" y="158586"/>
                </a:cubicBezTo>
                <a:lnTo>
                  <a:pt x="203015" y="169289"/>
                </a:lnTo>
                <a:cubicBezTo>
                  <a:pt x="203015" y="171474"/>
                  <a:pt x="204109" y="173440"/>
                  <a:pt x="205969" y="174641"/>
                </a:cubicBezTo>
                <a:lnTo>
                  <a:pt x="212203" y="178791"/>
                </a:lnTo>
                <a:lnTo>
                  <a:pt x="212640" y="181413"/>
                </a:lnTo>
                <a:cubicBezTo>
                  <a:pt x="214609" y="196922"/>
                  <a:pt x="223359" y="216909"/>
                  <a:pt x="235828" y="235039"/>
                </a:cubicBezTo>
                <a:cubicBezTo>
                  <a:pt x="251687" y="257975"/>
                  <a:pt x="266562" y="268242"/>
                  <a:pt x="274218" y="268242"/>
                </a:cubicBezTo>
                <a:lnTo>
                  <a:pt x="309108" y="268242"/>
                </a:lnTo>
                <a:cubicBezTo>
                  <a:pt x="316764" y="268242"/>
                  <a:pt x="331639" y="257975"/>
                  <a:pt x="347498" y="235039"/>
                </a:cubicBezTo>
                <a:cubicBezTo>
                  <a:pt x="359967" y="216909"/>
                  <a:pt x="368717" y="196922"/>
                  <a:pt x="370685" y="181413"/>
                </a:cubicBezTo>
                <a:lnTo>
                  <a:pt x="371123" y="178791"/>
                </a:lnTo>
                <a:lnTo>
                  <a:pt x="377357" y="174641"/>
                </a:lnTo>
                <a:cubicBezTo>
                  <a:pt x="379217" y="173440"/>
                  <a:pt x="380310" y="171474"/>
                  <a:pt x="380310" y="169289"/>
                </a:cubicBezTo>
                <a:lnTo>
                  <a:pt x="380310" y="158586"/>
                </a:lnTo>
                <a:cubicBezTo>
                  <a:pt x="380310" y="154982"/>
                  <a:pt x="377357" y="152142"/>
                  <a:pt x="373857" y="152142"/>
                </a:cubicBezTo>
                <a:lnTo>
                  <a:pt x="370248" y="152142"/>
                </a:lnTo>
                <a:cubicBezTo>
                  <a:pt x="369810" y="151268"/>
                  <a:pt x="369045" y="150504"/>
                  <a:pt x="368279" y="149958"/>
                </a:cubicBezTo>
                <a:cubicBezTo>
                  <a:pt x="366420" y="148756"/>
                  <a:pt x="364014" y="148538"/>
                  <a:pt x="362045" y="149521"/>
                </a:cubicBezTo>
                <a:cubicBezTo>
                  <a:pt x="353404" y="153343"/>
                  <a:pt x="344764" y="155309"/>
                  <a:pt x="336451" y="155309"/>
                </a:cubicBezTo>
                <a:cubicBezTo>
                  <a:pt x="321686" y="155309"/>
                  <a:pt x="308342" y="149302"/>
                  <a:pt x="296749" y="137288"/>
                </a:cubicBezTo>
                <a:cubicBezTo>
                  <a:pt x="287452" y="127786"/>
                  <a:pt x="275311" y="122871"/>
                  <a:pt x="260655" y="122871"/>
                </a:cubicBezTo>
                <a:close/>
                <a:moveTo>
                  <a:pt x="275311" y="0"/>
                </a:moveTo>
                <a:lnTo>
                  <a:pt x="308014" y="0"/>
                </a:lnTo>
                <a:cubicBezTo>
                  <a:pt x="363795" y="0"/>
                  <a:pt x="409185" y="45326"/>
                  <a:pt x="409185" y="101027"/>
                </a:cubicBezTo>
                <a:lnTo>
                  <a:pt x="409185" y="132701"/>
                </a:lnTo>
                <a:cubicBezTo>
                  <a:pt x="412904" y="137944"/>
                  <a:pt x="414982" y="144278"/>
                  <a:pt x="414982" y="150722"/>
                </a:cubicBezTo>
                <a:lnTo>
                  <a:pt x="414982" y="173331"/>
                </a:lnTo>
                <a:cubicBezTo>
                  <a:pt x="414982" y="182505"/>
                  <a:pt x="410826" y="191352"/>
                  <a:pt x="403826" y="197140"/>
                </a:cubicBezTo>
                <a:cubicBezTo>
                  <a:pt x="402076" y="202820"/>
                  <a:pt x="399888" y="208608"/>
                  <a:pt x="397263" y="214288"/>
                </a:cubicBezTo>
                <a:cubicBezTo>
                  <a:pt x="392013" y="227940"/>
                  <a:pt x="384576" y="242029"/>
                  <a:pt x="375498" y="255136"/>
                </a:cubicBezTo>
                <a:cubicBezTo>
                  <a:pt x="371670" y="260706"/>
                  <a:pt x="366639" y="267368"/>
                  <a:pt x="360732" y="273922"/>
                </a:cubicBezTo>
                <a:cubicBezTo>
                  <a:pt x="366092" y="277853"/>
                  <a:pt x="370029" y="282331"/>
                  <a:pt x="371670" y="287574"/>
                </a:cubicBezTo>
                <a:lnTo>
                  <a:pt x="432919" y="306141"/>
                </a:lnTo>
                <a:cubicBezTo>
                  <a:pt x="426685" y="377243"/>
                  <a:pt x="366748" y="433272"/>
                  <a:pt x="294014" y="433272"/>
                </a:cubicBezTo>
                <a:cubicBezTo>
                  <a:pt x="220734" y="433272"/>
                  <a:pt x="160469" y="376478"/>
                  <a:pt x="154891" y="304721"/>
                </a:cubicBezTo>
                <a:lnTo>
                  <a:pt x="211656" y="287574"/>
                </a:lnTo>
                <a:cubicBezTo>
                  <a:pt x="213297" y="282331"/>
                  <a:pt x="217234" y="277853"/>
                  <a:pt x="222593" y="273922"/>
                </a:cubicBezTo>
                <a:cubicBezTo>
                  <a:pt x="216687" y="267368"/>
                  <a:pt x="211656" y="260706"/>
                  <a:pt x="207828" y="255136"/>
                </a:cubicBezTo>
                <a:cubicBezTo>
                  <a:pt x="198750" y="242029"/>
                  <a:pt x="191312" y="227940"/>
                  <a:pt x="186063" y="214288"/>
                </a:cubicBezTo>
                <a:cubicBezTo>
                  <a:pt x="183438" y="208608"/>
                  <a:pt x="181250" y="202820"/>
                  <a:pt x="179500" y="197140"/>
                </a:cubicBezTo>
                <a:cubicBezTo>
                  <a:pt x="172500" y="191242"/>
                  <a:pt x="168344" y="182505"/>
                  <a:pt x="168344" y="173331"/>
                </a:cubicBezTo>
                <a:lnTo>
                  <a:pt x="168344" y="150722"/>
                </a:lnTo>
                <a:cubicBezTo>
                  <a:pt x="168344" y="144278"/>
                  <a:pt x="170422" y="137944"/>
                  <a:pt x="174141" y="132701"/>
                </a:cubicBezTo>
                <a:lnTo>
                  <a:pt x="174141" y="101027"/>
                </a:lnTo>
                <a:cubicBezTo>
                  <a:pt x="174141" y="45326"/>
                  <a:pt x="219531" y="0"/>
                  <a:pt x="275311" y="0"/>
                </a:cubicBezTo>
                <a:close/>
              </a:path>
            </a:pathLst>
          </a:custGeom>
          <a:solidFill>
            <a:schemeClr val="bg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22" name="任意多边形: 形状 21"/>
          <p:cNvSpPr/>
          <p:nvPr/>
        </p:nvSpPr>
        <p:spPr>
          <a:xfrm>
            <a:off x="7525407" y="2463359"/>
            <a:ext cx="519972" cy="422716"/>
          </a:xfrm>
          <a:custGeom>
            <a:avLst/>
            <a:gdLst>
              <a:gd name="connsiteX0" fmla="*/ 390482 w 564166"/>
              <a:gd name="connsiteY0" fmla="*/ 307997 h 458643"/>
              <a:gd name="connsiteX1" fmla="*/ 403395 w 564166"/>
              <a:gd name="connsiteY1" fmla="*/ 307997 h 458643"/>
              <a:gd name="connsiteX2" fmla="*/ 439265 w 564166"/>
              <a:gd name="connsiteY2" fmla="*/ 353908 h 458643"/>
              <a:gd name="connsiteX3" fmla="*/ 434961 w 564166"/>
              <a:gd name="connsiteY3" fmla="*/ 361082 h 458643"/>
              <a:gd name="connsiteX4" fmla="*/ 419178 w 564166"/>
              <a:gd name="connsiteY4" fmla="*/ 361082 h 458643"/>
              <a:gd name="connsiteX5" fmla="*/ 492353 w 564166"/>
              <a:gd name="connsiteY5" fmla="*/ 419905 h 458643"/>
              <a:gd name="connsiteX6" fmla="*/ 512440 w 564166"/>
              <a:gd name="connsiteY6" fmla="*/ 438557 h 458643"/>
              <a:gd name="connsiteX7" fmla="*/ 492353 w 564166"/>
              <a:gd name="connsiteY7" fmla="*/ 458643 h 458643"/>
              <a:gd name="connsiteX8" fmla="*/ 379004 w 564166"/>
              <a:gd name="connsiteY8" fmla="*/ 361082 h 458643"/>
              <a:gd name="connsiteX9" fmla="*/ 358916 w 564166"/>
              <a:gd name="connsiteY9" fmla="*/ 361082 h 458643"/>
              <a:gd name="connsiteX10" fmla="*/ 354612 w 564166"/>
              <a:gd name="connsiteY10" fmla="*/ 353908 h 458643"/>
              <a:gd name="connsiteX11" fmla="*/ 277051 w 564166"/>
              <a:gd name="connsiteY11" fmla="*/ 307997 h 458643"/>
              <a:gd name="connsiteX12" fmla="*/ 288553 w 564166"/>
              <a:gd name="connsiteY12" fmla="*/ 307997 h 458643"/>
              <a:gd name="connsiteX13" fmla="*/ 324497 w 564166"/>
              <a:gd name="connsiteY13" fmla="*/ 353908 h 458643"/>
              <a:gd name="connsiteX14" fmla="*/ 320183 w 564166"/>
              <a:gd name="connsiteY14" fmla="*/ 361082 h 458643"/>
              <a:gd name="connsiteX15" fmla="*/ 301493 w 564166"/>
              <a:gd name="connsiteY15" fmla="*/ 361082 h 458643"/>
              <a:gd name="connsiteX16" fmla="*/ 301493 w 564166"/>
              <a:gd name="connsiteY16" fmla="*/ 438557 h 458643"/>
              <a:gd name="connsiteX17" fmla="*/ 282802 w 564166"/>
              <a:gd name="connsiteY17" fmla="*/ 458643 h 458643"/>
              <a:gd name="connsiteX18" fmla="*/ 262673 w 564166"/>
              <a:gd name="connsiteY18" fmla="*/ 438557 h 458643"/>
              <a:gd name="connsiteX19" fmla="*/ 262673 w 564166"/>
              <a:gd name="connsiteY19" fmla="*/ 361082 h 458643"/>
              <a:gd name="connsiteX20" fmla="*/ 243982 w 564166"/>
              <a:gd name="connsiteY20" fmla="*/ 361082 h 458643"/>
              <a:gd name="connsiteX21" fmla="*/ 239669 w 564166"/>
              <a:gd name="connsiteY21" fmla="*/ 353908 h 458643"/>
              <a:gd name="connsiteX22" fmla="*/ 162189 w 564166"/>
              <a:gd name="connsiteY22" fmla="*/ 307997 h 458643"/>
              <a:gd name="connsiteX23" fmla="*/ 173671 w 564166"/>
              <a:gd name="connsiteY23" fmla="*/ 307997 h 458643"/>
              <a:gd name="connsiteX24" fmla="*/ 209554 w 564166"/>
              <a:gd name="connsiteY24" fmla="*/ 353908 h 458643"/>
              <a:gd name="connsiteX25" fmla="*/ 205248 w 564166"/>
              <a:gd name="connsiteY25" fmla="*/ 361082 h 458643"/>
              <a:gd name="connsiteX26" fmla="*/ 185154 w 564166"/>
              <a:gd name="connsiteY26" fmla="*/ 361082 h 458643"/>
              <a:gd name="connsiteX27" fmla="*/ 71765 w 564166"/>
              <a:gd name="connsiteY27" fmla="*/ 458643 h 458643"/>
              <a:gd name="connsiteX28" fmla="*/ 53106 w 564166"/>
              <a:gd name="connsiteY28" fmla="*/ 438557 h 458643"/>
              <a:gd name="connsiteX29" fmla="*/ 71765 w 564166"/>
              <a:gd name="connsiteY29" fmla="*/ 419905 h 458643"/>
              <a:gd name="connsiteX30" fmla="*/ 146401 w 564166"/>
              <a:gd name="connsiteY30" fmla="*/ 361082 h 458643"/>
              <a:gd name="connsiteX31" fmla="*/ 129177 w 564166"/>
              <a:gd name="connsiteY31" fmla="*/ 361082 h 458643"/>
              <a:gd name="connsiteX32" fmla="*/ 124871 w 564166"/>
              <a:gd name="connsiteY32" fmla="*/ 353908 h 458643"/>
              <a:gd name="connsiteX33" fmla="*/ 340222 w 564166"/>
              <a:gd name="connsiteY33" fmla="*/ 0 h 458643"/>
              <a:gd name="connsiteX34" fmla="*/ 453630 w 564166"/>
              <a:gd name="connsiteY34" fmla="*/ 118973 h 458643"/>
              <a:gd name="connsiteX35" fmla="*/ 525407 w 564166"/>
              <a:gd name="connsiteY35" fmla="*/ 179176 h 458643"/>
              <a:gd name="connsiteX36" fmla="*/ 564166 w 564166"/>
              <a:gd name="connsiteY36" fmla="*/ 232212 h 458643"/>
              <a:gd name="connsiteX37" fmla="*/ 518229 w 564166"/>
              <a:gd name="connsiteY37" fmla="*/ 286681 h 458643"/>
              <a:gd name="connsiteX38" fmla="*/ 45937 w 564166"/>
              <a:gd name="connsiteY38" fmla="*/ 286681 h 458643"/>
              <a:gd name="connsiteX39" fmla="*/ 0 w 564166"/>
              <a:gd name="connsiteY39" fmla="*/ 232212 h 458643"/>
              <a:gd name="connsiteX40" fmla="*/ 45937 w 564166"/>
              <a:gd name="connsiteY40" fmla="*/ 179176 h 458643"/>
              <a:gd name="connsiteX41" fmla="*/ 111972 w 564166"/>
              <a:gd name="connsiteY41" fmla="*/ 103205 h 458643"/>
              <a:gd name="connsiteX42" fmla="*/ 134941 w 564166"/>
              <a:gd name="connsiteY42" fmla="*/ 107505 h 458643"/>
              <a:gd name="connsiteX43" fmla="*/ 209589 w 564166"/>
              <a:gd name="connsiteY43" fmla="*/ 22934 h 458643"/>
              <a:gd name="connsiteX44" fmla="*/ 256961 w 564166"/>
              <a:gd name="connsiteY44" fmla="*/ 43002 h 458643"/>
              <a:gd name="connsiteX45" fmla="*/ 340222 w 564166"/>
              <a:gd name="connsiteY45" fmla="*/ 0 h 458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564166" h="458643">
                <a:moveTo>
                  <a:pt x="390482" y="307997"/>
                </a:moveTo>
                <a:cubicBezTo>
                  <a:pt x="394786" y="303693"/>
                  <a:pt x="399091" y="303693"/>
                  <a:pt x="403395" y="307997"/>
                </a:cubicBezTo>
                <a:lnTo>
                  <a:pt x="439265" y="353908"/>
                </a:lnTo>
                <a:cubicBezTo>
                  <a:pt x="442135" y="358212"/>
                  <a:pt x="440700" y="361082"/>
                  <a:pt x="434961" y="361082"/>
                </a:cubicBezTo>
                <a:lnTo>
                  <a:pt x="419178" y="361082"/>
                </a:lnTo>
                <a:cubicBezTo>
                  <a:pt x="426352" y="394081"/>
                  <a:pt x="456483" y="419905"/>
                  <a:pt x="492353" y="419905"/>
                </a:cubicBezTo>
                <a:cubicBezTo>
                  <a:pt x="503831" y="419905"/>
                  <a:pt x="512440" y="428514"/>
                  <a:pt x="512440" y="438557"/>
                </a:cubicBezTo>
                <a:cubicBezTo>
                  <a:pt x="512440" y="450035"/>
                  <a:pt x="503831" y="458643"/>
                  <a:pt x="492353" y="458643"/>
                </a:cubicBezTo>
                <a:cubicBezTo>
                  <a:pt x="434961" y="458643"/>
                  <a:pt x="387612" y="415601"/>
                  <a:pt x="379004" y="361082"/>
                </a:cubicBezTo>
                <a:lnTo>
                  <a:pt x="358916" y="361082"/>
                </a:lnTo>
                <a:cubicBezTo>
                  <a:pt x="353177" y="361082"/>
                  <a:pt x="351742" y="358212"/>
                  <a:pt x="354612" y="353908"/>
                </a:cubicBezTo>
                <a:close/>
                <a:moveTo>
                  <a:pt x="277051" y="307997"/>
                </a:moveTo>
                <a:cubicBezTo>
                  <a:pt x="279926" y="303693"/>
                  <a:pt x="285677" y="303693"/>
                  <a:pt x="288553" y="307997"/>
                </a:cubicBezTo>
                <a:lnTo>
                  <a:pt x="324497" y="353908"/>
                </a:lnTo>
                <a:cubicBezTo>
                  <a:pt x="327372" y="358212"/>
                  <a:pt x="325934" y="361082"/>
                  <a:pt x="320183" y="361082"/>
                </a:cubicBezTo>
                <a:lnTo>
                  <a:pt x="301493" y="361082"/>
                </a:lnTo>
                <a:lnTo>
                  <a:pt x="301493" y="438557"/>
                </a:lnTo>
                <a:cubicBezTo>
                  <a:pt x="301493" y="450035"/>
                  <a:pt x="292866" y="458643"/>
                  <a:pt x="282802" y="458643"/>
                </a:cubicBezTo>
                <a:cubicBezTo>
                  <a:pt x="271300" y="458643"/>
                  <a:pt x="262673" y="450035"/>
                  <a:pt x="262673" y="438557"/>
                </a:cubicBezTo>
                <a:lnTo>
                  <a:pt x="262673" y="361082"/>
                </a:lnTo>
                <a:lnTo>
                  <a:pt x="243982" y="361082"/>
                </a:lnTo>
                <a:cubicBezTo>
                  <a:pt x="238231" y="361082"/>
                  <a:pt x="236793" y="358212"/>
                  <a:pt x="239669" y="353908"/>
                </a:cubicBezTo>
                <a:close/>
                <a:moveTo>
                  <a:pt x="162189" y="307997"/>
                </a:moveTo>
                <a:cubicBezTo>
                  <a:pt x="165059" y="303693"/>
                  <a:pt x="169365" y="303693"/>
                  <a:pt x="173671" y="307997"/>
                </a:cubicBezTo>
                <a:lnTo>
                  <a:pt x="209554" y="353908"/>
                </a:lnTo>
                <a:cubicBezTo>
                  <a:pt x="212424" y="358212"/>
                  <a:pt x="210989" y="361082"/>
                  <a:pt x="205248" y="361082"/>
                </a:cubicBezTo>
                <a:lnTo>
                  <a:pt x="185154" y="361082"/>
                </a:lnTo>
                <a:cubicBezTo>
                  <a:pt x="176542" y="415601"/>
                  <a:pt x="129177" y="458643"/>
                  <a:pt x="71765" y="458643"/>
                </a:cubicBezTo>
                <a:cubicBezTo>
                  <a:pt x="61718" y="458643"/>
                  <a:pt x="53106" y="450035"/>
                  <a:pt x="53106" y="438557"/>
                </a:cubicBezTo>
                <a:cubicBezTo>
                  <a:pt x="53106" y="428514"/>
                  <a:pt x="61718" y="419905"/>
                  <a:pt x="71765" y="419905"/>
                </a:cubicBezTo>
                <a:cubicBezTo>
                  <a:pt x="107648" y="419905"/>
                  <a:pt x="137789" y="394081"/>
                  <a:pt x="146401" y="361082"/>
                </a:cubicBezTo>
                <a:lnTo>
                  <a:pt x="129177" y="361082"/>
                </a:lnTo>
                <a:cubicBezTo>
                  <a:pt x="123436" y="361082"/>
                  <a:pt x="122001" y="358212"/>
                  <a:pt x="124871" y="353908"/>
                </a:cubicBezTo>
                <a:close/>
                <a:moveTo>
                  <a:pt x="340222" y="0"/>
                </a:moveTo>
                <a:cubicBezTo>
                  <a:pt x="399079" y="0"/>
                  <a:pt x="447888" y="51603"/>
                  <a:pt x="453630" y="118973"/>
                </a:cubicBezTo>
                <a:cubicBezTo>
                  <a:pt x="488083" y="118973"/>
                  <a:pt x="515358" y="144774"/>
                  <a:pt x="525407" y="179176"/>
                </a:cubicBezTo>
                <a:cubicBezTo>
                  <a:pt x="546940" y="183476"/>
                  <a:pt x="564166" y="204977"/>
                  <a:pt x="564166" y="232212"/>
                </a:cubicBezTo>
                <a:cubicBezTo>
                  <a:pt x="564166" y="262313"/>
                  <a:pt x="544069" y="286681"/>
                  <a:pt x="518229" y="286681"/>
                </a:cubicBezTo>
                <a:lnTo>
                  <a:pt x="45937" y="286681"/>
                </a:lnTo>
                <a:cubicBezTo>
                  <a:pt x="20097" y="286681"/>
                  <a:pt x="0" y="262313"/>
                  <a:pt x="0" y="232212"/>
                </a:cubicBezTo>
                <a:cubicBezTo>
                  <a:pt x="0" y="202110"/>
                  <a:pt x="20097" y="179176"/>
                  <a:pt x="45937" y="179176"/>
                </a:cubicBezTo>
                <a:cubicBezTo>
                  <a:pt x="45937" y="136173"/>
                  <a:pt x="76084" y="103205"/>
                  <a:pt x="111972" y="103205"/>
                </a:cubicBezTo>
                <a:cubicBezTo>
                  <a:pt x="119150" y="103205"/>
                  <a:pt x="127763" y="104639"/>
                  <a:pt x="134941" y="107505"/>
                </a:cubicBezTo>
                <a:cubicBezTo>
                  <a:pt x="134941" y="60203"/>
                  <a:pt x="169394" y="22934"/>
                  <a:pt x="209589" y="22934"/>
                </a:cubicBezTo>
                <a:cubicBezTo>
                  <a:pt x="228251" y="22934"/>
                  <a:pt x="244042" y="30102"/>
                  <a:pt x="256961" y="43002"/>
                </a:cubicBezTo>
                <a:cubicBezTo>
                  <a:pt x="278494" y="15767"/>
                  <a:pt x="307205" y="0"/>
                  <a:pt x="340222" y="0"/>
                </a:cubicBezTo>
                <a:close/>
              </a:path>
            </a:pathLst>
          </a:custGeom>
          <a:solidFill>
            <a:schemeClr val="bg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043AB2E2-323A-4E84-B9C1-F2ED1E853B7E}"/>
              </a:ext>
            </a:extLst>
          </p:cNvPr>
          <p:cNvSpPr txBox="1"/>
          <p:nvPr/>
        </p:nvSpPr>
        <p:spPr>
          <a:xfrm>
            <a:off x="6838880" y="3551657"/>
            <a:ext cx="1893026" cy="1267668"/>
          </a:xfrm>
          <a:prstGeom prst="rect">
            <a:avLst/>
          </a:prstGeom>
          <a:noFill/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zh-CN" sz="1100">
                <a:cs typeface="+mn-ea"/>
                <a:sym typeface="+mn-lt"/>
              </a:rPr>
              <a:t>Copy pas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te </a:t>
            </a:r>
            <a:r>
              <a:rPr lang="en-US" altLang="zh-CN" sz="1100" dirty="0">
                <a:cs typeface="+mn-ea"/>
                <a:sym typeface="+mn-lt"/>
              </a:rPr>
              <a:t>fonts. Choose the only option to retain text.</a:t>
            </a:r>
          </a:p>
          <a:p>
            <a:pPr algn="ctr">
              <a:lnSpc>
                <a:spcPct val="130000"/>
              </a:lnSpc>
            </a:pPr>
            <a:endParaRPr lang="en-US" altLang="zh-CN" sz="1100" dirty="0">
              <a:cs typeface="+mn-ea"/>
              <a:sym typeface="+mn-lt"/>
            </a:endParaRPr>
          </a:p>
          <a:p>
            <a:pPr algn="ctr">
              <a:lnSpc>
                <a:spcPct val="130000"/>
              </a:lnSpc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043AB2E2-323A-4E84-B9C1-F2ED1E853B7E}"/>
              </a:ext>
            </a:extLst>
          </p:cNvPr>
          <p:cNvSpPr txBox="1"/>
          <p:nvPr/>
        </p:nvSpPr>
        <p:spPr>
          <a:xfrm>
            <a:off x="6838880" y="4850232"/>
            <a:ext cx="1893026" cy="1267668"/>
          </a:xfrm>
          <a:prstGeom prst="rect">
            <a:avLst/>
          </a:prstGeom>
          <a:noFill/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zh-CN" sz="1100">
                <a:cs typeface="+mn-ea"/>
                <a:sym typeface="+mn-lt"/>
              </a:rPr>
              <a:t>Copy pas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te </a:t>
            </a:r>
            <a:r>
              <a:rPr lang="en-US" altLang="zh-CN" sz="1100" dirty="0">
                <a:cs typeface="+mn-ea"/>
                <a:sym typeface="+mn-lt"/>
              </a:rPr>
              <a:t>fonts. Choose the only option to retain text.</a:t>
            </a:r>
          </a:p>
          <a:p>
            <a:pPr algn="ctr">
              <a:lnSpc>
                <a:spcPct val="130000"/>
              </a:lnSpc>
            </a:pPr>
            <a:endParaRPr lang="en-US" altLang="zh-CN" sz="1100" dirty="0">
              <a:cs typeface="+mn-ea"/>
              <a:sym typeface="+mn-lt"/>
            </a:endParaRPr>
          </a:p>
          <a:p>
            <a:pPr algn="ctr">
              <a:lnSpc>
                <a:spcPct val="130000"/>
              </a:lnSpc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</p:txBody>
      </p:sp>
    </p:spTree>
    <p:extLst>
      <p:ext uri="{BB962C8B-B14F-4D97-AF65-F5344CB8AC3E}">
        <p14:creationId xmlns:p14="http://schemas.microsoft.com/office/powerpoint/2010/main" val="30813316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512149" y="2951599"/>
            <a:ext cx="5572087" cy="895350"/>
          </a:xfrm>
        </p:spPr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个人防护和手卫生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5512149" y="3846949"/>
            <a:ext cx="5572087" cy="1015623"/>
          </a:xfrm>
        </p:spPr>
        <p:txBody>
          <a:bodyPr/>
          <a:lstStyle/>
          <a:p>
            <a:pPr lvl="0"/>
            <a:r>
              <a:rPr lang="en-US" altLang="zh-CN">
                <a:cs typeface="+mn-ea"/>
                <a:sym typeface="+mn-lt"/>
              </a:rPr>
              <a:t>Supporting text  here.</a:t>
            </a:r>
          </a:p>
          <a:p>
            <a:pPr lvl="0"/>
            <a:r>
              <a:rPr lang="en-US" altLang="zh-CN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653575" y="238681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cs typeface="+mn-ea"/>
                <a:sym typeface="+mn-lt"/>
              </a:rPr>
              <a:t>/</a:t>
            </a:r>
            <a:r>
              <a:rPr lang="en-US" altLang="zh-CN" sz="100" spc="100" dirty="0">
                <a:solidFill>
                  <a:schemeClr val="bg1"/>
                </a:solidFill>
                <a:cs typeface="+mn-ea"/>
                <a:sym typeface="+mn-lt"/>
              </a:rPr>
              <a:t> </a:t>
            </a:r>
            <a:r>
              <a:rPr lang="en-US" altLang="zh-CN" spc="100" dirty="0">
                <a:solidFill>
                  <a:schemeClr val="bg1"/>
                </a:solidFill>
                <a:cs typeface="+mn-ea"/>
                <a:sym typeface="+mn-lt"/>
              </a:rPr>
              <a:t>02</a:t>
            </a:r>
            <a:endParaRPr lang="zh-CN" altLang="en-US" spc="1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560568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个人防护和手卫生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8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39" name="任意多边形: 形状 38"/>
          <p:cNvSpPr/>
          <p:nvPr/>
        </p:nvSpPr>
        <p:spPr>
          <a:xfrm>
            <a:off x="6119171" y="2989483"/>
            <a:ext cx="1453105" cy="489212"/>
          </a:xfrm>
          <a:custGeom>
            <a:avLst/>
            <a:gdLst>
              <a:gd name="connsiteX0" fmla="*/ 0 w 1274955"/>
              <a:gd name="connsiteY0" fmla="*/ 0 h 429235"/>
              <a:gd name="connsiteX1" fmla="*/ 132791 w 1274955"/>
              <a:gd name="connsiteY1" fmla="*/ 3672 h 429235"/>
              <a:gd name="connsiteX2" fmla="*/ 1146443 w 1274955"/>
              <a:gd name="connsiteY2" fmla="*/ 257839 h 429235"/>
              <a:gd name="connsiteX3" fmla="*/ 1274955 w 1274955"/>
              <a:gd name="connsiteY3" fmla="*/ 322674 h 429235"/>
              <a:gd name="connsiteX4" fmla="*/ 1213432 w 1274955"/>
              <a:gd name="connsiteY4" fmla="*/ 429235 h 429235"/>
              <a:gd name="connsiteX5" fmla="*/ 1094514 w 1274955"/>
              <a:gd name="connsiteY5" fmla="*/ 369241 h 429235"/>
              <a:gd name="connsiteX6" fmla="*/ 125878 w 1274955"/>
              <a:gd name="connsiteY6" fmla="*/ 126361 h 429235"/>
              <a:gd name="connsiteX7" fmla="*/ 0 w 1274955"/>
              <a:gd name="connsiteY7" fmla="*/ 122880 h 429235"/>
              <a:gd name="connsiteX8" fmla="*/ 0 w 1274955"/>
              <a:gd name="connsiteY8" fmla="*/ 0 h 429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74955" h="429235">
                <a:moveTo>
                  <a:pt x="0" y="0"/>
                </a:moveTo>
                <a:lnTo>
                  <a:pt x="132791" y="3672"/>
                </a:lnTo>
                <a:cubicBezTo>
                  <a:pt x="493432" y="23669"/>
                  <a:pt x="835651" y="112726"/>
                  <a:pt x="1146443" y="257839"/>
                </a:cubicBezTo>
                <a:lnTo>
                  <a:pt x="1274955" y="322674"/>
                </a:lnTo>
                <a:lnTo>
                  <a:pt x="1213432" y="429235"/>
                </a:lnTo>
                <a:lnTo>
                  <a:pt x="1094514" y="369241"/>
                </a:lnTo>
                <a:cubicBezTo>
                  <a:pt x="797524" y="230572"/>
                  <a:pt x="470503" y="145470"/>
                  <a:pt x="125878" y="126361"/>
                </a:cubicBezTo>
                <a:lnTo>
                  <a:pt x="0" y="12288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40" name="任意多边形: 形状 39"/>
          <p:cNvSpPr/>
          <p:nvPr/>
        </p:nvSpPr>
        <p:spPr>
          <a:xfrm>
            <a:off x="6108339" y="3227893"/>
            <a:ext cx="1345220" cy="452891"/>
          </a:xfrm>
          <a:custGeom>
            <a:avLst/>
            <a:gdLst>
              <a:gd name="connsiteX0" fmla="*/ 0 w 1274955"/>
              <a:gd name="connsiteY0" fmla="*/ 0 h 429235"/>
              <a:gd name="connsiteX1" fmla="*/ 132791 w 1274955"/>
              <a:gd name="connsiteY1" fmla="*/ 3672 h 429235"/>
              <a:gd name="connsiteX2" fmla="*/ 1146443 w 1274955"/>
              <a:gd name="connsiteY2" fmla="*/ 257839 h 429235"/>
              <a:gd name="connsiteX3" fmla="*/ 1274955 w 1274955"/>
              <a:gd name="connsiteY3" fmla="*/ 322674 h 429235"/>
              <a:gd name="connsiteX4" fmla="*/ 1213432 w 1274955"/>
              <a:gd name="connsiteY4" fmla="*/ 429235 h 429235"/>
              <a:gd name="connsiteX5" fmla="*/ 1094514 w 1274955"/>
              <a:gd name="connsiteY5" fmla="*/ 369241 h 429235"/>
              <a:gd name="connsiteX6" fmla="*/ 125878 w 1274955"/>
              <a:gd name="connsiteY6" fmla="*/ 126361 h 429235"/>
              <a:gd name="connsiteX7" fmla="*/ 0 w 1274955"/>
              <a:gd name="connsiteY7" fmla="*/ 122880 h 429235"/>
              <a:gd name="connsiteX8" fmla="*/ 0 w 1274955"/>
              <a:gd name="connsiteY8" fmla="*/ 0 h 429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74955" h="429235">
                <a:moveTo>
                  <a:pt x="0" y="0"/>
                </a:moveTo>
                <a:lnTo>
                  <a:pt x="132791" y="3672"/>
                </a:lnTo>
                <a:cubicBezTo>
                  <a:pt x="493432" y="23669"/>
                  <a:pt x="835651" y="112726"/>
                  <a:pt x="1146443" y="257839"/>
                </a:cubicBezTo>
                <a:lnTo>
                  <a:pt x="1274955" y="322674"/>
                </a:lnTo>
                <a:lnTo>
                  <a:pt x="1213432" y="429235"/>
                </a:lnTo>
                <a:lnTo>
                  <a:pt x="1094514" y="369241"/>
                </a:lnTo>
                <a:cubicBezTo>
                  <a:pt x="797524" y="230572"/>
                  <a:pt x="470503" y="145470"/>
                  <a:pt x="125878" y="126361"/>
                </a:cubicBezTo>
                <a:lnTo>
                  <a:pt x="0" y="12288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41" name="任意多边形: 形状 40"/>
          <p:cNvSpPr/>
          <p:nvPr/>
        </p:nvSpPr>
        <p:spPr>
          <a:xfrm>
            <a:off x="4618735" y="2990072"/>
            <a:ext cx="1448323" cy="486944"/>
          </a:xfrm>
          <a:custGeom>
            <a:avLst/>
            <a:gdLst>
              <a:gd name="connsiteX0" fmla="*/ 1270760 w 1270760"/>
              <a:gd name="connsiteY0" fmla="*/ 0 h 427246"/>
              <a:gd name="connsiteX1" fmla="*/ 1270760 w 1270760"/>
              <a:gd name="connsiteY1" fmla="*/ 122880 h 427246"/>
              <a:gd name="connsiteX2" fmla="*/ 1023265 w 1270760"/>
              <a:gd name="connsiteY2" fmla="*/ 135378 h 427246"/>
              <a:gd name="connsiteX3" fmla="*/ 89842 w 1270760"/>
              <a:gd name="connsiteY3" fmla="*/ 411001 h 427246"/>
              <a:gd name="connsiteX4" fmla="*/ 61388 w 1270760"/>
              <a:gd name="connsiteY4" fmla="*/ 427246 h 427246"/>
              <a:gd name="connsiteX5" fmla="*/ 0 w 1270760"/>
              <a:gd name="connsiteY5" fmla="*/ 320918 h 427246"/>
              <a:gd name="connsiteX6" fmla="*/ 33900 w 1270760"/>
              <a:gd name="connsiteY6" fmla="*/ 301564 h 427246"/>
              <a:gd name="connsiteX7" fmla="*/ 1010702 w 1270760"/>
              <a:gd name="connsiteY7" fmla="*/ 13132 h 427246"/>
              <a:gd name="connsiteX8" fmla="*/ 1270760 w 1270760"/>
              <a:gd name="connsiteY8" fmla="*/ 0 h 42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70760" h="427246">
                <a:moveTo>
                  <a:pt x="1270760" y="0"/>
                </a:moveTo>
                <a:lnTo>
                  <a:pt x="1270760" y="122880"/>
                </a:lnTo>
                <a:lnTo>
                  <a:pt x="1023265" y="135378"/>
                </a:lnTo>
                <a:cubicBezTo>
                  <a:pt x="689926" y="169231"/>
                  <a:pt x="374892" y="264999"/>
                  <a:pt x="89842" y="411001"/>
                </a:cubicBezTo>
                <a:lnTo>
                  <a:pt x="61388" y="427246"/>
                </a:lnTo>
                <a:lnTo>
                  <a:pt x="0" y="320918"/>
                </a:lnTo>
                <a:lnTo>
                  <a:pt x="33900" y="301564"/>
                </a:lnTo>
                <a:cubicBezTo>
                  <a:pt x="332197" y="148777"/>
                  <a:pt x="661872" y="48558"/>
                  <a:pt x="1010702" y="13132"/>
                </a:cubicBezTo>
                <a:lnTo>
                  <a:pt x="127076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42" name="任意多边形: 形状 41"/>
          <p:cNvSpPr/>
          <p:nvPr/>
        </p:nvSpPr>
        <p:spPr>
          <a:xfrm>
            <a:off x="4719302" y="3228437"/>
            <a:ext cx="1340794" cy="450791"/>
          </a:xfrm>
          <a:custGeom>
            <a:avLst/>
            <a:gdLst>
              <a:gd name="connsiteX0" fmla="*/ 1270760 w 1270760"/>
              <a:gd name="connsiteY0" fmla="*/ 0 h 427246"/>
              <a:gd name="connsiteX1" fmla="*/ 1270760 w 1270760"/>
              <a:gd name="connsiteY1" fmla="*/ 122880 h 427246"/>
              <a:gd name="connsiteX2" fmla="*/ 1023265 w 1270760"/>
              <a:gd name="connsiteY2" fmla="*/ 135378 h 427246"/>
              <a:gd name="connsiteX3" fmla="*/ 89842 w 1270760"/>
              <a:gd name="connsiteY3" fmla="*/ 411001 h 427246"/>
              <a:gd name="connsiteX4" fmla="*/ 61388 w 1270760"/>
              <a:gd name="connsiteY4" fmla="*/ 427246 h 427246"/>
              <a:gd name="connsiteX5" fmla="*/ 0 w 1270760"/>
              <a:gd name="connsiteY5" fmla="*/ 320918 h 427246"/>
              <a:gd name="connsiteX6" fmla="*/ 33900 w 1270760"/>
              <a:gd name="connsiteY6" fmla="*/ 301564 h 427246"/>
              <a:gd name="connsiteX7" fmla="*/ 1010702 w 1270760"/>
              <a:gd name="connsiteY7" fmla="*/ 13132 h 427246"/>
              <a:gd name="connsiteX8" fmla="*/ 1270760 w 1270760"/>
              <a:gd name="connsiteY8" fmla="*/ 0 h 427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70760" h="427246">
                <a:moveTo>
                  <a:pt x="1270760" y="0"/>
                </a:moveTo>
                <a:lnTo>
                  <a:pt x="1270760" y="122880"/>
                </a:lnTo>
                <a:lnTo>
                  <a:pt x="1023265" y="135378"/>
                </a:lnTo>
                <a:cubicBezTo>
                  <a:pt x="689926" y="169231"/>
                  <a:pt x="374892" y="264999"/>
                  <a:pt x="89842" y="411001"/>
                </a:cubicBezTo>
                <a:lnTo>
                  <a:pt x="61388" y="427246"/>
                </a:lnTo>
                <a:lnTo>
                  <a:pt x="0" y="320918"/>
                </a:lnTo>
                <a:lnTo>
                  <a:pt x="33900" y="301564"/>
                </a:lnTo>
                <a:cubicBezTo>
                  <a:pt x="332197" y="148777"/>
                  <a:pt x="661872" y="48558"/>
                  <a:pt x="1010702" y="13132"/>
                </a:cubicBezTo>
                <a:lnTo>
                  <a:pt x="127076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43" name="任意多边形: 形状 42"/>
          <p:cNvSpPr/>
          <p:nvPr/>
        </p:nvSpPr>
        <p:spPr>
          <a:xfrm>
            <a:off x="3460221" y="3381667"/>
            <a:ext cx="1183228" cy="1095692"/>
          </a:xfrm>
          <a:custGeom>
            <a:avLst/>
            <a:gdLst>
              <a:gd name="connsiteX0" fmla="*/ 976777 w 1038165"/>
              <a:gd name="connsiteY0" fmla="*/ 0 h 961362"/>
              <a:gd name="connsiteX1" fmla="*/ 1038165 w 1038165"/>
              <a:gd name="connsiteY1" fmla="*/ 106327 h 961362"/>
              <a:gd name="connsiteX2" fmla="*/ 898342 w 1038165"/>
              <a:gd name="connsiteY2" fmla="*/ 186153 h 961362"/>
              <a:gd name="connsiteX3" fmla="*/ 182909 w 1038165"/>
              <a:gd name="connsiteY3" fmla="*/ 851433 h 961362"/>
              <a:gd name="connsiteX4" fmla="*/ 106738 w 1038165"/>
              <a:gd name="connsiteY4" fmla="*/ 961362 h 961362"/>
              <a:gd name="connsiteX5" fmla="*/ 0 w 1038165"/>
              <a:gd name="connsiteY5" fmla="*/ 899737 h 961362"/>
              <a:gd name="connsiteX6" fmla="*/ 84055 w 1038165"/>
              <a:gd name="connsiteY6" fmla="*/ 778430 h 961362"/>
              <a:gd name="connsiteX7" fmla="*/ 832735 w 1038165"/>
              <a:gd name="connsiteY7" fmla="*/ 82234 h 961362"/>
              <a:gd name="connsiteX8" fmla="*/ 976777 w 1038165"/>
              <a:gd name="connsiteY8" fmla="*/ 0 h 961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38165" h="961362">
                <a:moveTo>
                  <a:pt x="976777" y="0"/>
                </a:moveTo>
                <a:lnTo>
                  <a:pt x="1038165" y="106327"/>
                </a:lnTo>
                <a:lnTo>
                  <a:pt x="898342" y="186153"/>
                </a:lnTo>
                <a:cubicBezTo>
                  <a:pt x="620599" y="361867"/>
                  <a:pt x="377851" y="587897"/>
                  <a:pt x="182909" y="851433"/>
                </a:cubicBezTo>
                <a:lnTo>
                  <a:pt x="106738" y="961362"/>
                </a:lnTo>
                <a:lnTo>
                  <a:pt x="0" y="899737"/>
                </a:lnTo>
                <a:lnTo>
                  <a:pt x="84055" y="778430"/>
                </a:lnTo>
                <a:cubicBezTo>
                  <a:pt x="288056" y="502648"/>
                  <a:pt x="542085" y="266114"/>
                  <a:pt x="832735" y="82234"/>
                </a:cubicBezTo>
                <a:lnTo>
                  <a:pt x="976777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44" name="任意多边形: 形状 43"/>
          <p:cNvSpPr/>
          <p:nvPr/>
        </p:nvSpPr>
        <p:spPr>
          <a:xfrm>
            <a:off x="3646801" y="3590959"/>
            <a:ext cx="1095379" cy="1014343"/>
          </a:xfrm>
          <a:custGeom>
            <a:avLst/>
            <a:gdLst>
              <a:gd name="connsiteX0" fmla="*/ 976777 w 1038165"/>
              <a:gd name="connsiteY0" fmla="*/ 0 h 961362"/>
              <a:gd name="connsiteX1" fmla="*/ 1038165 w 1038165"/>
              <a:gd name="connsiteY1" fmla="*/ 106327 h 961362"/>
              <a:gd name="connsiteX2" fmla="*/ 898342 w 1038165"/>
              <a:gd name="connsiteY2" fmla="*/ 186153 h 961362"/>
              <a:gd name="connsiteX3" fmla="*/ 182909 w 1038165"/>
              <a:gd name="connsiteY3" fmla="*/ 851433 h 961362"/>
              <a:gd name="connsiteX4" fmla="*/ 106738 w 1038165"/>
              <a:gd name="connsiteY4" fmla="*/ 961362 h 961362"/>
              <a:gd name="connsiteX5" fmla="*/ 0 w 1038165"/>
              <a:gd name="connsiteY5" fmla="*/ 899737 h 961362"/>
              <a:gd name="connsiteX6" fmla="*/ 84055 w 1038165"/>
              <a:gd name="connsiteY6" fmla="*/ 778430 h 961362"/>
              <a:gd name="connsiteX7" fmla="*/ 832735 w 1038165"/>
              <a:gd name="connsiteY7" fmla="*/ 82234 h 961362"/>
              <a:gd name="connsiteX8" fmla="*/ 976777 w 1038165"/>
              <a:gd name="connsiteY8" fmla="*/ 0 h 961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38165" h="961362">
                <a:moveTo>
                  <a:pt x="976777" y="0"/>
                </a:moveTo>
                <a:lnTo>
                  <a:pt x="1038165" y="106327"/>
                </a:lnTo>
                <a:lnTo>
                  <a:pt x="898342" y="186153"/>
                </a:lnTo>
                <a:cubicBezTo>
                  <a:pt x="620599" y="361867"/>
                  <a:pt x="377851" y="587897"/>
                  <a:pt x="182909" y="851433"/>
                </a:cubicBezTo>
                <a:lnTo>
                  <a:pt x="106738" y="961362"/>
                </a:lnTo>
                <a:lnTo>
                  <a:pt x="0" y="899737"/>
                </a:lnTo>
                <a:lnTo>
                  <a:pt x="84055" y="778430"/>
                </a:lnTo>
                <a:cubicBezTo>
                  <a:pt x="288056" y="502648"/>
                  <a:pt x="542085" y="266114"/>
                  <a:pt x="832735" y="82234"/>
                </a:cubicBezTo>
                <a:lnTo>
                  <a:pt x="976777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45" name="任意多边形: 形状 44"/>
          <p:cNvSpPr/>
          <p:nvPr/>
        </p:nvSpPr>
        <p:spPr>
          <a:xfrm>
            <a:off x="2939385" y="4450870"/>
            <a:ext cx="613664" cy="1691613"/>
          </a:xfrm>
          <a:custGeom>
            <a:avLst/>
            <a:gdLst>
              <a:gd name="connsiteX0" fmla="*/ 432025 w 538429"/>
              <a:gd name="connsiteY0" fmla="*/ 0 h 1484224"/>
              <a:gd name="connsiteX1" fmla="*/ 538429 w 538429"/>
              <a:gd name="connsiteY1" fmla="*/ 61432 h 1484224"/>
              <a:gd name="connsiteX2" fmla="*/ 461359 w 538429"/>
              <a:gd name="connsiteY2" fmla="*/ 188876 h 1484224"/>
              <a:gd name="connsiteX3" fmla="*/ 122880 w 538429"/>
              <a:gd name="connsiteY3" fmla="*/ 1484223 h 1484224"/>
              <a:gd name="connsiteX4" fmla="*/ 122880 w 538429"/>
              <a:gd name="connsiteY4" fmla="*/ 1484224 h 1484224"/>
              <a:gd name="connsiteX5" fmla="*/ 0 w 538429"/>
              <a:gd name="connsiteY5" fmla="*/ 1484224 h 1484224"/>
              <a:gd name="connsiteX6" fmla="*/ 354208 w 538429"/>
              <a:gd name="connsiteY6" fmla="*/ 128679 h 1484224"/>
              <a:gd name="connsiteX7" fmla="*/ 432025 w 538429"/>
              <a:gd name="connsiteY7" fmla="*/ 0 h 1484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38429" h="1484224">
                <a:moveTo>
                  <a:pt x="432025" y="0"/>
                </a:moveTo>
                <a:lnTo>
                  <a:pt x="538429" y="61432"/>
                </a:lnTo>
                <a:lnTo>
                  <a:pt x="461359" y="188876"/>
                </a:lnTo>
                <a:cubicBezTo>
                  <a:pt x="245829" y="571697"/>
                  <a:pt x="122880" y="1013602"/>
                  <a:pt x="122880" y="1484223"/>
                </a:cubicBezTo>
                <a:lnTo>
                  <a:pt x="122880" y="1484224"/>
                </a:lnTo>
                <a:lnTo>
                  <a:pt x="0" y="1484224"/>
                </a:lnTo>
                <a:cubicBezTo>
                  <a:pt x="0" y="991732"/>
                  <a:pt x="128663" y="529291"/>
                  <a:pt x="354208" y="128679"/>
                </a:cubicBezTo>
                <a:lnTo>
                  <a:pt x="432025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46" name="任意多边形: 形状 45"/>
          <p:cNvSpPr/>
          <p:nvPr/>
        </p:nvSpPr>
        <p:spPr>
          <a:xfrm>
            <a:off x="3164634" y="4580780"/>
            <a:ext cx="568103" cy="1566020"/>
          </a:xfrm>
          <a:custGeom>
            <a:avLst/>
            <a:gdLst>
              <a:gd name="connsiteX0" fmla="*/ 432025 w 538429"/>
              <a:gd name="connsiteY0" fmla="*/ 0 h 1484224"/>
              <a:gd name="connsiteX1" fmla="*/ 538429 w 538429"/>
              <a:gd name="connsiteY1" fmla="*/ 61432 h 1484224"/>
              <a:gd name="connsiteX2" fmla="*/ 461359 w 538429"/>
              <a:gd name="connsiteY2" fmla="*/ 188876 h 1484224"/>
              <a:gd name="connsiteX3" fmla="*/ 122880 w 538429"/>
              <a:gd name="connsiteY3" fmla="*/ 1484223 h 1484224"/>
              <a:gd name="connsiteX4" fmla="*/ 122880 w 538429"/>
              <a:gd name="connsiteY4" fmla="*/ 1484224 h 1484224"/>
              <a:gd name="connsiteX5" fmla="*/ 0 w 538429"/>
              <a:gd name="connsiteY5" fmla="*/ 1484224 h 1484224"/>
              <a:gd name="connsiteX6" fmla="*/ 354208 w 538429"/>
              <a:gd name="connsiteY6" fmla="*/ 128679 h 1484224"/>
              <a:gd name="connsiteX7" fmla="*/ 432025 w 538429"/>
              <a:gd name="connsiteY7" fmla="*/ 0 h 1484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38429" h="1484224">
                <a:moveTo>
                  <a:pt x="432025" y="0"/>
                </a:moveTo>
                <a:lnTo>
                  <a:pt x="538429" y="61432"/>
                </a:lnTo>
                <a:lnTo>
                  <a:pt x="461359" y="188876"/>
                </a:lnTo>
                <a:cubicBezTo>
                  <a:pt x="245829" y="571697"/>
                  <a:pt x="122880" y="1013602"/>
                  <a:pt x="122880" y="1484223"/>
                </a:cubicBezTo>
                <a:lnTo>
                  <a:pt x="122880" y="1484224"/>
                </a:lnTo>
                <a:lnTo>
                  <a:pt x="0" y="1484224"/>
                </a:lnTo>
                <a:cubicBezTo>
                  <a:pt x="0" y="991732"/>
                  <a:pt x="128663" y="529291"/>
                  <a:pt x="354208" y="128679"/>
                </a:cubicBezTo>
                <a:lnTo>
                  <a:pt x="432025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47" name="任意多边形: 形状 46"/>
          <p:cNvSpPr/>
          <p:nvPr/>
        </p:nvSpPr>
        <p:spPr>
          <a:xfrm>
            <a:off x="7548097" y="3382067"/>
            <a:ext cx="1178759" cy="1097764"/>
          </a:xfrm>
          <a:custGeom>
            <a:avLst/>
            <a:gdLst>
              <a:gd name="connsiteX0" fmla="*/ 61423 w 1034244"/>
              <a:gd name="connsiteY0" fmla="*/ 0 h 963179"/>
              <a:gd name="connsiteX1" fmla="*/ 186642 w 1034244"/>
              <a:gd name="connsiteY1" fmla="*/ 73008 h 963179"/>
              <a:gd name="connsiteX2" fmla="*/ 1017905 w 1034244"/>
              <a:gd name="connsiteY2" fmla="*/ 874890 h 963179"/>
              <a:gd name="connsiteX3" fmla="*/ 1034244 w 1034244"/>
              <a:gd name="connsiteY3" fmla="*/ 901785 h 963179"/>
              <a:gd name="connsiteX4" fmla="*/ 927907 w 1034244"/>
              <a:gd name="connsiteY4" fmla="*/ 963179 h 963179"/>
              <a:gd name="connsiteX5" fmla="*/ 916008 w 1034244"/>
              <a:gd name="connsiteY5" fmla="*/ 943593 h 963179"/>
              <a:gd name="connsiteX6" fmla="*/ 121660 w 1034244"/>
              <a:gd name="connsiteY6" fmla="*/ 177321 h 963179"/>
              <a:gd name="connsiteX7" fmla="*/ 0 w 1034244"/>
              <a:gd name="connsiteY7" fmla="*/ 106388 h 963179"/>
              <a:gd name="connsiteX8" fmla="*/ 61423 w 1034244"/>
              <a:gd name="connsiteY8" fmla="*/ 0 h 963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34244" h="963179">
                <a:moveTo>
                  <a:pt x="61423" y="0"/>
                </a:moveTo>
                <a:lnTo>
                  <a:pt x="186642" y="73008"/>
                </a:lnTo>
                <a:cubicBezTo>
                  <a:pt x="516793" y="279104"/>
                  <a:pt x="800352" y="552869"/>
                  <a:pt x="1017905" y="874890"/>
                </a:cubicBezTo>
                <a:lnTo>
                  <a:pt x="1034244" y="901785"/>
                </a:lnTo>
                <a:lnTo>
                  <a:pt x="927907" y="963179"/>
                </a:lnTo>
                <a:lnTo>
                  <a:pt x="916008" y="943593"/>
                </a:lnTo>
                <a:cubicBezTo>
                  <a:pt x="708116" y="635872"/>
                  <a:pt x="437150" y="374265"/>
                  <a:pt x="121660" y="177321"/>
                </a:cubicBezTo>
                <a:lnTo>
                  <a:pt x="0" y="106388"/>
                </a:lnTo>
                <a:lnTo>
                  <a:pt x="61423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48" name="任意多边形: 形状 47"/>
          <p:cNvSpPr/>
          <p:nvPr/>
        </p:nvSpPr>
        <p:spPr>
          <a:xfrm>
            <a:off x="7431176" y="3591329"/>
            <a:ext cx="1091243" cy="1016262"/>
          </a:xfrm>
          <a:custGeom>
            <a:avLst/>
            <a:gdLst>
              <a:gd name="connsiteX0" fmla="*/ 61423 w 1034244"/>
              <a:gd name="connsiteY0" fmla="*/ 0 h 963179"/>
              <a:gd name="connsiteX1" fmla="*/ 186642 w 1034244"/>
              <a:gd name="connsiteY1" fmla="*/ 73008 h 963179"/>
              <a:gd name="connsiteX2" fmla="*/ 1017905 w 1034244"/>
              <a:gd name="connsiteY2" fmla="*/ 874890 h 963179"/>
              <a:gd name="connsiteX3" fmla="*/ 1034244 w 1034244"/>
              <a:gd name="connsiteY3" fmla="*/ 901785 h 963179"/>
              <a:gd name="connsiteX4" fmla="*/ 927907 w 1034244"/>
              <a:gd name="connsiteY4" fmla="*/ 963179 h 963179"/>
              <a:gd name="connsiteX5" fmla="*/ 916008 w 1034244"/>
              <a:gd name="connsiteY5" fmla="*/ 943593 h 963179"/>
              <a:gd name="connsiteX6" fmla="*/ 121660 w 1034244"/>
              <a:gd name="connsiteY6" fmla="*/ 177321 h 963179"/>
              <a:gd name="connsiteX7" fmla="*/ 0 w 1034244"/>
              <a:gd name="connsiteY7" fmla="*/ 106388 h 963179"/>
              <a:gd name="connsiteX8" fmla="*/ 61423 w 1034244"/>
              <a:gd name="connsiteY8" fmla="*/ 0 h 963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34244" h="963179">
                <a:moveTo>
                  <a:pt x="61423" y="0"/>
                </a:moveTo>
                <a:lnTo>
                  <a:pt x="186642" y="73008"/>
                </a:lnTo>
                <a:cubicBezTo>
                  <a:pt x="516793" y="279104"/>
                  <a:pt x="800352" y="552869"/>
                  <a:pt x="1017905" y="874890"/>
                </a:cubicBezTo>
                <a:lnTo>
                  <a:pt x="1034244" y="901785"/>
                </a:lnTo>
                <a:lnTo>
                  <a:pt x="927907" y="963179"/>
                </a:lnTo>
                <a:lnTo>
                  <a:pt x="916008" y="943593"/>
                </a:lnTo>
                <a:cubicBezTo>
                  <a:pt x="708116" y="635872"/>
                  <a:pt x="437150" y="374265"/>
                  <a:pt x="121660" y="177321"/>
                </a:cubicBezTo>
                <a:lnTo>
                  <a:pt x="0" y="106388"/>
                </a:lnTo>
                <a:lnTo>
                  <a:pt x="61423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49" name="任意多边形: 形状 48"/>
          <p:cNvSpPr/>
          <p:nvPr/>
        </p:nvSpPr>
        <p:spPr>
          <a:xfrm>
            <a:off x="8638497" y="4450869"/>
            <a:ext cx="614118" cy="1688080"/>
          </a:xfrm>
          <a:custGeom>
            <a:avLst/>
            <a:gdLst>
              <a:gd name="connsiteX0" fmla="*/ 106337 w 538828"/>
              <a:gd name="connsiteY0" fmla="*/ 0 h 1481124"/>
              <a:gd name="connsiteX1" fmla="*/ 204856 w 538828"/>
              <a:gd name="connsiteY1" fmla="*/ 162168 h 1481124"/>
              <a:gd name="connsiteX2" fmla="*/ 538828 w 538828"/>
              <a:gd name="connsiteY2" fmla="*/ 1481124 h 1481124"/>
              <a:gd name="connsiteX3" fmla="*/ 415945 w 538828"/>
              <a:gd name="connsiteY3" fmla="*/ 1481124 h 1481124"/>
              <a:gd name="connsiteX4" fmla="*/ 415945 w 538828"/>
              <a:gd name="connsiteY4" fmla="*/ 1481123 h 1481124"/>
              <a:gd name="connsiteX5" fmla="*/ 96804 w 538828"/>
              <a:gd name="connsiteY5" fmla="*/ 220739 h 1481124"/>
              <a:gd name="connsiteX6" fmla="*/ 0 w 538828"/>
              <a:gd name="connsiteY6" fmla="*/ 61394 h 1481124"/>
              <a:gd name="connsiteX7" fmla="*/ 106337 w 538828"/>
              <a:gd name="connsiteY7" fmla="*/ 0 h 1481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38828" h="1481124">
                <a:moveTo>
                  <a:pt x="106337" y="0"/>
                </a:moveTo>
                <a:lnTo>
                  <a:pt x="204856" y="162168"/>
                </a:lnTo>
                <a:cubicBezTo>
                  <a:pt x="417845" y="554245"/>
                  <a:pt x="538828" y="1003556"/>
                  <a:pt x="538828" y="1481124"/>
                </a:cubicBezTo>
                <a:lnTo>
                  <a:pt x="415945" y="1481124"/>
                </a:lnTo>
                <a:lnTo>
                  <a:pt x="415945" y="1481123"/>
                </a:lnTo>
                <a:cubicBezTo>
                  <a:pt x="415945" y="1024763"/>
                  <a:pt x="300335" y="595405"/>
                  <a:pt x="96804" y="220739"/>
                </a:cubicBezTo>
                <a:lnTo>
                  <a:pt x="0" y="61394"/>
                </a:lnTo>
                <a:lnTo>
                  <a:pt x="106337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50" name="任意多边形: 形状 49"/>
          <p:cNvSpPr/>
          <p:nvPr/>
        </p:nvSpPr>
        <p:spPr>
          <a:xfrm>
            <a:off x="8440621" y="4580779"/>
            <a:ext cx="568523" cy="1562750"/>
          </a:xfrm>
          <a:custGeom>
            <a:avLst/>
            <a:gdLst>
              <a:gd name="connsiteX0" fmla="*/ 106337 w 538828"/>
              <a:gd name="connsiteY0" fmla="*/ 0 h 1481124"/>
              <a:gd name="connsiteX1" fmla="*/ 204856 w 538828"/>
              <a:gd name="connsiteY1" fmla="*/ 162168 h 1481124"/>
              <a:gd name="connsiteX2" fmla="*/ 538828 w 538828"/>
              <a:gd name="connsiteY2" fmla="*/ 1481124 h 1481124"/>
              <a:gd name="connsiteX3" fmla="*/ 415945 w 538828"/>
              <a:gd name="connsiteY3" fmla="*/ 1481124 h 1481124"/>
              <a:gd name="connsiteX4" fmla="*/ 415945 w 538828"/>
              <a:gd name="connsiteY4" fmla="*/ 1481123 h 1481124"/>
              <a:gd name="connsiteX5" fmla="*/ 96804 w 538828"/>
              <a:gd name="connsiteY5" fmla="*/ 220739 h 1481124"/>
              <a:gd name="connsiteX6" fmla="*/ 0 w 538828"/>
              <a:gd name="connsiteY6" fmla="*/ 61394 h 1481124"/>
              <a:gd name="connsiteX7" fmla="*/ 106337 w 538828"/>
              <a:gd name="connsiteY7" fmla="*/ 0 h 1481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38828" h="1481124">
                <a:moveTo>
                  <a:pt x="106337" y="0"/>
                </a:moveTo>
                <a:lnTo>
                  <a:pt x="204856" y="162168"/>
                </a:lnTo>
                <a:cubicBezTo>
                  <a:pt x="417845" y="554245"/>
                  <a:pt x="538828" y="1003556"/>
                  <a:pt x="538828" y="1481124"/>
                </a:cubicBezTo>
                <a:lnTo>
                  <a:pt x="415945" y="1481124"/>
                </a:lnTo>
                <a:lnTo>
                  <a:pt x="415945" y="1481123"/>
                </a:lnTo>
                <a:cubicBezTo>
                  <a:pt x="415945" y="1024763"/>
                  <a:pt x="300335" y="595405"/>
                  <a:pt x="96804" y="220739"/>
                </a:cubicBezTo>
                <a:lnTo>
                  <a:pt x="0" y="61394"/>
                </a:lnTo>
                <a:lnTo>
                  <a:pt x="106337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en-US">
              <a:cs typeface="+mn-ea"/>
              <a:sym typeface="+mn-lt"/>
            </a:endParaRPr>
          </a:p>
        </p:txBody>
      </p:sp>
      <p:cxnSp>
        <p:nvCxnSpPr>
          <p:cNvPr id="7" name="直接连接符 6"/>
          <p:cNvCxnSpPr/>
          <p:nvPr/>
        </p:nvCxnSpPr>
        <p:spPr>
          <a:xfrm>
            <a:off x="1979977" y="6146800"/>
            <a:ext cx="8232046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任意多边形: 形状 7"/>
          <p:cNvSpPr/>
          <p:nvPr/>
        </p:nvSpPr>
        <p:spPr bwMode="auto">
          <a:xfrm>
            <a:off x="5238751" y="3923464"/>
            <a:ext cx="1714500" cy="2223336"/>
          </a:xfrm>
          <a:custGeom>
            <a:avLst/>
            <a:gdLst>
              <a:gd name="T0" fmla="*/ 128 w 2496"/>
              <a:gd name="T1" fmla="*/ 576 h 3243"/>
              <a:gd name="T2" fmla="*/ 102 w 2496"/>
              <a:gd name="T3" fmla="*/ 528 h 3243"/>
              <a:gd name="T4" fmla="*/ 96 w 2496"/>
              <a:gd name="T5" fmla="*/ 491 h 3243"/>
              <a:gd name="T6" fmla="*/ 48 w 2496"/>
              <a:gd name="T7" fmla="*/ 427 h 3243"/>
              <a:gd name="T8" fmla="*/ 96 w 2496"/>
              <a:gd name="T9" fmla="*/ 411 h 3243"/>
              <a:gd name="T10" fmla="*/ 198 w 2496"/>
              <a:gd name="T11" fmla="*/ 459 h 3243"/>
              <a:gd name="T12" fmla="*/ 235 w 2496"/>
              <a:gd name="T13" fmla="*/ 400 h 3243"/>
              <a:gd name="T14" fmla="*/ 288 w 2496"/>
              <a:gd name="T15" fmla="*/ 549 h 3243"/>
              <a:gd name="T16" fmla="*/ 342 w 2496"/>
              <a:gd name="T17" fmla="*/ 565 h 3243"/>
              <a:gd name="T18" fmla="*/ 598 w 2496"/>
              <a:gd name="T19" fmla="*/ 683 h 3243"/>
              <a:gd name="T20" fmla="*/ 779 w 2496"/>
              <a:gd name="T21" fmla="*/ 731 h 3243"/>
              <a:gd name="T22" fmla="*/ 907 w 2496"/>
              <a:gd name="T23" fmla="*/ 704 h 3243"/>
              <a:gd name="T24" fmla="*/ 1136 w 2496"/>
              <a:gd name="T25" fmla="*/ 677 h 3243"/>
              <a:gd name="T26" fmla="*/ 1104 w 2496"/>
              <a:gd name="T27" fmla="*/ 565 h 3243"/>
              <a:gd name="T28" fmla="*/ 1104 w 2496"/>
              <a:gd name="T29" fmla="*/ 261 h 3243"/>
              <a:gd name="T30" fmla="*/ 1312 w 2496"/>
              <a:gd name="T31" fmla="*/ 389 h 3243"/>
              <a:gd name="T32" fmla="*/ 1318 w 2496"/>
              <a:gd name="T33" fmla="*/ 560 h 3243"/>
              <a:gd name="T34" fmla="*/ 1483 w 2496"/>
              <a:gd name="T35" fmla="*/ 517 h 3243"/>
              <a:gd name="T36" fmla="*/ 1755 w 2496"/>
              <a:gd name="T37" fmla="*/ 528 h 3243"/>
              <a:gd name="T38" fmla="*/ 2080 w 2496"/>
              <a:gd name="T39" fmla="*/ 325 h 3243"/>
              <a:gd name="T40" fmla="*/ 2203 w 2496"/>
              <a:gd name="T41" fmla="*/ 128 h 3243"/>
              <a:gd name="T42" fmla="*/ 2235 w 2496"/>
              <a:gd name="T43" fmla="*/ 101 h 3243"/>
              <a:gd name="T44" fmla="*/ 2411 w 2496"/>
              <a:gd name="T45" fmla="*/ 0 h 3243"/>
              <a:gd name="T46" fmla="*/ 2352 w 2496"/>
              <a:gd name="T47" fmla="*/ 96 h 3243"/>
              <a:gd name="T48" fmla="*/ 2470 w 2496"/>
              <a:gd name="T49" fmla="*/ 32 h 3243"/>
              <a:gd name="T50" fmla="*/ 2448 w 2496"/>
              <a:gd name="T51" fmla="*/ 85 h 3243"/>
              <a:gd name="T52" fmla="*/ 2390 w 2496"/>
              <a:gd name="T53" fmla="*/ 165 h 3243"/>
              <a:gd name="T54" fmla="*/ 2480 w 2496"/>
              <a:gd name="T55" fmla="*/ 165 h 3243"/>
              <a:gd name="T56" fmla="*/ 2267 w 2496"/>
              <a:gd name="T57" fmla="*/ 299 h 3243"/>
              <a:gd name="T58" fmla="*/ 2208 w 2496"/>
              <a:gd name="T59" fmla="*/ 416 h 3243"/>
              <a:gd name="T60" fmla="*/ 1936 w 2496"/>
              <a:gd name="T61" fmla="*/ 651 h 3243"/>
              <a:gd name="T62" fmla="*/ 1654 w 2496"/>
              <a:gd name="T63" fmla="*/ 992 h 3243"/>
              <a:gd name="T64" fmla="*/ 1718 w 2496"/>
              <a:gd name="T65" fmla="*/ 1605 h 3243"/>
              <a:gd name="T66" fmla="*/ 1579 w 2496"/>
              <a:gd name="T67" fmla="*/ 1595 h 3243"/>
              <a:gd name="T68" fmla="*/ 1606 w 2496"/>
              <a:gd name="T69" fmla="*/ 2235 h 3243"/>
              <a:gd name="T70" fmla="*/ 1648 w 2496"/>
              <a:gd name="T71" fmla="*/ 2709 h 3243"/>
              <a:gd name="T72" fmla="*/ 1659 w 2496"/>
              <a:gd name="T73" fmla="*/ 3029 h 3243"/>
              <a:gd name="T74" fmla="*/ 1520 w 2496"/>
              <a:gd name="T75" fmla="*/ 3200 h 3243"/>
              <a:gd name="T76" fmla="*/ 1451 w 2496"/>
              <a:gd name="T77" fmla="*/ 2987 h 3243"/>
              <a:gd name="T78" fmla="*/ 1419 w 2496"/>
              <a:gd name="T79" fmla="*/ 2485 h 3243"/>
              <a:gd name="T80" fmla="*/ 1291 w 2496"/>
              <a:gd name="T81" fmla="*/ 1931 h 3243"/>
              <a:gd name="T82" fmla="*/ 1264 w 2496"/>
              <a:gd name="T83" fmla="*/ 2400 h 3243"/>
              <a:gd name="T84" fmla="*/ 1344 w 2496"/>
              <a:gd name="T85" fmla="*/ 2928 h 3243"/>
              <a:gd name="T86" fmla="*/ 1323 w 2496"/>
              <a:gd name="T87" fmla="*/ 3131 h 3243"/>
              <a:gd name="T88" fmla="*/ 992 w 2496"/>
              <a:gd name="T89" fmla="*/ 3109 h 3243"/>
              <a:gd name="T90" fmla="*/ 1142 w 2496"/>
              <a:gd name="T91" fmla="*/ 2907 h 3243"/>
              <a:gd name="T92" fmla="*/ 1078 w 2496"/>
              <a:gd name="T93" fmla="*/ 2517 h 3243"/>
              <a:gd name="T94" fmla="*/ 1003 w 2496"/>
              <a:gd name="T95" fmla="*/ 2027 h 3243"/>
              <a:gd name="T96" fmla="*/ 779 w 2496"/>
              <a:gd name="T97" fmla="*/ 1653 h 3243"/>
              <a:gd name="T98" fmla="*/ 848 w 2496"/>
              <a:gd name="T99" fmla="*/ 923 h 3243"/>
              <a:gd name="T100" fmla="*/ 267 w 2496"/>
              <a:gd name="T101" fmla="*/ 640 h 32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496" h="3243">
                <a:moveTo>
                  <a:pt x="256" y="629"/>
                </a:moveTo>
                <a:cubicBezTo>
                  <a:pt x="256" y="629"/>
                  <a:pt x="240" y="592"/>
                  <a:pt x="198" y="597"/>
                </a:cubicBezTo>
                <a:cubicBezTo>
                  <a:pt x="198" y="597"/>
                  <a:pt x="144" y="587"/>
                  <a:pt x="128" y="576"/>
                </a:cubicBezTo>
                <a:cubicBezTo>
                  <a:pt x="112" y="565"/>
                  <a:pt x="32" y="555"/>
                  <a:pt x="32" y="544"/>
                </a:cubicBezTo>
                <a:cubicBezTo>
                  <a:pt x="32" y="544"/>
                  <a:pt x="32" y="528"/>
                  <a:pt x="64" y="533"/>
                </a:cubicBezTo>
                <a:cubicBezTo>
                  <a:pt x="64" y="533"/>
                  <a:pt x="150" y="555"/>
                  <a:pt x="102" y="528"/>
                </a:cubicBezTo>
                <a:cubicBezTo>
                  <a:pt x="27" y="491"/>
                  <a:pt x="27" y="491"/>
                  <a:pt x="27" y="491"/>
                </a:cubicBezTo>
                <a:cubicBezTo>
                  <a:pt x="27" y="491"/>
                  <a:pt x="0" y="459"/>
                  <a:pt x="38" y="469"/>
                </a:cubicBezTo>
                <a:cubicBezTo>
                  <a:pt x="96" y="491"/>
                  <a:pt x="96" y="491"/>
                  <a:pt x="96" y="491"/>
                </a:cubicBezTo>
                <a:cubicBezTo>
                  <a:pt x="96" y="491"/>
                  <a:pt x="112" y="480"/>
                  <a:pt x="86" y="469"/>
                </a:cubicBezTo>
                <a:cubicBezTo>
                  <a:pt x="38" y="443"/>
                  <a:pt x="38" y="443"/>
                  <a:pt x="38" y="443"/>
                </a:cubicBezTo>
                <a:cubicBezTo>
                  <a:pt x="38" y="443"/>
                  <a:pt x="22" y="416"/>
                  <a:pt x="48" y="427"/>
                </a:cubicBezTo>
                <a:cubicBezTo>
                  <a:pt x="112" y="459"/>
                  <a:pt x="112" y="459"/>
                  <a:pt x="112" y="459"/>
                </a:cubicBezTo>
                <a:cubicBezTo>
                  <a:pt x="112" y="459"/>
                  <a:pt x="160" y="464"/>
                  <a:pt x="128" y="443"/>
                </a:cubicBezTo>
                <a:cubicBezTo>
                  <a:pt x="96" y="411"/>
                  <a:pt x="96" y="411"/>
                  <a:pt x="96" y="411"/>
                </a:cubicBezTo>
                <a:cubicBezTo>
                  <a:pt x="96" y="411"/>
                  <a:pt x="70" y="373"/>
                  <a:pt x="107" y="395"/>
                </a:cubicBezTo>
                <a:cubicBezTo>
                  <a:pt x="107" y="395"/>
                  <a:pt x="139" y="416"/>
                  <a:pt x="160" y="437"/>
                </a:cubicBezTo>
                <a:cubicBezTo>
                  <a:pt x="182" y="459"/>
                  <a:pt x="187" y="464"/>
                  <a:pt x="198" y="459"/>
                </a:cubicBezTo>
                <a:cubicBezTo>
                  <a:pt x="214" y="459"/>
                  <a:pt x="214" y="448"/>
                  <a:pt x="214" y="437"/>
                </a:cubicBezTo>
                <a:cubicBezTo>
                  <a:pt x="214" y="427"/>
                  <a:pt x="203" y="400"/>
                  <a:pt x="219" y="389"/>
                </a:cubicBezTo>
                <a:cubicBezTo>
                  <a:pt x="235" y="379"/>
                  <a:pt x="235" y="373"/>
                  <a:pt x="235" y="400"/>
                </a:cubicBezTo>
                <a:cubicBezTo>
                  <a:pt x="240" y="427"/>
                  <a:pt x="240" y="443"/>
                  <a:pt x="256" y="459"/>
                </a:cubicBezTo>
                <a:cubicBezTo>
                  <a:pt x="267" y="475"/>
                  <a:pt x="262" y="485"/>
                  <a:pt x="267" y="507"/>
                </a:cubicBezTo>
                <a:cubicBezTo>
                  <a:pt x="267" y="533"/>
                  <a:pt x="272" y="544"/>
                  <a:pt x="288" y="549"/>
                </a:cubicBezTo>
                <a:cubicBezTo>
                  <a:pt x="304" y="560"/>
                  <a:pt x="310" y="565"/>
                  <a:pt x="310" y="565"/>
                </a:cubicBezTo>
                <a:cubicBezTo>
                  <a:pt x="326" y="560"/>
                  <a:pt x="326" y="560"/>
                  <a:pt x="326" y="560"/>
                </a:cubicBezTo>
                <a:cubicBezTo>
                  <a:pt x="342" y="565"/>
                  <a:pt x="342" y="565"/>
                  <a:pt x="342" y="565"/>
                </a:cubicBezTo>
                <a:cubicBezTo>
                  <a:pt x="342" y="565"/>
                  <a:pt x="448" y="619"/>
                  <a:pt x="475" y="640"/>
                </a:cubicBezTo>
                <a:cubicBezTo>
                  <a:pt x="502" y="656"/>
                  <a:pt x="507" y="667"/>
                  <a:pt x="528" y="672"/>
                </a:cubicBezTo>
                <a:cubicBezTo>
                  <a:pt x="555" y="677"/>
                  <a:pt x="571" y="667"/>
                  <a:pt x="598" y="683"/>
                </a:cubicBezTo>
                <a:cubicBezTo>
                  <a:pt x="630" y="699"/>
                  <a:pt x="656" y="715"/>
                  <a:pt x="672" y="720"/>
                </a:cubicBezTo>
                <a:cubicBezTo>
                  <a:pt x="694" y="725"/>
                  <a:pt x="731" y="731"/>
                  <a:pt x="742" y="725"/>
                </a:cubicBezTo>
                <a:cubicBezTo>
                  <a:pt x="758" y="720"/>
                  <a:pt x="763" y="725"/>
                  <a:pt x="779" y="731"/>
                </a:cubicBezTo>
                <a:cubicBezTo>
                  <a:pt x="790" y="741"/>
                  <a:pt x="800" y="736"/>
                  <a:pt x="822" y="731"/>
                </a:cubicBezTo>
                <a:cubicBezTo>
                  <a:pt x="843" y="725"/>
                  <a:pt x="843" y="731"/>
                  <a:pt x="859" y="736"/>
                </a:cubicBezTo>
                <a:cubicBezTo>
                  <a:pt x="870" y="741"/>
                  <a:pt x="896" y="715"/>
                  <a:pt x="907" y="704"/>
                </a:cubicBezTo>
                <a:cubicBezTo>
                  <a:pt x="918" y="693"/>
                  <a:pt x="902" y="640"/>
                  <a:pt x="971" y="645"/>
                </a:cubicBezTo>
                <a:cubicBezTo>
                  <a:pt x="1040" y="645"/>
                  <a:pt x="1046" y="661"/>
                  <a:pt x="1078" y="667"/>
                </a:cubicBezTo>
                <a:cubicBezTo>
                  <a:pt x="1110" y="677"/>
                  <a:pt x="1120" y="699"/>
                  <a:pt x="1136" y="677"/>
                </a:cubicBezTo>
                <a:cubicBezTo>
                  <a:pt x="1152" y="656"/>
                  <a:pt x="1152" y="656"/>
                  <a:pt x="1152" y="656"/>
                </a:cubicBezTo>
                <a:cubicBezTo>
                  <a:pt x="1152" y="656"/>
                  <a:pt x="1131" y="619"/>
                  <a:pt x="1131" y="603"/>
                </a:cubicBezTo>
                <a:cubicBezTo>
                  <a:pt x="1131" y="581"/>
                  <a:pt x="1115" y="576"/>
                  <a:pt x="1104" y="565"/>
                </a:cubicBezTo>
                <a:cubicBezTo>
                  <a:pt x="1094" y="549"/>
                  <a:pt x="1003" y="464"/>
                  <a:pt x="1051" y="469"/>
                </a:cubicBezTo>
                <a:cubicBezTo>
                  <a:pt x="1051" y="469"/>
                  <a:pt x="1008" y="405"/>
                  <a:pt x="1035" y="357"/>
                </a:cubicBezTo>
                <a:cubicBezTo>
                  <a:pt x="1056" y="304"/>
                  <a:pt x="1051" y="272"/>
                  <a:pt x="1104" y="261"/>
                </a:cubicBezTo>
                <a:cubicBezTo>
                  <a:pt x="1158" y="251"/>
                  <a:pt x="1168" y="224"/>
                  <a:pt x="1216" y="256"/>
                </a:cubicBezTo>
                <a:cubicBezTo>
                  <a:pt x="1264" y="283"/>
                  <a:pt x="1280" y="293"/>
                  <a:pt x="1291" y="315"/>
                </a:cubicBezTo>
                <a:cubicBezTo>
                  <a:pt x="1302" y="336"/>
                  <a:pt x="1302" y="373"/>
                  <a:pt x="1312" y="389"/>
                </a:cubicBezTo>
                <a:cubicBezTo>
                  <a:pt x="1323" y="411"/>
                  <a:pt x="1344" y="421"/>
                  <a:pt x="1328" y="464"/>
                </a:cubicBezTo>
                <a:cubicBezTo>
                  <a:pt x="1328" y="464"/>
                  <a:pt x="1323" y="496"/>
                  <a:pt x="1312" y="501"/>
                </a:cubicBezTo>
                <a:cubicBezTo>
                  <a:pt x="1312" y="501"/>
                  <a:pt x="1318" y="544"/>
                  <a:pt x="1318" y="560"/>
                </a:cubicBezTo>
                <a:cubicBezTo>
                  <a:pt x="1355" y="597"/>
                  <a:pt x="1355" y="597"/>
                  <a:pt x="1355" y="597"/>
                </a:cubicBezTo>
                <a:cubicBezTo>
                  <a:pt x="1355" y="597"/>
                  <a:pt x="1403" y="619"/>
                  <a:pt x="1424" y="597"/>
                </a:cubicBezTo>
                <a:cubicBezTo>
                  <a:pt x="1451" y="581"/>
                  <a:pt x="1440" y="512"/>
                  <a:pt x="1483" y="517"/>
                </a:cubicBezTo>
                <a:cubicBezTo>
                  <a:pt x="1526" y="517"/>
                  <a:pt x="1526" y="544"/>
                  <a:pt x="1568" y="560"/>
                </a:cubicBezTo>
                <a:cubicBezTo>
                  <a:pt x="1606" y="571"/>
                  <a:pt x="1638" y="576"/>
                  <a:pt x="1670" y="565"/>
                </a:cubicBezTo>
                <a:cubicBezTo>
                  <a:pt x="1707" y="549"/>
                  <a:pt x="1744" y="539"/>
                  <a:pt x="1755" y="528"/>
                </a:cubicBezTo>
                <a:cubicBezTo>
                  <a:pt x="1771" y="517"/>
                  <a:pt x="1819" y="501"/>
                  <a:pt x="1846" y="496"/>
                </a:cubicBezTo>
                <a:cubicBezTo>
                  <a:pt x="1872" y="485"/>
                  <a:pt x="1931" y="459"/>
                  <a:pt x="1968" y="416"/>
                </a:cubicBezTo>
                <a:cubicBezTo>
                  <a:pt x="2011" y="368"/>
                  <a:pt x="2064" y="341"/>
                  <a:pt x="2080" y="325"/>
                </a:cubicBezTo>
                <a:cubicBezTo>
                  <a:pt x="2102" y="309"/>
                  <a:pt x="2139" y="261"/>
                  <a:pt x="2155" y="261"/>
                </a:cubicBezTo>
                <a:cubicBezTo>
                  <a:pt x="2155" y="261"/>
                  <a:pt x="2203" y="240"/>
                  <a:pt x="2203" y="213"/>
                </a:cubicBezTo>
                <a:cubicBezTo>
                  <a:pt x="2203" y="213"/>
                  <a:pt x="2192" y="144"/>
                  <a:pt x="2203" y="128"/>
                </a:cubicBezTo>
                <a:cubicBezTo>
                  <a:pt x="2208" y="107"/>
                  <a:pt x="2203" y="85"/>
                  <a:pt x="2198" y="75"/>
                </a:cubicBezTo>
                <a:cubicBezTo>
                  <a:pt x="2198" y="59"/>
                  <a:pt x="2182" y="32"/>
                  <a:pt x="2214" y="48"/>
                </a:cubicBezTo>
                <a:cubicBezTo>
                  <a:pt x="2246" y="69"/>
                  <a:pt x="2246" y="80"/>
                  <a:pt x="2235" y="101"/>
                </a:cubicBezTo>
                <a:cubicBezTo>
                  <a:pt x="2235" y="101"/>
                  <a:pt x="2235" y="123"/>
                  <a:pt x="2251" y="117"/>
                </a:cubicBezTo>
                <a:cubicBezTo>
                  <a:pt x="2262" y="112"/>
                  <a:pt x="2304" y="91"/>
                  <a:pt x="2315" y="85"/>
                </a:cubicBezTo>
                <a:cubicBezTo>
                  <a:pt x="2326" y="75"/>
                  <a:pt x="2384" y="0"/>
                  <a:pt x="2411" y="0"/>
                </a:cubicBezTo>
                <a:cubicBezTo>
                  <a:pt x="2432" y="5"/>
                  <a:pt x="2416" y="11"/>
                  <a:pt x="2411" y="21"/>
                </a:cubicBezTo>
                <a:cubicBezTo>
                  <a:pt x="2400" y="32"/>
                  <a:pt x="2384" y="48"/>
                  <a:pt x="2374" y="59"/>
                </a:cubicBezTo>
                <a:cubicBezTo>
                  <a:pt x="2363" y="64"/>
                  <a:pt x="2352" y="96"/>
                  <a:pt x="2352" y="96"/>
                </a:cubicBezTo>
                <a:cubicBezTo>
                  <a:pt x="2352" y="96"/>
                  <a:pt x="2368" y="85"/>
                  <a:pt x="2384" y="75"/>
                </a:cubicBezTo>
                <a:cubicBezTo>
                  <a:pt x="2400" y="64"/>
                  <a:pt x="2422" y="48"/>
                  <a:pt x="2438" y="43"/>
                </a:cubicBezTo>
                <a:cubicBezTo>
                  <a:pt x="2448" y="37"/>
                  <a:pt x="2459" y="21"/>
                  <a:pt x="2470" y="32"/>
                </a:cubicBezTo>
                <a:cubicBezTo>
                  <a:pt x="2480" y="43"/>
                  <a:pt x="2475" y="48"/>
                  <a:pt x="2459" y="59"/>
                </a:cubicBezTo>
                <a:cubicBezTo>
                  <a:pt x="2443" y="69"/>
                  <a:pt x="2374" y="123"/>
                  <a:pt x="2374" y="133"/>
                </a:cubicBezTo>
                <a:cubicBezTo>
                  <a:pt x="2379" y="144"/>
                  <a:pt x="2432" y="96"/>
                  <a:pt x="2448" y="85"/>
                </a:cubicBezTo>
                <a:cubicBezTo>
                  <a:pt x="2464" y="80"/>
                  <a:pt x="2480" y="64"/>
                  <a:pt x="2486" y="75"/>
                </a:cubicBezTo>
                <a:cubicBezTo>
                  <a:pt x="2486" y="85"/>
                  <a:pt x="2491" y="91"/>
                  <a:pt x="2464" y="107"/>
                </a:cubicBezTo>
                <a:cubicBezTo>
                  <a:pt x="2443" y="123"/>
                  <a:pt x="2395" y="149"/>
                  <a:pt x="2390" y="165"/>
                </a:cubicBezTo>
                <a:cubicBezTo>
                  <a:pt x="2379" y="181"/>
                  <a:pt x="2390" y="181"/>
                  <a:pt x="2406" y="181"/>
                </a:cubicBezTo>
                <a:cubicBezTo>
                  <a:pt x="2416" y="181"/>
                  <a:pt x="2438" y="171"/>
                  <a:pt x="2454" y="160"/>
                </a:cubicBezTo>
                <a:cubicBezTo>
                  <a:pt x="2470" y="149"/>
                  <a:pt x="2496" y="149"/>
                  <a:pt x="2480" y="165"/>
                </a:cubicBezTo>
                <a:cubicBezTo>
                  <a:pt x="2470" y="181"/>
                  <a:pt x="2448" y="192"/>
                  <a:pt x="2422" y="203"/>
                </a:cubicBezTo>
                <a:cubicBezTo>
                  <a:pt x="2390" y="213"/>
                  <a:pt x="2379" y="213"/>
                  <a:pt x="2352" y="235"/>
                </a:cubicBezTo>
                <a:cubicBezTo>
                  <a:pt x="2320" y="256"/>
                  <a:pt x="2294" y="288"/>
                  <a:pt x="2267" y="299"/>
                </a:cubicBezTo>
                <a:cubicBezTo>
                  <a:pt x="2240" y="309"/>
                  <a:pt x="2251" y="288"/>
                  <a:pt x="2240" y="320"/>
                </a:cubicBezTo>
                <a:cubicBezTo>
                  <a:pt x="2230" y="357"/>
                  <a:pt x="2251" y="373"/>
                  <a:pt x="2251" y="373"/>
                </a:cubicBezTo>
                <a:cubicBezTo>
                  <a:pt x="2251" y="373"/>
                  <a:pt x="2256" y="373"/>
                  <a:pt x="2208" y="416"/>
                </a:cubicBezTo>
                <a:cubicBezTo>
                  <a:pt x="2160" y="459"/>
                  <a:pt x="2091" y="539"/>
                  <a:pt x="2064" y="560"/>
                </a:cubicBezTo>
                <a:cubicBezTo>
                  <a:pt x="2043" y="581"/>
                  <a:pt x="2006" y="581"/>
                  <a:pt x="1984" y="608"/>
                </a:cubicBezTo>
                <a:cubicBezTo>
                  <a:pt x="1958" y="629"/>
                  <a:pt x="1958" y="635"/>
                  <a:pt x="1936" y="651"/>
                </a:cubicBezTo>
                <a:cubicBezTo>
                  <a:pt x="1920" y="667"/>
                  <a:pt x="1819" y="704"/>
                  <a:pt x="1776" y="725"/>
                </a:cubicBezTo>
                <a:cubicBezTo>
                  <a:pt x="1734" y="747"/>
                  <a:pt x="1670" y="752"/>
                  <a:pt x="1654" y="811"/>
                </a:cubicBezTo>
                <a:cubicBezTo>
                  <a:pt x="1638" y="869"/>
                  <a:pt x="1643" y="912"/>
                  <a:pt x="1654" y="992"/>
                </a:cubicBezTo>
                <a:cubicBezTo>
                  <a:pt x="1659" y="1072"/>
                  <a:pt x="1686" y="1216"/>
                  <a:pt x="1691" y="1280"/>
                </a:cubicBezTo>
                <a:cubicBezTo>
                  <a:pt x="1696" y="1344"/>
                  <a:pt x="1696" y="1413"/>
                  <a:pt x="1702" y="1461"/>
                </a:cubicBezTo>
                <a:cubicBezTo>
                  <a:pt x="1707" y="1509"/>
                  <a:pt x="1718" y="1605"/>
                  <a:pt x="1718" y="1605"/>
                </a:cubicBezTo>
                <a:cubicBezTo>
                  <a:pt x="1718" y="1605"/>
                  <a:pt x="1664" y="1643"/>
                  <a:pt x="1643" y="1579"/>
                </a:cubicBezTo>
                <a:cubicBezTo>
                  <a:pt x="1616" y="1509"/>
                  <a:pt x="1643" y="1568"/>
                  <a:pt x="1643" y="1568"/>
                </a:cubicBezTo>
                <a:cubicBezTo>
                  <a:pt x="1643" y="1568"/>
                  <a:pt x="1595" y="1595"/>
                  <a:pt x="1579" y="1595"/>
                </a:cubicBezTo>
                <a:cubicBezTo>
                  <a:pt x="1579" y="1595"/>
                  <a:pt x="1574" y="1653"/>
                  <a:pt x="1584" y="1707"/>
                </a:cubicBezTo>
                <a:cubicBezTo>
                  <a:pt x="1595" y="1765"/>
                  <a:pt x="1590" y="1883"/>
                  <a:pt x="1600" y="1979"/>
                </a:cubicBezTo>
                <a:cubicBezTo>
                  <a:pt x="1611" y="2080"/>
                  <a:pt x="1600" y="2160"/>
                  <a:pt x="1606" y="2235"/>
                </a:cubicBezTo>
                <a:cubicBezTo>
                  <a:pt x="1611" y="2309"/>
                  <a:pt x="1584" y="2283"/>
                  <a:pt x="1600" y="2352"/>
                </a:cubicBezTo>
                <a:cubicBezTo>
                  <a:pt x="1622" y="2427"/>
                  <a:pt x="1632" y="2485"/>
                  <a:pt x="1643" y="2560"/>
                </a:cubicBezTo>
                <a:cubicBezTo>
                  <a:pt x="1654" y="2629"/>
                  <a:pt x="1654" y="2661"/>
                  <a:pt x="1648" y="2709"/>
                </a:cubicBezTo>
                <a:cubicBezTo>
                  <a:pt x="1643" y="2757"/>
                  <a:pt x="1643" y="2832"/>
                  <a:pt x="1638" y="2880"/>
                </a:cubicBezTo>
                <a:cubicBezTo>
                  <a:pt x="1638" y="2928"/>
                  <a:pt x="1632" y="2944"/>
                  <a:pt x="1659" y="2976"/>
                </a:cubicBezTo>
                <a:cubicBezTo>
                  <a:pt x="1686" y="3008"/>
                  <a:pt x="1670" y="3008"/>
                  <a:pt x="1659" y="3029"/>
                </a:cubicBezTo>
                <a:cubicBezTo>
                  <a:pt x="1648" y="3056"/>
                  <a:pt x="1632" y="3083"/>
                  <a:pt x="1632" y="3083"/>
                </a:cubicBezTo>
                <a:cubicBezTo>
                  <a:pt x="1632" y="3083"/>
                  <a:pt x="1696" y="3173"/>
                  <a:pt x="1664" y="3211"/>
                </a:cubicBezTo>
                <a:cubicBezTo>
                  <a:pt x="1664" y="3211"/>
                  <a:pt x="1542" y="3243"/>
                  <a:pt x="1520" y="3200"/>
                </a:cubicBezTo>
                <a:cubicBezTo>
                  <a:pt x="1520" y="3200"/>
                  <a:pt x="1494" y="3141"/>
                  <a:pt x="1504" y="3109"/>
                </a:cubicBezTo>
                <a:cubicBezTo>
                  <a:pt x="1504" y="3109"/>
                  <a:pt x="1467" y="3051"/>
                  <a:pt x="1451" y="3029"/>
                </a:cubicBezTo>
                <a:cubicBezTo>
                  <a:pt x="1440" y="3013"/>
                  <a:pt x="1430" y="2997"/>
                  <a:pt x="1451" y="2987"/>
                </a:cubicBezTo>
                <a:cubicBezTo>
                  <a:pt x="1472" y="2976"/>
                  <a:pt x="1472" y="2971"/>
                  <a:pt x="1462" y="2928"/>
                </a:cubicBezTo>
                <a:cubicBezTo>
                  <a:pt x="1456" y="2880"/>
                  <a:pt x="1435" y="2720"/>
                  <a:pt x="1430" y="2661"/>
                </a:cubicBezTo>
                <a:cubicBezTo>
                  <a:pt x="1430" y="2603"/>
                  <a:pt x="1419" y="2544"/>
                  <a:pt x="1419" y="2485"/>
                </a:cubicBezTo>
                <a:cubicBezTo>
                  <a:pt x="1414" y="2427"/>
                  <a:pt x="1414" y="2395"/>
                  <a:pt x="1398" y="2331"/>
                </a:cubicBezTo>
                <a:cubicBezTo>
                  <a:pt x="1387" y="2261"/>
                  <a:pt x="1355" y="2139"/>
                  <a:pt x="1344" y="2096"/>
                </a:cubicBezTo>
                <a:cubicBezTo>
                  <a:pt x="1334" y="2048"/>
                  <a:pt x="1302" y="1861"/>
                  <a:pt x="1291" y="1931"/>
                </a:cubicBezTo>
                <a:cubicBezTo>
                  <a:pt x="1291" y="1931"/>
                  <a:pt x="1270" y="2091"/>
                  <a:pt x="1275" y="2165"/>
                </a:cubicBezTo>
                <a:cubicBezTo>
                  <a:pt x="1280" y="2240"/>
                  <a:pt x="1270" y="2277"/>
                  <a:pt x="1264" y="2309"/>
                </a:cubicBezTo>
                <a:cubicBezTo>
                  <a:pt x="1254" y="2347"/>
                  <a:pt x="1254" y="2347"/>
                  <a:pt x="1264" y="2400"/>
                </a:cubicBezTo>
                <a:cubicBezTo>
                  <a:pt x="1275" y="2459"/>
                  <a:pt x="1286" y="2539"/>
                  <a:pt x="1291" y="2597"/>
                </a:cubicBezTo>
                <a:cubicBezTo>
                  <a:pt x="1302" y="2656"/>
                  <a:pt x="1296" y="2779"/>
                  <a:pt x="1312" y="2832"/>
                </a:cubicBezTo>
                <a:cubicBezTo>
                  <a:pt x="1334" y="2880"/>
                  <a:pt x="1355" y="2896"/>
                  <a:pt x="1344" y="2928"/>
                </a:cubicBezTo>
                <a:cubicBezTo>
                  <a:pt x="1339" y="2965"/>
                  <a:pt x="1318" y="2960"/>
                  <a:pt x="1323" y="2981"/>
                </a:cubicBezTo>
                <a:cubicBezTo>
                  <a:pt x="1328" y="3003"/>
                  <a:pt x="1339" y="3019"/>
                  <a:pt x="1339" y="3035"/>
                </a:cubicBezTo>
                <a:cubicBezTo>
                  <a:pt x="1339" y="3051"/>
                  <a:pt x="1344" y="3115"/>
                  <a:pt x="1323" y="3131"/>
                </a:cubicBezTo>
                <a:cubicBezTo>
                  <a:pt x="1323" y="3131"/>
                  <a:pt x="1216" y="3120"/>
                  <a:pt x="1174" y="3136"/>
                </a:cubicBezTo>
                <a:cubicBezTo>
                  <a:pt x="1174" y="3136"/>
                  <a:pt x="1003" y="3168"/>
                  <a:pt x="955" y="3131"/>
                </a:cubicBezTo>
                <a:cubicBezTo>
                  <a:pt x="955" y="3131"/>
                  <a:pt x="912" y="3104"/>
                  <a:pt x="992" y="3109"/>
                </a:cubicBezTo>
                <a:cubicBezTo>
                  <a:pt x="992" y="3109"/>
                  <a:pt x="1019" y="3115"/>
                  <a:pt x="1067" y="3067"/>
                </a:cubicBezTo>
                <a:cubicBezTo>
                  <a:pt x="1120" y="3019"/>
                  <a:pt x="1115" y="3029"/>
                  <a:pt x="1131" y="2997"/>
                </a:cubicBezTo>
                <a:cubicBezTo>
                  <a:pt x="1147" y="2965"/>
                  <a:pt x="1120" y="2917"/>
                  <a:pt x="1142" y="2907"/>
                </a:cubicBezTo>
                <a:cubicBezTo>
                  <a:pt x="1158" y="2896"/>
                  <a:pt x="1142" y="2885"/>
                  <a:pt x="1142" y="2859"/>
                </a:cubicBezTo>
                <a:cubicBezTo>
                  <a:pt x="1142" y="2827"/>
                  <a:pt x="1104" y="2677"/>
                  <a:pt x="1094" y="2635"/>
                </a:cubicBezTo>
                <a:cubicBezTo>
                  <a:pt x="1083" y="2592"/>
                  <a:pt x="1083" y="2555"/>
                  <a:pt x="1078" y="2517"/>
                </a:cubicBezTo>
                <a:cubicBezTo>
                  <a:pt x="1072" y="2480"/>
                  <a:pt x="1051" y="2491"/>
                  <a:pt x="1056" y="2448"/>
                </a:cubicBezTo>
                <a:cubicBezTo>
                  <a:pt x="1067" y="2405"/>
                  <a:pt x="1051" y="2288"/>
                  <a:pt x="1040" y="2219"/>
                </a:cubicBezTo>
                <a:cubicBezTo>
                  <a:pt x="1030" y="2155"/>
                  <a:pt x="1003" y="2091"/>
                  <a:pt x="1003" y="2027"/>
                </a:cubicBezTo>
                <a:cubicBezTo>
                  <a:pt x="1003" y="1963"/>
                  <a:pt x="976" y="1739"/>
                  <a:pt x="992" y="1696"/>
                </a:cubicBezTo>
                <a:cubicBezTo>
                  <a:pt x="870" y="1728"/>
                  <a:pt x="870" y="1728"/>
                  <a:pt x="870" y="1728"/>
                </a:cubicBezTo>
                <a:cubicBezTo>
                  <a:pt x="870" y="1728"/>
                  <a:pt x="768" y="1749"/>
                  <a:pt x="779" y="1653"/>
                </a:cubicBezTo>
                <a:cubicBezTo>
                  <a:pt x="790" y="1557"/>
                  <a:pt x="795" y="1520"/>
                  <a:pt x="806" y="1483"/>
                </a:cubicBezTo>
                <a:cubicBezTo>
                  <a:pt x="816" y="1451"/>
                  <a:pt x="822" y="1232"/>
                  <a:pt x="827" y="1173"/>
                </a:cubicBezTo>
                <a:cubicBezTo>
                  <a:pt x="832" y="1109"/>
                  <a:pt x="859" y="939"/>
                  <a:pt x="848" y="923"/>
                </a:cubicBezTo>
                <a:cubicBezTo>
                  <a:pt x="848" y="923"/>
                  <a:pt x="747" y="917"/>
                  <a:pt x="710" y="901"/>
                </a:cubicBezTo>
                <a:cubicBezTo>
                  <a:pt x="667" y="885"/>
                  <a:pt x="320" y="747"/>
                  <a:pt x="272" y="688"/>
                </a:cubicBezTo>
                <a:cubicBezTo>
                  <a:pt x="272" y="688"/>
                  <a:pt x="256" y="651"/>
                  <a:pt x="267" y="640"/>
                </a:cubicBezTo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37" name="椭圆 36"/>
          <p:cNvSpPr/>
          <p:nvPr/>
        </p:nvSpPr>
        <p:spPr>
          <a:xfrm>
            <a:off x="3283623" y="4193233"/>
            <a:ext cx="636881" cy="636880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id-ID">
              <a:cs typeface="+mn-ea"/>
              <a:sym typeface="+mn-lt"/>
            </a:endParaRPr>
          </a:p>
        </p:txBody>
      </p:sp>
      <p:sp>
        <p:nvSpPr>
          <p:cNvPr id="38" name="任意多边形: 形状 37"/>
          <p:cNvSpPr/>
          <p:nvPr/>
        </p:nvSpPr>
        <p:spPr>
          <a:xfrm>
            <a:off x="3417911" y="4327800"/>
            <a:ext cx="368304" cy="367746"/>
          </a:xfrm>
          <a:custGeom>
            <a:avLst/>
            <a:gdLst>
              <a:gd name="connsiteX0" fmla="*/ 59406 w 606740"/>
              <a:gd name="connsiteY0" fmla="*/ 325182 h 605821"/>
              <a:gd name="connsiteX1" fmla="*/ 281908 w 606740"/>
              <a:gd name="connsiteY1" fmla="*/ 547227 h 605821"/>
              <a:gd name="connsiteX2" fmla="*/ 276800 w 606740"/>
              <a:gd name="connsiteY2" fmla="*/ 605821 h 605821"/>
              <a:gd name="connsiteX3" fmla="*/ 1552 w 606740"/>
              <a:gd name="connsiteY3" fmla="*/ 330189 h 605821"/>
              <a:gd name="connsiteX4" fmla="*/ 59406 w 606740"/>
              <a:gd name="connsiteY4" fmla="*/ 325182 h 605821"/>
              <a:gd name="connsiteX5" fmla="*/ 602385 w 606740"/>
              <a:gd name="connsiteY5" fmla="*/ 251442 h 605821"/>
              <a:gd name="connsiteX6" fmla="*/ 329425 w 606740"/>
              <a:gd name="connsiteY6" fmla="*/ 605045 h 605821"/>
              <a:gd name="connsiteX7" fmla="*/ 324318 w 606740"/>
              <a:gd name="connsiteY7" fmla="*/ 546096 h 605821"/>
              <a:gd name="connsiteX8" fmla="*/ 495522 w 606740"/>
              <a:gd name="connsiteY8" fmla="*/ 452203 h 605821"/>
              <a:gd name="connsiteX9" fmla="*/ 542965 w 606740"/>
              <a:gd name="connsiteY9" fmla="*/ 261731 h 605821"/>
              <a:gd name="connsiteX10" fmla="*/ 602385 w 606740"/>
              <a:gd name="connsiteY10" fmla="*/ 251442 h 605821"/>
              <a:gd name="connsiteX11" fmla="*/ 303431 w 606740"/>
              <a:gd name="connsiteY11" fmla="*/ 210142 h 605821"/>
              <a:gd name="connsiteX12" fmla="*/ 209010 w 606740"/>
              <a:gd name="connsiteY12" fmla="*/ 304421 h 605821"/>
              <a:gd name="connsiteX13" fmla="*/ 239463 w 606740"/>
              <a:gd name="connsiteY13" fmla="*/ 373670 h 605821"/>
              <a:gd name="connsiteX14" fmla="*/ 280035 w 606740"/>
              <a:gd name="connsiteY14" fmla="*/ 321293 h 605821"/>
              <a:gd name="connsiteX15" fmla="*/ 259516 w 606740"/>
              <a:gd name="connsiteY15" fmla="*/ 284026 h 605821"/>
              <a:gd name="connsiteX16" fmla="*/ 303431 w 606740"/>
              <a:gd name="connsiteY16" fmla="*/ 240178 h 605821"/>
              <a:gd name="connsiteX17" fmla="*/ 347346 w 606740"/>
              <a:gd name="connsiteY17" fmla="*/ 284026 h 605821"/>
              <a:gd name="connsiteX18" fmla="*/ 326827 w 606740"/>
              <a:gd name="connsiteY18" fmla="*/ 321293 h 605821"/>
              <a:gd name="connsiteX19" fmla="*/ 367399 w 606740"/>
              <a:gd name="connsiteY19" fmla="*/ 373670 h 605821"/>
              <a:gd name="connsiteX20" fmla="*/ 397852 w 606740"/>
              <a:gd name="connsiteY20" fmla="*/ 304421 h 605821"/>
              <a:gd name="connsiteX21" fmla="*/ 303431 w 606740"/>
              <a:gd name="connsiteY21" fmla="*/ 210142 h 605821"/>
              <a:gd name="connsiteX22" fmla="*/ 285976 w 606740"/>
              <a:gd name="connsiteY22" fmla="*/ 109746 h 605821"/>
              <a:gd name="connsiteX23" fmla="*/ 320885 w 606740"/>
              <a:gd name="connsiteY23" fmla="*/ 109746 h 605821"/>
              <a:gd name="connsiteX24" fmla="*/ 333791 w 606740"/>
              <a:gd name="connsiteY24" fmla="*/ 122631 h 605821"/>
              <a:gd name="connsiteX25" fmla="*/ 333791 w 606740"/>
              <a:gd name="connsiteY25" fmla="*/ 151647 h 605821"/>
              <a:gd name="connsiteX26" fmla="*/ 389960 w 606740"/>
              <a:gd name="connsiteY26" fmla="*/ 174915 h 605821"/>
              <a:gd name="connsiteX27" fmla="*/ 410478 w 606740"/>
              <a:gd name="connsiteY27" fmla="*/ 154428 h 605821"/>
              <a:gd name="connsiteX28" fmla="*/ 428675 w 606740"/>
              <a:gd name="connsiteY28" fmla="*/ 154428 h 605821"/>
              <a:gd name="connsiteX29" fmla="*/ 453464 w 606740"/>
              <a:gd name="connsiteY29" fmla="*/ 179087 h 605821"/>
              <a:gd name="connsiteX30" fmla="*/ 453464 w 606740"/>
              <a:gd name="connsiteY30" fmla="*/ 197257 h 605821"/>
              <a:gd name="connsiteX31" fmla="*/ 432946 w 606740"/>
              <a:gd name="connsiteY31" fmla="*/ 217837 h 605821"/>
              <a:gd name="connsiteX32" fmla="*/ 456157 w 606740"/>
              <a:gd name="connsiteY32" fmla="*/ 273922 h 605821"/>
              <a:gd name="connsiteX33" fmla="*/ 485309 w 606740"/>
              <a:gd name="connsiteY33" fmla="*/ 273922 h 605821"/>
              <a:gd name="connsiteX34" fmla="*/ 498121 w 606740"/>
              <a:gd name="connsiteY34" fmla="*/ 286808 h 605821"/>
              <a:gd name="connsiteX35" fmla="*/ 498121 w 606740"/>
              <a:gd name="connsiteY35" fmla="*/ 321664 h 605821"/>
              <a:gd name="connsiteX36" fmla="*/ 485309 w 606740"/>
              <a:gd name="connsiteY36" fmla="*/ 334457 h 605821"/>
              <a:gd name="connsiteX37" fmla="*/ 456157 w 606740"/>
              <a:gd name="connsiteY37" fmla="*/ 334457 h 605821"/>
              <a:gd name="connsiteX38" fmla="*/ 432946 w 606740"/>
              <a:gd name="connsiteY38" fmla="*/ 390634 h 605821"/>
              <a:gd name="connsiteX39" fmla="*/ 453464 w 606740"/>
              <a:gd name="connsiteY39" fmla="*/ 411121 h 605821"/>
              <a:gd name="connsiteX40" fmla="*/ 453464 w 606740"/>
              <a:gd name="connsiteY40" fmla="*/ 429291 h 605821"/>
              <a:gd name="connsiteX41" fmla="*/ 428675 w 606740"/>
              <a:gd name="connsiteY41" fmla="*/ 454042 h 605821"/>
              <a:gd name="connsiteX42" fmla="*/ 410478 w 606740"/>
              <a:gd name="connsiteY42" fmla="*/ 454042 h 605821"/>
              <a:gd name="connsiteX43" fmla="*/ 389960 w 606740"/>
              <a:gd name="connsiteY43" fmla="*/ 433463 h 605821"/>
              <a:gd name="connsiteX44" fmla="*/ 333791 w 606740"/>
              <a:gd name="connsiteY44" fmla="*/ 456731 h 605821"/>
              <a:gd name="connsiteX45" fmla="*/ 333791 w 606740"/>
              <a:gd name="connsiteY45" fmla="*/ 485932 h 605821"/>
              <a:gd name="connsiteX46" fmla="*/ 320885 w 606740"/>
              <a:gd name="connsiteY46" fmla="*/ 498632 h 605821"/>
              <a:gd name="connsiteX47" fmla="*/ 285976 w 606740"/>
              <a:gd name="connsiteY47" fmla="*/ 498632 h 605821"/>
              <a:gd name="connsiteX48" fmla="*/ 273071 w 606740"/>
              <a:gd name="connsiteY48" fmla="*/ 485747 h 605821"/>
              <a:gd name="connsiteX49" fmla="*/ 273071 w 606740"/>
              <a:gd name="connsiteY49" fmla="*/ 456731 h 605821"/>
              <a:gd name="connsiteX50" fmla="*/ 216902 w 606740"/>
              <a:gd name="connsiteY50" fmla="*/ 433463 h 605821"/>
              <a:gd name="connsiteX51" fmla="*/ 196384 w 606740"/>
              <a:gd name="connsiteY51" fmla="*/ 454042 h 605821"/>
              <a:gd name="connsiteX52" fmla="*/ 178187 w 606740"/>
              <a:gd name="connsiteY52" fmla="*/ 454042 h 605821"/>
              <a:gd name="connsiteX53" fmla="*/ 153398 w 606740"/>
              <a:gd name="connsiteY53" fmla="*/ 429291 h 605821"/>
              <a:gd name="connsiteX54" fmla="*/ 153398 w 606740"/>
              <a:gd name="connsiteY54" fmla="*/ 411121 h 605821"/>
              <a:gd name="connsiteX55" fmla="*/ 173916 w 606740"/>
              <a:gd name="connsiteY55" fmla="*/ 390634 h 605821"/>
              <a:gd name="connsiteX56" fmla="*/ 150705 w 606740"/>
              <a:gd name="connsiteY56" fmla="*/ 334457 h 605821"/>
              <a:gd name="connsiteX57" fmla="*/ 121553 w 606740"/>
              <a:gd name="connsiteY57" fmla="*/ 334457 h 605821"/>
              <a:gd name="connsiteX58" fmla="*/ 108741 w 606740"/>
              <a:gd name="connsiteY58" fmla="*/ 321664 h 605821"/>
              <a:gd name="connsiteX59" fmla="*/ 108741 w 606740"/>
              <a:gd name="connsiteY59" fmla="*/ 286808 h 605821"/>
              <a:gd name="connsiteX60" fmla="*/ 121553 w 606740"/>
              <a:gd name="connsiteY60" fmla="*/ 273922 h 605821"/>
              <a:gd name="connsiteX61" fmla="*/ 150705 w 606740"/>
              <a:gd name="connsiteY61" fmla="*/ 273922 h 605821"/>
              <a:gd name="connsiteX62" fmla="*/ 173916 w 606740"/>
              <a:gd name="connsiteY62" fmla="*/ 217837 h 605821"/>
              <a:gd name="connsiteX63" fmla="*/ 153398 w 606740"/>
              <a:gd name="connsiteY63" fmla="*/ 197257 h 605821"/>
              <a:gd name="connsiteX64" fmla="*/ 153398 w 606740"/>
              <a:gd name="connsiteY64" fmla="*/ 179087 h 605821"/>
              <a:gd name="connsiteX65" fmla="*/ 178187 w 606740"/>
              <a:gd name="connsiteY65" fmla="*/ 154428 h 605821"/>
              <a:gd name="connsiteX66" fmla="*/ 196384 w 606740"/>
              <a:gd name="connsiteY66" fmla="*/ 154428 h 605821"/>
              <a:gd name="connsiteX67" fmla="*/ 216902 w 606740"/>
              <a:gd name="connsiteY67" fmla="*/ 174915 h 605821"/>
              <a:gd name="connsiteX68" fmla="*/ 273071 w 606740"/>
              <a:gd name="connsiteY68" fmla="*/ 151647 h 605821"/>
              <a:gd name="connsiteX69" fmla="*/ 273071 w 606740"/>
              <a:gd name="connsiteY69" fmla="*/ 122631 h 605821"/>
              <a:gd name="connsiteX70" fmla="*/ 285976 w 606740"/>
              <a:gd name="connsiteY70" fmla="*/ 109746 h 605821"/>
              <a:gd name="connsiteX71" fmla="*/ 477610 w 606740"/>
              <a:gd name="connsiteY71" fmla="*/ 55270 h 605821"/>
              <a:gd name="connsiteX72" fmla="*/ 589009 w 606740"/>
              <a:gd name="connsiteY72" fmla="*/ 200127 h 605821"/>
              <a:gd name="connsiteX73" fmla="*/ 531917 w 606740"/>
              <a:gd name="connsiteY73" fmla="*/ 220887 h 605821"/>
              <a:gd name="connsiteX74" fmla="*/ 495898 w 606740"/>
              <a:gd name="connsiteY74" fmla="*/ 155919 h 605821"/>
              <a:gd name="connsiteX75" fmla="*/ 442798 w 606740"/>
              <a:gd name="connsiteY75" fmla="*/ 104853 h 605821"/>
              <a:gd name="connsiteX76" fmla="*/ 477610 w 606740"/>
              <a:gd name="connsiteY76" fmla="*/ 55270 h 605821"/>
              <a:gd name="connsiteX77" fmla="*/ 287505 w 606740"/>
              <a:gd name="connsiteY77" fmla="*/ 284 h 605821"/>
              <a:gd name="connsiteX78" fmla="*/ 431931 w 606740"/>
              <a:gd name="connsiteY78" fmla="*/ 28455 h 605821"/>
              <a:gd name="connsiteX79" fmla="*/ 406305 w 606740"/>
              <a:gd name="connsiteY79" fmla="*/ 83337 h 605821"/>
              <a:gd name="connsiteX80" fmla="*/ 60444 w 606740"/>
              <a:gd name="connsiteY80" fmla="*/ 282843 h 605821"/>
              <a:gd name="connsiteX81" fmla="*/ 0 w 606740"/>
              <a:gd name="connsiteY81" fmla="*/ 277559 h 605821"/>
              <a:gd name="connsiteX82" fmla="*/ 148093 w 606740"/>
              <a:gd name="connsiteY82" fmla="*/ 43381 h 605821"/>
              <a:gd name="connsiteX83" fmla="*/ 287505 w 606740"/>
              <a:gd name="connsiteY83" fmla="*/ 284 h 605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</a:cxnLst>
            <a:rect l="l" t="t" r="r" b="b"/>
            <a:pathLst>
              <a:path w="606740" h="605821">
                <a:moveTo>
                  <a:pt x="59406" y="325182"/>
                </a:moveTo>
                <a:cubicBezTo>
                  <a:pt x="80950" y="452568"/>
                  <a:pt x="154777" y="526182"/>
                  <a:pt x="281908" y="547227"/>
                </a:cubicBezTo>
                <a:cubicBezTo>
                  <a:pt x="280329" y="566233"/>
                  <a:pt x="278565" y="585795"/>
                  <a:pt x="276800" y="605821"/>
                </a:cubicBezTo>
                <a:cubicBezTo>
                  <a:pt x="114103" y="592749"/>
                  <a:pt x="6195" y="453774"/>
                  <a:pt x="1552" y="330189"/>
                </a:cubicBezTo>
                <a:cubicBezTo>
                  <a:pt x="21053" y="328520"/>
                  <a:pt x="40555" y="326851"/>
                  <a:pt x="59406" y="325182"/>
                </a:cubicBezTo>
                <a:close/>
                <a:moveTo>
                  <a:pt x="602385" y="251442"/>
                </a:moveTo>
                <a:cubicBezTo>
                  <a:pt x="635159" y="451925"/>
                  <a:pt x="476953" y="599855"/>
                  <a:pt x="329425" y="605045"/>
                </a:cubicBezTo>
                <a:cubicBezTo>
                  <a:pt x="327846" y="585488"/>
                  <a:pt x="326082" y="566116"/>
                  <a:pt x="324318" y="546096"/>
                </a:cubicBezTo>
                <a:cubicBezTo>
                  <a:pt x="394880" y="538310"/>
                  <a:pt x="452443" y="507816"/>
                  <a:pt x="495522" y="452203"/>
                </a:cubicBezTo>
                <a:cubicBezTo>
                  <a:pt x="538880" y="396220"/>
                  <a:pt x="553457" y="332544"/>
                  <a:pt x="542965" y="261731"/>
                </a:cubicBezTo>
                <a:cubicBezTo>
                  <a:pt x="563298" y="258301"/>
                  <a:pt x="582981" y="254779"/>
                  <a:pt x="602385" y="251442"/>
                </a:cubicBezTo>
                <a:close/>
                <a:moveTo>
                  <a:pt x="303431" y="210142"/>
                </a:moveTo>
                <a:cubicBezTo>
                  <a:pt x="251346" y="210142"/>
                  <a:pt x="209010" y="252415"/>
                  <a:pt x="209010" y="304421"/>
                </a:cubicBezTo>
                <a:cubicBezTo>
                  <a:pt x="209010" y="331768"/>
                  <a:pt x="220708" y="356334"/>
                  <a:pt x="239463" y="373670"/>
                </a:cubicBezTo>
                <a:cubicBezTo>
                  <a:pt x="242248" y="349660"/>
                  <a:pt x="258217" y="329821"/>
                  <a:pt x="280035" y="321293"/>
                </a:cubicBezTo>
                <a:cubicBezTo>
                  <a:pt x="267687" y="313506"/>
                  <a:pt x="259516" y="299786"/>
                  <a:pt x="259516" y="284026"/>
                </a:cubicBezTo>
                <a:cubicBezTo>
                  <a:pt x="259516" y="259831"/>
                  <a:pt x="279199" y="240178"/>
                  <a:pt x="303431" y="240178"/>
                </a:cubicBezTo>
                <a:cubicBezTo>
                  <a:pt x="327663" y="240085"/>
                  <a:pt x="347346" y="259831"/>
                  <a:pt x="347346" y="284026"/>
                </a:cubicBezTo>
                <a:cubicBezTo>
                  <a:pt x="347346" y="299786"/>
                  <a:pt x="339083" y="313506"/>
                  <a:pt x="326827" y="321293"/>
                </a:cubicBezTo>
                <a:cubicBezTo>
                  <a:pt x="348645" y="329821"/>
                  <a:pt x="364614" y="349660"/>
                  <a:pt x="367399" y="373670"/>
                </a:cubicBezTo>
                <a:cubicBezTo>
                  <a:pt x="386154" y="356520"/>
                  <a:pt x="397852" y="331861"/>
                  <a:pt x="397852" y="304421"/>
                </a:cubicBezTo>
                <a:cubicBezTo>
                  <a:pt x="397852" y="252415"/>
                  <a:pt x="355516" y="210142"/>
                  <a:pt x="303431" y="210142"/>
                </a:cubicBezTo>
                <a:close/>
                <a:moveTo>
                  <a:pt x="285976" y="109746"/>
                </a:moveTo>
                <a:lnTo>
                  <a:pt x="320885" y="109746"/>
                </a:lnTo>
                <a:cubicBezTo>
                  <a:pt x="327942" y="109746"/>
                  <a:pt x="333791" y="115493"/>
                  <a:pt x="333791" y="122631"/>
                </a:cubicBezTo>
                <a:lnTo>
                  <a:pt x="333791" y="151647"/>
                </a:lnTo>
                <a:cubicBezTo>
                  <a:pt x="354216" y="155726"/>
                  <a:pt x="373249" y="163791"/>
                  <a:pt x="389960" y="174915"/>
                </a:cubicBezTo>
                <a:lnTo>
                  <a:pt x="410478" y="154428"/>
                </a:lnTo>
                <a:cubicBezTo>
                  <a:pt x="415492" y="149422"/>
                  <a:pt x="423662" y="149422"/>
                  <a:pt x="428675" y="154428"/>
                </a:cubicBezTo>
                <a:lnTo>
                  <a:pt x="453464" y="179087"/>
                </a:lnTo>
                <a:cubicBezTo>
                  <a:pt x="458385" y="184093"/>
                  <a:pt x="458385" y="192251"/>
                  <a:pt x="453464" y="197257"/>
                </a:cubicBezTo>
                <a:lnTo>
                  <a:pt x="432946" y="217837"/>
                </a:lnTo>
                <a:cubicBezTo>
                  <a:pt x="444087" y="234523"/>
                  <a:pt x="452072" y="253527"/>
                  <a:pt x="456157" y="273922"/>
                </a:cubicBezTo>
                <a:lnTo>
                  <a:pt x="485309" y="273922"/>
                </a:lnTo>
                <a:cubicBezTo>
                  <a:pt x="492365" y="273922"/>
                  <a:pt x="498121" y="279577"/>
                  <a:pt x="498121" y="286808"/>
                </a:cubicBezTo>
                <a:lnTo>
                  <a:pt x="498121" y="321664"/>
                </a:lnTo>
                <a:cubicBezTo>
                  <a:pt x="498121" y="328709"/>
                  <a:pt x="492458" y="334457"/>
                  <a:pt x="485309" y="334457"/>
                </a:cubicBezTo>
                <a:lnTo>
                  <a:pt x="456157" y="334457"/>
                </a:lnTo>
                <a:cubicBezTo>
                  <a:pt x="452072" y="354851"/>
                  <a:pt x="444087" y="373948"/>
                  <a:pt x="432946" y="390634"/>
                </a:cubicBezTo>
                <a:lnTo>
                  <a:pt x="453464" y="411121"/>
                </a:lnTo>
                <a:cubicBezTo>
                  <a:pt x="458385" y="416035"/>
                  <a:pt x="458385" y="424192"/>
                  <a:pt x="453464" y="429291"/>
                </a:cubicBezTo>
                <a:lnTo>
                  <a:pt x="428675" y="454042"/>
                </a:lnTo>
                <a:cubicBezTo>
                  <a:pt x="423755" y="458956"/>
                  <a:pt x="415585" y="458956"/>
                  <a:pt x="410478" y="454042"/>
                </a:cubicBezTo>
                <a:lnTo>
                  <a:pt x="389960" y="433463"/>
                </a:lnTo>
                <a:cubicBezTo>
                  <a:pt x="373249" y="444587"/>
                  <a:pt x="354216" y="452652"/>
                  <a:pt x="333791" y="456731"/>
                </a:cubicBezTo>
                <a:lnTo>
                  <a:pt x="333791" y="485932"/>
                </a:lnTo>
                <a:cubicBezTo>
                  <a:pt x="333791" y="492977"/>
                  <a:pt x="327942" y="498632"/>
                  <a:pt x="320885" y="498632"/>
                </a:cubicBezTo>
                <a:lnTo>
                  <a:pt x="285976" y="498632"/>
                </a:lnTo>
                <a:cubicBezTo>
                  <a:pt x="278920" y="498632"/>
                  <a:pt x="273071" y="492977"/>
                  <a:pt x="273071" y="485747"/>
                </a:cubicBezTo>
                <a:lnTo>
                  <a:pt x="273071" y="456731"/>
                </a:lnTo>
                <a:cubicBezTo>
                  <a:pt x="252646" y="452652"/>
                  <a:pt x="233613" y="444587"/>
                  <a:pt x="216902" y="433463"/>
                </a:cubicBezTo>
                <a:lnTo>
                  <a:pt x="196384" y="454042"/>
                </a:lnTo>
                <a:cubicBezTo>
                  <a:pt x="191370" y="458956"/>
                  <a:pt x="183200" y="458956"/>
                  <a:pt x="178187" y="454042"/>
                </a:cubicBezTo>
                <a:lnTo>
                  <a:pt x="153398" y="429291"/>
                </a:lnTo>
                <a:cubicBezTo>
                  <a:pt x="148477" y="424378"/>
                  <a:pt x="148477" y="416220"/>
                  <a:pt x="153398" y="411121"/>
                </a:cubicBezTo>
                <a:lnTo>
                  <a:pt x="173916" y="390634"/>
                </a:lnTo>
                <a:cubicBezTo>
                  <a:pt x="162775" y="373948"/>
                  <a:pt x="154790" y="354851"/>
                  <a:pt x="150705" y="334457"/>
                </a:cubicBezTo>
                <a:lnTo>
                  <a:pt x="121553" y="334457"/>
                </a:lnTo>
                <a:cubicBezTo>
                  <a:pt x="114497" y="334457"/>
                  <a:pt x="108741" y="328802"/>
                  <a:pt x="108741" y="321664"/>
                </a:cubicBezTo>
                <a:lnTo>
                  <a:pt x="108741" y="286808"/>
                </a:lnTo>
                <a:cubicBezTo>
                  <a:pt x="108741" y="279762"/>
                  <a:pt x="114404" y="273922"/>
                  <a:pt x="121553" y="273922"/>
                </a:cubicBezTo>
                <a:lnTo>
                  <a:pt x="150705" y="273922"/>
                </a:lnTo>
                <a:cubicBezTo>
                  <a:pt x="154790" y="253527"/>
                  <a:pt x="162775" y="234523"/>
                  <a:pt x="173916" y="217837"/>
                </a:cubicBezTo>
                <a:lnTo>
                  <a:pt x="153398" y="197257"/>
                </a:lnTo>
                <a:cubicBezTo>
                  <a:pt x="148292" y="192343"/>
                  <a:pt x="148477" y="184186"/>
                  <a:pt x="153398" y="179087"/>
                </a:cubicBezTo>
                <a:lnTo>
                  <a:pt x="178187" y="154428"/>
                </a:lnTo>
                <a:cubicBezTo>
                  <a:pt x="183107" y="149422"/>
                  <a:pt x="191277" y="149422"/>
                  <a:pt x="196384" y="154428"/>
                </a:cubicBezTo>
                <a:lnTo>
                  <a:pt x="216902" y="174915"/>
                </a:lnTo>
                <a:cubicBezTo>
                  <a:pt x="233613" y="163698"/>
                  <a:pt x="252646" y="155726"/>
                  <a:pt x="273071" y="151647"/>
                </a:cubicBezTo>
                <a:lnTo>
                  <a:pt x="273071" y="122631"/>
                </a:lnTo>
                <a:cubicBezTo>
                  <a:pt x="273071" y="115586"/>
                  <a:pt x="278828" y="109746"/>
                  <a:pt x="285976" y="109746"/>
                </a:cubicBezTo>
                <a:close/>
                <a:moveTo>
                  <a:pt x="477610" y="55270"/>
                </a:moveTo>
                <a:cubicBezTo>
                  <a:pt x="529689" y="92619"/>
                  <a:pt x="566451" y="140349"/>
                  <a:pt x="589009" y="200127"/>
                </a:cubicBezTo>
                <a:cubicBezTo>
                  <a:pt x="569422" y="207263"/>
                  <a:pt x="550855" y="213936"/>
                  <a:pt x="531917" y="220887"/>
                </a:cubicBezTo>
                <a:cubicBezTo>
                  <a:pt x="522820" y="197068"/>
                  <a:pt x="511123" y="175567"/>
                  <a:pt x="495898" y="155919"/>
                </a:cubicBezTo>
                <a:cubicBezTo>
                  <a:pt x="480860" y="136364"/>
                  <a:pt x="462850" y="119682"/>
                  <a:pt x="442798" y="104853"/>
                </a:cubicBezTo>
                <a:cubicBezTo>
                  <a:pt x="454588" y="88078"/>
                  <a:pt x="466006" y="71859"/>
                  <a:pt x="477610" y="55270"/>
                </a:cubicBezTo>
                <a:close/>
                <a:moveTo>
                  <a:pt x="287505" y="284"/>
                </a:moveTo>
                <a:cubicBezTo>
                  <a:pt x="334882" y="-1837"/>
                  <a:pt x="383093" y="7920"/>
                  <a:pt x="431931" y="28455"/>
                </a:cubicBezTo>
                <a:cubicBezTo>
                  <a:pt x="423018" y="47460"/>
                  <a:pt x="414754" y="65445"/>
                  <a:pt x="406305" y="83337"/>
                </a:cubicBezTo>
                <a:cubicBezTo>
                  <a:pt x="242241" y="9635"/>
                  <a:pt x="71215" y="128208"/>
                  <a:pt x="60444" y="282843"/>
                </a:cubicBezTo>
                <a:cubicBezTo>
                  <a:pt x="40760" y="281082"/>
                  <a:pt x="20891" y="279413"/>
                  <a:pt x="0" y="277559"/>
                </a:cubicBezTo>
                <a:cubicBezTo>
                  <a:pt x="12256" y="175210"/>
                  <a:pt x="60073" y="95667"/>
                  <a:pt x="148093" y="43381"/>
                </a:cubicBezTo>
                <a:cubicBezTo>
                  <a:pt x="193589" y="16403"/>
                  <a:pt x="240129" y="2404"/>
                  <a:pt x="287505" y="284"/>
                </a:cubicBezTo>
                <a:close/>
              </a:path>
            </a:pathLst>
          </a:custGeom>
          <a:solidFill>
            <a:schemeClr val="bg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35" name="椭圆 34"/>
          <p:cNvSpPr/>
          <p:nvPr/>
        </p:nvSpPr>
        <p:spPr>
          <a:xfrm>
            <a:off x="4368999" y="3186045"/>
            <a:ext cx="636881" cy="636880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id-ID">
              <a:cs typeface="+mn-ea"/>
              <a:sym typeface="+mn-lt"/>
            </a:endParaRPr>
          </a:p>
        </p:txBody>
      </p:sp>
      <p:sp>
        <p:nvSpPr>
          <p:cNvPr id="36" name="任意多边形: 形状 35"/>
          <p:cNvSpPr/>
          <p:nvPr/>
        </p:nvSpPr>
        <p:spPr>
          <a:xfrm>
            <a:off x="4516987" y="3320333"/>
            <a:ext cx="340905" cy="368304"/>
          </a:xfrm>
          <a:custGeom>
            <a:avLst/>
            <a:gdLst>
              <a:gd name="T0" fmla="*/ 371 w 437"/>
              <a:gd name="T1" fmla="*/ 239 h 473"/>
              <a:gd name="T2" fmla="*/ 354 w 437"/>
              <a:gd name="T3" fmla="*/ 222 h 473"/>
              <a:gd name="T4" fmla="*/ 354 w 437"/>
              <a:gd name="T5" fmla="*/ 17 h 473"/>
              <a:gd name="T6" fmla="*/ 371 w 437"/>
              <a:gd name="T7" fmla="*/ 0 h 473"/>
              <a:gd name="T8" fmla="*/ 371 w 437"/>
              <a:gd name="T9" fmla="*/ 239 h 473"/>
              <a:gd name="T10" fmla="*/ 324 w 437"/>
              <a:gd name="T11" fmla="*/ 192 h 473"/>
              <a:gd name="T12" fmla="*/ 341 w 437"/>
              <a:gd name="T13" fmla="*/ 209 h 473"/>
              <a:gd name="T14" fmla="*/ 341 w 437"/>
              <a:gd name="T15" fmla="*/ 30 h 473"/>
              <a:gd name="T16" fmla="*/ 324 w 437"/>
              <a:gd name="T17" fmla="*/ 47 h 473"/>
              <a:gd name="T18" fmla="*/ 324 w 437"/>
              <a:gd name="T19" fmla="*/ 192 h 473"/>
              <a:gd name="T20" fmla="*/ 310 w 437"/>
              <a:gd name="T21" fmla="*/ 178 h 473"/>
              <a:gd name="T22" fmla="*/ 310 w 437"/>
              <a:gd name="T23" fmla="*/ 61 h 473"/>
              <a:gd name="T24" fmla="*/ 293 w 437"/>
              <a:gd name="T25" fmla="*/ 78 h 473"/>
              <a:gd name="T26" fmla="*/ 293 w 437"/>
              <a:gd name="T27" fmla="*/ 161 h 473"/>
              <a:gd name="T28" fmla="*/ 310 w 437"/>
              <a:gd name="T29" fmla="*/ 178 h 473"/>
              <a:gd name="T30" fmla="*/ 83 w 437"/>
              <a:gd name="T31" fmla="*/ 17 h 473"/>
              <a:gd name="T32" fmla="*/ 66 w 437"/>
              <a:gd name="T33" fmla="*/ 0 h 473"/>
              <a:gd name="T34" fmla="*/ 66 w 437"/>
              <a:gd name="T35" fmla="*/ 239 h 473"/>
              <a:gd name="T36" fmla="*/ 83 w 437"/>
              <a:gd name="T37" fmla="*/ 222 h 473"/>
              <a:gd name="T38" fmla="*/ 83 w 437"/>
              <a:gd name="T39" fmla="*/ 17 h 473"/>
              <a:gd name="T40" fmla="*/ 96 w 437"/>
              <a:gd name="T41" fmla="*/ 209 h 473"/>
              <a:gd name="T42" fmla="*/ 113 w 437"/>
              <a:gd name="T43" fmla="*/ 192 h 473"/>
              <a:gd name="T44" fmla="*/ 113 w 437"/>
              <a:gd name="T45" fmla="*/ 47 h 473"/>
              <a:gd name="T46" fmla="*/ 96 w 437"/>
              <a:gd name="T47" fmla="*/ 30 h 473"/>
              <a:gd name="T48" fmla="*/ 96 w 437"/>
              <a:gd name="T49" fmla="*/ 209 h 473"/>
              <a:gd name="T50" fmla="*/ 127 w 437"/>
              <a:gd name="T51" fmla="*/ 178 h 473"/>
              <a:gd name="T52" fmla="*/ 144 w 437"/>
              <a:gd name="T53" fmla="*/ 161 h 473"/>
              <a:gd name="T54" fmla="*/ 144 w 437"/>
              <a:gd name="T55" fmla="*/ 78 h 473"/>
              <a:gd name="T56" fmla="*/ 127 w 437"/>
              <a:gd name="T57" fmla="*/ 61 h 473"/>
              <a:gd name="T58" fmla="*/ 127 w 437"/>
              <a:gd name="T59" fmla="*/ 178 h 473"/>
              <a:gd name="T60" fmla="*/ 318 w 437"/>
              <a:gd name="T61" fmla="*/ 422 h 473"/>
              <a:gd name="T62" fmla="*/ 258 w 437"/>
              <a:gd name="T63" fmla="*/ 422 h 473"/>
              <a:gd name="T64" fmla="*/ 223 w 437"/>
              <a:gd name="T65" fmla="*/ 165 h 473"/>
              <a:gd name="T66" fmla="*/ 252 w 437"/>
              <a:gd name="T67" fmla="*/ 132 h 473"/>
              <a:gd name="T68" fmla="*/ 218 w 437"/>
              <a:gd name="T69" fmla="*/ 98 h 473"/>
              <a:gd name="T70" fmla="*/ 185 w 437"/>
              <a:gd name="T71" fmla="*/ 132 h 473"/>
              <a:gd name="T72" fmla="*/ 214 w 437"/>
              <a:gd name="T73" fmla="*/ 165 h 473"/>
              <a:gd name="T74" fmla="*/ 179 w 437"/>
              <a:gd name="T75" fmla="*/ 422 h 473"/>
              <a:gd name="T76" fmla="*/ 119 w 437"/>
              <a:gd name="T77" fmla="*/ 422 h 473"/>
              <a:gd name="T78" fmla="*/ 94 w 437"/>
              <a:gd name="T79" fmla="*/ 447 h 473"/>
              <a:gd name="T80" fmla="*/ 119 w 437"/>
              <a:gd name="T81" fmla="*/ 473 h 473"/>
              <a:gd name="T82" fmla="*/ 318 w 437"/>
              <a:gd name="T83" fmla="*/ 473 h 473"/>
              <a:gd name="T84" fmla="*/ 343 w 437"/>
              <a:gd name="T85" fmla="*/ 447 h 473"/>
              <a:gd name="T86" fmla="*/ 318 w 437"/>
              <a:gd name="T87" fmla="*/ 422 h 4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437" h="473">
                <a:moveTo>
                  <a:pt x="371" y="239"/>
                </a:moveTo>
                <a:lnTo>
                  <a:pt x="354" y="222"/>
                </a:lnTo>
                <a:cubicBezTo>
                  <a:pt x="410" y="165"/>
                  <a:pt x="410" y="74"/>
                  <a:pt x="354" y="17"/>
                </a:cubicBezTo>
                <a:lnTo>
                  <a:pt x="371" y="0"/>
                </a:lnTo>
                <a:cubicBezTo>
                  <a:pt x="437" y="66"/>
                  <a:pt x="437" y="173"/>
                  <a:pt x="371" y="239"/>
                </a:cubicBezTo>
                <a:close/>
                <a:moveTo>
                  <a:pt x="324" y="192"/>
                </a:moveTo>
                <a:lnTo>
                  <a:pt x="341" y="209"/>
                </a:lnTo>
                <a:cubicBezTo>
                  <a:pt x="390" y="160"/>
                  <a:pt x="390" y="79"/>
                  <a:pt x="341" y="30"/>
                </a:cubicBezTo>
                <a:lnTo>
                  <a:pt x="324" y="47"/>
                </a:lnTo>
                <a:cubicBezTo>
                  <a:pt x="364" y="87"/>
                  <a:pt x="364" y="152"/>
                  <a:pt x="324" y="192"/>
                </a:cubicBezTo>
                <a:close/>
                <a:moveTo>
                  <a:pt x="310" y="178"/>
                </a:moveTo>
                <a:cubicBezTo>
                  <a:pt x="343" y="146"/>
                  <a:pt x="343" y="93"/>
                  <a:pt x="310" y="61"/>
                </a:cubicBezTo>
                <a:lnTo>
                  <a:pt x="293" y="78"/>
                </a:lnTo>
                <a:cubicBezTo>
                  <a:pt x="316" y="101"/>
                  <a:pt x="316" y="138"/>
                  <a:pt x="293" y="161"/>
                </a:cubicBezTo>
                <a:lnTo>
                  <a:pt x="310" y="178"/>
                </a:lnTo>
                <a:close/>
                <a:moveTo>
                  <a:pt x="83" y="17"/>
                </a:moveTo>
                <a:lnTo>
                  <a:pt x="66" y="0"/>
                </a:lnTo>
                <a:cubicBezTo>
                  <a:pt x="0" y="66"/>
                  <a:pt x="0" y="173"/>
                  <a:pt x="66" y="239"/>
                </a:cubicBezTo>
                <a:lnTo>
                  <a:pt x="83" y="222"/>
                </a:lnTo>
                <a:cubicBezTo>
                  <a:pt x="27" y="165"/>
                  <a:pt x="27" y="74"/>
                  <a:pt x="83" y="17"/>
                </a:cubicBezTo>
                <a:close/>
                <a:moveTo>
                  <a:pt x="96" y="209"/>
                </a:moveTo>
                <a:lnTo>
                  <a:pt x="113" y="192"/>
                </a:lnTo>
                <a:cubicBezTo>
                  <a:pt x="73" y="152"/>
                  <a:pt x="73" y="87"/>
                  <a:pt x="113" y="47"/>
                </a:cubicBezTo>
                <a:lnTo>
                  <a:pt x="96" y="30"/>
                </a:lnTo>
                <a:cubicBezTo>
                  <a:pt x="46" y="79"/>
                  <a:pt x="46" y="160"/>
                  <a:pt x="96" y="209"/>
                </a:cubicBezTo>
                <a:close/>
                <a:moveTo>
                  <a:pt x="127" y="178"/>
                </a:moveTo>
                <a:lnTo>
                  <a:pt x="144" y="161"/>
                </a:lnTo>
                <a:cubicBezTo>
                  <a:pt x="121" y="138"/>
                  <a:pt x="121" y="101"/>
                  <a:pt x="144" y="78"/>
                </a:cubicBezTo>
                <a:lnTo>
                  <a:pt x="127" y="61"/>
                </a:lnTo>
                <a:cubicBezTo>
                  <a:pt x="94" y="93"/>
                  <a:pt x="94" y="146"/>
                  <a:pt x="127" y="178"/>
                </a:cubicBezTo>
                <a:close/>
                <a:moveTo>
                  <a:pt x="318" y="422"/>
                </a:moveTo>
                <a:lnTo>
                  <a:pt x="258" y="422"/>
                </a:lnTo>
                <a:lnTo>
                  <a:pt x="223" y="165"/>
                </a:lnTo>
                <a:cubicBezTo>
                  <a:pt x="239" y="163"/>
                  <a:pt x="252" y="149"/>
                  <a:pt x="252" y="132"/>
                </a:cubicBezTo>
                <a:cubicBezTo>
                  <a:pt x="252" y="113"/>
                  <a:pt x="237" y="98"/>
                  <a:pt x="218" y="98"/>
                </a:cubicBezTo>
                <a:cubicBezTo>
                  <a:pt x="200" y="98"/>
                  <a:pt x="185" y="113"/>
                  <a:pt x="185" y="132"/>
                </a:cubicBezTo>
                <a:cubicBezTo>
                  <a:pt x="185" y="149"/>
                  <a:pt x="198" y="163"/>
                  <a:pt x="214" y="165"/>
                </a:cubicBezTo>
                <a:lnTo>
                  <a:pt x="179" y="422"/>
                </a:lnTo>
                <a:lnTo>
                  <a:pt x="119" y="422"/>
                </a:lnTo>
                <a:cubicBezTo>
                  <a:pt x="105" y="422"/>
                  <a:pt x="94" y="433"/>
                  <a:pt x="94" y="447"/>
                </a:cubicBezTo>
                <a:cubicBezTo>
                  <a:pt x="94" y="461"/>
                  <a:pt x="105" y="473"/>
                  <a:pt x="119" y="473"/>
                </a:cubicBezTo>
                <a:lnTo>
                  <a:pt x="318" y="473"/>
                </a:lnTo>
                <a:cubicBezTo>
                  <a:pt x="332" y="473"/>
                  <a:pt x="343" y="461"/>
                  <a:pt x="343" y="447"/>
                </a:cubicBezTo>
                <a:cubicBezTo>
                  <a:pt x="343" y="433"/>
                  <a:pt x="332" y="422"/>
                  <a:pt x="318" y="422"/>
                </a:cubicBezTo>
                <a:close/>
              </a:path>
            </a:pathLst>
          </a:custGeom>
          <a:solidFill>
            <a:schemeClr val="bg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33" name="椭圆 32"/>
          <p:cNvSpPr/>
          <p:nvPr/>
        </p:nvSpPr>
        <p:spPr>
          <a:xfrm>
            <a:off x="5777560" y="2828745"/>
            <a:ext cx="636880" cy="636880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id-ID">
              <a:cs typeface="+mn-ea"/>
              <a:sym typeface="+mn-lt"/>
            </a:endParaRPr>
          </a:p>
        </p:txBody>
      </p:sp>
      <p:sp>
        <p:nvSpPr>
          <p:cNvPr id="34" name="任意多边形: 形状 33"/>
          <p:cNvSpPr/>
          <p:nvPr/>
        </p:nvSpPr>
        <p:spPr>
          <a:xfrm>
            <a:off x="5911848" y="2995481"/>
            <a:ext cx="368304" cy="303409"/>
          </a:xfrm>
          <a:custGeom>
            <a:avLst/>
            <a:gdLst>
              <a:gd name="T0" fmla="*/ 318 w 485"/>
              <a:gd name="T1" fmla="*/ 178 h 400"/>
              <a:gd name="T2" fmla="*/ 317 w 485"/>
              <a:gd name="T3" fmla="*/ 135 h 400"/>
              <a:gd name="T4" fmla="*/ 320 w 485"/>
              <a:gd name="T5" fmla="*/ 123 h 400"/>
              <a:gd name="T6" fmla="*/ 160 w 485"/>
              <a:gd name="T7" fmla="*/ 124 h 400"/>
              <a:gd name="T8" fmla="*/ 169 w 485"/>
              <a:gd name="T9" fmla="*/ 137 h 400"/>
              <a:gd name="T10" fmla="*/ 82 w 485"/>
              <a:gd name="T11" fmla="*/ 228 h 400"/>
              <a:gd name="T12" fmla="*/ 96 w 485"/>
              <a:gd name="T13" fmla="*/ 400 h 400"/>
              <a:gd name="T14" fmla="*/ 412 w 485"/>
              <a:gd name="T15" fmla="*/ 372 h 400"/>
              <a:gd name="T16" fmla="*/ 194 w 485"/>
              <a:gd name="T17" fmla="*/ 327 h 400"/>
              <a:gd name="T18" fmla="*/ 158 w 485"/>
              <a:gd name="T19" fmla="*/ 318 h 400"/>
              <a:gd name="T20" fmla="*/ 194 w 485"/>
              <a:gd name="T21" fmla="*/ 309 h 400"/>
              <a:gd name="T22" fmla="*/ 194 w 485"/>
              <a:gd name="T23" fmla="*/ 327 h 400"/>
              <a:gd name="T24" fmla="*/ 167 w 485"/>
              <a:gd name="T25" fmla="*/ 292 h 400"/>
              <a:gd name="T26" fmla="*/ 167 w 485"/>
              <a:gd name="T27" fmla="*/ 274 h 400"/>
              <a:gd name="T28" fmla="*/ 204 w 485"/>
              <a:gd name="T29" fmla="*/ 283 h 400"/>
              <a:gd name="T30" fmla="*/ 194 w 485"/>
              <a:gd name="T31" fmla="*/ 257 h 400"/>
              <a:gd name="T32" fmla="*/ 158 w 485"/>
              <a:gd name="T33" fmla="*/ 248 h 400"/>
              <a:gd name="T34" fmla="*/ 194 w 485"/>
              <a:gd name="T35" fmla="*/ 239 h 400"/>
              <a:gd name="T36" fmla="*/ 194 w 485"/>
              <a:gd name="T37" fmla="*/ 257 h 400"/>
              <a:gd name="T38" fmla="*/ 229 w 485"/>
              <a:gd name="T39" fmla="*/ 327 h 400"/>
              <a:gd name="T40" fmla="*/ 229 w 485"/>
              <a:gd name="T41" fmla="*/ 309 h 400"/>
              <a:gd name="T42" fmla="*/ 265 w 485"/>
              <a:gd name="T43" fmla="*/ 318 h 400"/>
              <a:gd name="T44" fmla="*/ 256 w 485"/>
              <a:gd name="T45" fmla="*/ 292 h 400"/>
              <a:gd name="T46" fmla="*/ 219 w 485"/>
              <a:gd name="T47" fmla="*/ 283 h 400"/>
              <a:gd name="T48" fmla="*/ 256 w 485"/>
              <a:gd name="T49" fmla="*/ 274 h 400"/>
              <a:gd name="T50" fmla="*/ 256 w 485"/>
              <a:gd name="T51" fmla="*/ 292 h 400"/>
              <a:gd name="T52" fmla="*/ 229 w 485"/>
              <a:gd name="T53" fmla="*/ 257 h 400"/>
              <a:gd name="T54" fmla="*/ 229 w 485"/>
              <a:gd name="T55" fmla="*/ 239 h 400"/>
              <a:gd name="T56" fmla="*/ 265 w 485"/>
              <a:gd name="T57" fmla="*/ 248 h 400"/>
              <a:gd name="T58" fmla="*/ 318 w 485"/>
              <a:gd name="T59" fmla="*/ 327 h 400"/>
              <a:gd name="T60" fmla="*/ 281 w 485"/>
              <a:gd name="T61" fmla="*/ 318 h 400"/>
              <a:gd name="T62" fmla="*/ 318 w 485"/>
              <a:gd name="T63" fmla="*/ 309 h 400"/>
              <a:gd name="T64" fmla="*/ 318 w 485"/>
              <a:gd name="T65" fmla="*/ 327 h 400"/>
              <a:gd name="T66" fmla="*/ 290 w 485"/>
              <a:gd name="T67" fmla="*/ 292 h 400"/>
              <a:gd name="T68" fmla="*/ 290 w 485"/>
              <a:gd name="T69" fmla="*/ 274 h 400"/>
              <a:gd name="T70" fmla="*/ 327 w 485"/>
              <a:gd name="T71" fmla="*/ 283 h 400"/>
              <a:gd name="T72" fmla="*/ 318 w 485"/>
              <a:gd name="T73" fmla="*/ 257 h 400"/>
              <a:gd name="T74" fmla="*/ 281 w 485"/>
              <a:gd name="T75" fmla="*/ 248 h 400"/>
              <a:gd name="T76" fmla="*/ 318 w 485"/>
              <a:gd name="T77" fmla="*/ 239 h 400"/>
              <a:gd name="T78" fmla="*/ 318 w 485"/>
              <a:gd name="T79" fmla="*/ 257 h 400"/>
              <a:gd name="T80" fmla="*/ 469 w 485"/>
              <a:gd name="T81" fmla="*/ 153 h 400"/>
              <a:gd name="T82" fmla="*/ 341 w 485"/>
              <a:gd name="T83" fmla="*/ 151 h 400"/>
              <a:gd name="T84" fmla="*/ 344 w 485"/>
              <a:gd name="T85" fmla="*/ 88 h 400"/>
              <a:gd name="T86" fmla="*/ 245 w 485"/>
              <a:gd name="T87" fmla="*/ 88 h 400"/>
              <a:gd name="T88" fmla="*/ 240 w 485"/>
              <a:gd name="T89" fmla="*/ 88 h 400"/>
              <a:gd name="T90" fmla="*/ 140 w 485"/>
              <a:gd name="T91" fmla="*/ 88 h 400"/>
              <a:gd name="T92" fmla="*/ 143 w 485"/>
              <a:gd name="T93" fmla="*/ 151 h 400"/>
              <a:gd name="T94" fmla="*/ 16 w 485"/>
              <a:gd name="T95" fmla="*/ 153 h 400"/>
              <a:gd name="T96" fmla="*/ 142 w 485"/>
              <a:gd name="T97" fmla="*/ 5 h 400"/>
              <a:gd name="T98" fmla="*/ 240 w 485"/>
              <a:gd name="T99" fmla="*/ 0 h 400"/>
              <a:gd name="T100" fmla="*/ 245 w 485"/>
              <a:gd name="T101" fmla="*/ 0 h 400"/>
              <a:gd name="T102" fmla="*/ 343 w 485"/>
              <a:gd name="T103" fmla="*/ 5 h 4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485" h="400">
                <a:moveTo>
                  <a:pt x="403" y="228"/>
                </a:moveTo>
                <a:cubicBezTo>
                  <a:pt x="372" y="221"/>
                  <a:pt x="332" y="202"/>
                  <a:pt x="318" y="178"/>
                </a:cubicBezTo>
                <a:cubicBezTo>
                  <a:pt x="310" y="165"/>
                  <a:pt x="309" y="150"/>
                  <a:pt x="316" y="137"/>
                </a:cubicBezTo>
                <a:cubicBezTo>
                  <a:pt x="316" y="137"/>
                  <a:pt x="317" y="136"/>
                  <a:pt x="317" y="135"/>
                </a:cubicBezTo>
                <a:cubicBezTo>
                  <a:pt x="317" y="132"/>
                  <a:pt x="317" y="128"/>
                  <a:pt x="319" y="124"/>
                </a:cubicBezTo>
                <a:cubicBezTo>
                  <a:pt x="320" y="123"/>
                  <a:pt x="320" y="123"/>
                  <a:pt x="320" y="123"/>
                </a:cubicBezTo>
                <a:lnTo>
                  <a:pt x="160" y="123"/>
                </a:lnTo>
                <a:cubicBezTo>
                  <a:pt x="160" y="123"/>
                  <a:pt x="160" y="123"/>
                  <a:pt x="160" y="124"/>
                </a:cubicBezTo>
                <a:cubicBezTo>
                  <a:pt x="160" y="124"/>
                  <a:pt x="160" y="124"/>
                  <a:pt x="160" y="124"/>
                </a:cubicBezTo>
                <a:cubicBezTo>
                  <a:pt x="164" y="129"/>
                  <a:pt x="167" y="134"/>
                  <a:pt x="169" y="137"/>
                </a:cubicBezTo>
                <a:cubicBezTo>
                  <a:pt x="175" y="150"/>
                  <a:pt x="175" y="165"/>
                  <a:pt x="167" y="178"/>
                </a:cubicBezTo>
                <a:cubicBezTo>
                  <a:pt x="152" y="202"/>
                  <a:pt x="113" y="221"/>
                  <a:pt x="82" y="228"/>
                </a:cubicBezTo>
                <a:lnTo>
                  <a:pt x="73" y="372"/>
                </a:lnTo>
                <a:cubicBezTo>
                  <a:pt x="72" y="387"/>
                  <a:pt x="82" y="400"/>
                  <a:pt x="96" y="400"/>
                </a:cubicBezTo>
                <a:lnTo>
                  <a:pt x="389" y="400"/>
                </a:lnTo>
                <a:cubicBezTo>
                  <a:pt x="402" y="400"/>
                  <a:pt x="413" y="387"/>
                  <a:pt x="412" y="372"/>
                </a:cubicBezTo>
                <a:lnTo>
                  <a:pt x="403" y="228"/>
                </a:lnTo>
                <a:close/>
                <a:moveTo>
                  <a:pt x="194" y="327"/>
                </a:moveTo>
                <a:lnTo>
                  <a:pt x="167" y="327"/>
                </a:lnTo>
                <a:cubicBezTo>
                  <a:pt x="162" y="327"/>
                  <a:pt x="158" y="323"/>
                  <a:pt x="158" y="318"/>
                </a:cubicBezTo>
                <a:cubicBezTo>
                  <a:pt x="158" y="313"/>
                  <a:pt x="162" y="309"/>
                  <a:pt x="167" y="309"/>
                </a:cubicBezTo>
                <a:lnTo>
                  <a:pt x="194" y="309"/>
                </a:lnTo>
                <a:cubicBezTo>
                  <a:pt x="199" y="309"/>
                  <a:pt x="204" y="313"/>
                  <a:pt x="204" y="318"/>
                </a:cubicBezTo>
                <a:cubicBezTo>
                  <a:pt x="204" y="323"/>
                  <a:pt x="199" y="327"/>
                  <a:pt x="194" y="327"/>
                </a:cubicBezTo>
                <a:close/>
                <a:moveTo>
                  <a:pt x="194" y="292"/>
                </a:moveTo>
                <a:lnTo>
                  <a:pt x="167" y="292"/>
                </a:lnTo>
                <a:cubicBezTo>
                  <a:pt x="162" y="292"/>
                  <a:pt x="158" y="288"/>
                  <a:pt x="158" y="283"/>
                </a:cubicBezTo>
                <a:cubicBezTo>
                  <a:pt x="158" y="278"/>
                  <a:pt x="162" y="274"/>
                  <a:pt x="167" y="274"/>
                </a:cubicBezTo>
                <a:lnTo>
                  <a:pt x="194" y="274"/>
                </a:lnTo>
                <a:cubicBezTo>
                  <a:pt x="199" y="274"/>
                  <a:pt x="204" y="278"/>
                  <a:pt x="204" y="283"/>
                </a:cubicBezTo>
                <a:cubicBezTo>
                  <a:pt x="204" y="288"/>
                  <a:pt x="199" y="292"/>
                  <a:pt x="194" y="292"/>
                </a:cubicBezTo>
                <a:close/>
                <a:moveTo>
                  <a:pt x="194" y="257"/>
                </a:moveTo>
                <a:lnTo>
                  <a:pt x="167" y="257"/>
                </a:lnTo>
                <a:cubicBezTo>
                  <a:pt x="162" y="257"/>
                  <a:pt x="158" y="253"/>
                  <a:pt x="158" y="248"/>
                </a:cubicBezTo>
                <a:cubicBezTo>
                  <a:pt x="158" y="243"/>
                  <a:pt x="162" y="239"/>
                  <a:pt x="167" y="239"/>
                </a:cubicBezTo>
                <a:lnTo>
                  <a:pt x="194" y="239"/>
                </a:lnTo>
                <a:cubicBezTo>
                  <a:pt x="199" y="239"/>
                  <a:pt x="204" y="243"/>
                  <a:pt x="204" y="248"/>
                </a:cubicBezTo>
                <a:cubicBezTo>
                  <a:pt x="204" y="253"/>
                  <a:pt x="199" y="257"/>
                  <a:pt x="194" y="257"/>
                </a:cubicBezTo>
                <a:close/>
                <a:moveTo>
                  <a:pt x="256" y="327"/>
                </a:moveTo>
                <a:lnTo>
                  <a:pt x="229" y="327"/>
                </a:lnTo>
                <a:cubicBezTo>
                  <a:pt x="224" y="327"/>
                  <a:pt x="219" y="323"/>
                  <a:pt x="219" y="318"/>
                </a:cubicBezTo>
                <a:cubicBezTo>
                  <a:pt x="219" y="313"/>
                  <a:pt x="224" y="309"/>
                  <a:pt x="229" y="309"/>
                </a:cubicBezTo>
                <a:lnTo>
                  <a:pt x="256" y="309"/>
                </a:lnTo>
                <a:cubicBezTo>
                  <a:pt x="261" y="309"/>
                  <a:pt x="265" y="313"/>
                  <a:pt x="265" y="318"/>
                </a:cubicBezTo>
                <a:cubicBezTo>
                  <a:pt x="265" y="323"/>
                  <a:pt x="261" y="327"/>
                  <a:pt x="256" y="327"/>
                </a:cubicBezTo>
                <a:close/>
                <a:moveTo>
                  <a:pt x="256" y="292"/>
                </a:moveTo>
                <a:lnTo>
                  <a:pt x="229" y="292"/>
                </a:lnTo>
                <a:cubicBezTo>
                  <a:pt x="224" y="292"/>
                  <a:pt x="219" y="288"/>
                  <a:pt x="219" y="283"/>
                </a:cubicBezTo>
                <a:cubicBezTo>
                  <a:pt x="219" y="278"/>
                  <a:pt x="224" y="274"/>
                  <a:pt x="229" y="274"/>
                </a:cubicBezTo>
                <a:lnTo>
                  <a:pt x="256" y="274"/>
                </a:lnTo>
                <a:cubicBezTo>
                  <a:pt x="261" y="274"/>
                  <a:pt x="265" y="278"/>
                  <a:pt x="265" y="283"/>
                </a:cubicBezTo>
                <a:cubicBezTo>
                  <a:pt x="265" y="288"/>
                  <a:pt x="261" y="292"/>
                  <a:pt x="256" y="292"/>
                </a:cubicBezTo>
                <a:close/>
                <a:moveTo>
                  <a:pt x="256" y="257"/>
                </a:moveTo>
                <a:lnTo>
                  <a:pt x="229" y="257"/>
                </a:lnTo>
                <a:cubicBezTo>
                  <a:pt x="224" y="257"/>
                  <a:pt x="219" y="253"/>
                  <a:pt x="219" y="248"/>
                </a:cubicBezTo>
                <a:cubicBezTo>
                  <a:pt x="219" y="243"/>
                  <a:pt x="224" y="239"/>
                  <a:pt x="229" y="239"/>
                </a:cubicBezTo>
                <a:lnTo>
                  <a:pt x="256" y="239"/>
                </a:lnTo>
                <a:cubicBezTo>
                  <a:pt x="261" y="239"/>
                  <a:pt x="265" y="243"/>
                  <a:pt x="265" y="248"/>
                </a:cubicBezTo>
                <a:cubicBezTo>
                  <a:pt x="265" y="253"/>
                  <a:pt x="261" y="257"/>
                  <a:pt x="256" y="257"/>
                </a:cubicBezTo>
                <a:close/>
                <a:moveTo>
                  <a:pt x="318" y="327"/>
                </a:moveTo>
                <a:lnTo>
                  <a:pt x="290" y="327"/>
                </a:lnTo>
                <a:cubicBezTo>
                  <a:pt x="285" y="327"/>
                  <a:pt x="281" y="323"/>
                  <a:pt x="281" y="318"/>
                </a:cubicBezTo>
                <a:cubicBezTo>
                  <a:pt x="281" y="313"/>
                  <a:pt x="285" y="309"/>
                  <a:pt x="290" y="309"/>
                </a:cubicBezTo>
                <a:lnTo>
                  <a:pt x="318" y="309"/>
                </a:lnTo>
                <a:cubicBezTo>
                  <a:pt x="323" y="309"/>
                  <a:pt x="327" y="313"/>
                  <a:pt x="327" y="318"/>
                </a:cubicBezTo>
                <a:cubicBezTo>
                  <a:pt x="327" y="323"/>
                  <a:pt x="323" y="327"/>
                  <a:pt x="318" y="327"/>
                </a:cubicBezTo>
                <a:close/>
                <a:moveTo>
                  <a:pt x="318" y="292"/>
                </a:moveTo>
                <a:lnTo>
                  <a:pt x="290" y="292"/>
                </a:lnTo>
                <a:cubicBezTo>
                  <a:pt x="285" y="292"/>
                  <a:pt x="281" y="288"/>
                  <a:pt x="281" y="283"/>
                </a:cubicBezTo>
                <a:cubicBezTo>
                  <a:pt x="281" y="278"/>
                  <a:pt x="285" y="274"/>
                  <a:pt x="290" y="274"/>
                </a:cubicBezTo>
                <a:lnTo>
                  <a:pt x="318" y="274"/>
                </a:lnTo>
                <a:cubicBezTo>
                  <a:pt x="323" y="274"/>
                  <a:pt x="327" y="278"/>
                  <a:pt x="327" y="283"/>
                </a:cubicBezTo>
                <a:cubicBezTo>
                  <a:pt x="327" y="288"/>
                  <a:pt x="323" y="292"/>
                  <a:pt x="318" y="292"/>
                </a:cubicBezTo>
                <a:close/>
                <a:moveTo>
                  <a:pt x="318" y="257"/>
                </a:moveTo>
                <a:lnTo>
                  <a:pt x="290" y="257"/>
                </a:lnTo>
                <a:cubicBezTo>
                  <a:pt x="285" y="257"/>
                  <a:pt x="281" y="253"/>
                  <a:pt x="281" y="248"/>
                </a:cubicBezTo>
                <a:cubicBezTo>
                  <a:pt x="281" y="243"/>
                  <a:pt x="285" y="239"/>
                  <a:pt x="290" y="239"/>
                </a:cubicBezTo>
                <a:lnTo>
                  <a:pt x="318" y="239"/>
                </a:lnTo>
                <a:cubicBezTo>
                  <a:pt x="323" y="239"/>
                  <a:pt x="327" y="243"/>
                  <a:pt x="327" y="248"/>
                </a:cubicBezTo>
                <a:cubicBezTo>
                  <a:pt x="327" y="253"/>
                  <a:pt x="323" y="257"/>
                  <a:pt x="318" y="257"/>
                </a:cubicBezTo>
                <a:close/>
                <a:moveTo>
                  <a:pt x="470" y="145"/>
                </a:moveTo>
                <a:cubicBezTo>
                  <a:pt x="470" y="148"/>
                  <a:pt x="470" y="151"/>
                  <a:pt x="469" y="153"/>
                </a:cubicBezTo>
                <a:cubicBezTo>
                  <a:pt x="462" y="169"/>
                  <a:pt x="450" y="183"/>
                  <a:pt x="440" y="198"/>
                </a:cubicBezTo>
                <a:cubicBezTo>
                  <a:pt x="429" y="216"/>
                  <a:pt x="328" y="176"/>
                  <a:pt x="341" y="151"/>
                </a:cubicBezTo>
                <a:cubicBezTo>
                  <a:pt x="346" y="141"/>
                  <a:pt x="365" y="116"/>
                  <a:pt x="366" y="105"/>
                </a:cubicBezTo>
                <a:cubicBezTo>
                  <a:pt x="368" y="96"/>
                  <a:pt x="356" y="89"/>
                  <a:pt x="344" y="88"/>
                </a:cubicBezTo>
                <a:cubicBezTo>
                  <a:pt x="315" y="85"/>
                  <a:pt x="277" y="88"/>
                  <a:pt x="245" y="88"/>
                </a:cubicBezTo>
                <a:lnTo>
                  <a:pt x="245" y="88"/>
                </a:lnTo>
                <a:cubicBezTo>
                  <a:pt x="244" y="88"/>
                  <a:pt x="243" y="88"/>
                  <a:pt x="242" y="88"/>
                </a:cubicBezTo>
                <a:cubicBezTo>
                  <a:pt x="241" y="88"/>
                  <a:pt x="241" y="88"/>
                  <a:pt x="240" y="88"/>
                </a:cubicBezTo>
                <a:lnTo>
                  <a:pt x="240" y="88"/>
                </a:lnTo>
                <a:cubicBezTo>
                  <a:pt x="208" y="88"/>
                  <a:pt x="170" y="85"/>
                  <a:pt x="140" y="88"/>
                </a:cubicBezTo>
                <a:cubicBezTo>
                  <a:pt x="129" y="89"/>
                  <a:pt x="117" y="96"/>
                  <a:pt x="118" y="105"/>
                </a:cubicBezTo>
                <a:cubicBezTo>
                  <a:pt x="120" y="116"/>
                  <a:pt x="139" y="141"/>
                  <a:pt x="143" y="151"/>
                </a:cubicBezTo>
                <a:cubicBezTo>
                  <a:pt x="156" y="176"/>
                  <a:pt x="56" y="216"/>
                  <a:pt x="44" y="198"/>
                </a:cubicBezTo>
                <a:cubicBezTo>
                  <a:pt x="35" y="183"/>
                  <a:pt x="23" y="169"/>
                  <a:pt x="16" y="153"/>
                </a:cubicBezTo>
                <a:cubicBezTo>
                  <a:pt x="15" y="151"/>
                  <a:pt x="15" y="148"/>
                  <a:pt x="14" y="145"/>
                </a:cubicBezTo>
                <a:cubicBezTo>
                  <a:pt x="0" y="79"/>
                  <a:pt x="56" y="12"/>
                  <a:pt x="142" y="5"/>
                </a:cubicBezTo>
                <a:cubicBezTo>
                  <a:pt x="174" y="3"/>
                  <a:pt x="207" y="1"/>
                  <a:pt x="240" y="0"/>
                </a:cubicBezTo>
                <a:lnTo>
                  <a:pt x="240" y="0"/>
                </a:lnTo>
                <a:cubicBezTo>
                  <a:pt x="241" y="0"/>
                  <a:pt x="241" y="0"/>
                  <a:pt x="242" y="0"/>
                </a:cubicBezTo>
                <a:cubicBezTo>
                  <a:pt x="243" y="0"/>
                  <a:pt x="244" y="0"/>
                  <a:pt x="245" y="0"/>
                </a:cubicBezTo>
                <a:lnTo>
                  <a:pt x="245" y="0"/>
                </a:lnTo>
                <a:cubicBezTo>
                  <a:pt x="278" y="1"/>
                  <a:pt x="310" y="3"/>
                  <a:pt x="343" y="5"/>
                </a:cubicBezTo>
                <a:cubicBezTo>
                  <a:pt x="428" y="12"/>
                  <a:pt x="485" y="79"/>
                  <a:pt x="470" y="145"/>
                </a:cubicBezTo>
                <a:close/>
              </a:path>
            </a:pathLst>
          </a:custGeom>
          <a:solidFill>
            <a:schemeClr val="bg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31" name="椭圆 30"/>
          <p:cNvSpPr/>
          <p:nvPr/>
        </p:nvSpPr>
        <p:spPr>
          <a:xfrm>
            <a:off x="7186119" y="3186045"/>
            <a:ext cx="636880" cy="636880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id-ID">
              <a:cs typeface="+mn-ea"/>
              <a:sym typeface="+mn-lt"/>
            </a:endParaRPr>
          </a:p>
        </p:txBody>
      </p:sp>
      <p:sp>
        <p:nvSpPr>
          <p:cNvPr id="32" name="任意多边形: 形状 31"/>
          <p:cNvSpPr/>
          <p:nvPr/>
        </p:nvSpPr>
        <p:spPr>
          <a:xfrm>
            <a:off x="7320407" y="3320611"/>
            <a:ext cx="368304" cy="367748"/>
          </a:xfrm>
          <a:custGeom>
            <a:avLst/>
            <a:gdLst>
              <a:gd name="connsiteX0" fmla="*/ 106370 w 607639"/>
              <a:gd name="connsiteY0" fmla="*/ 436610 h 606722"/>
              <a:gd name="connsiteX1" fmla="*/ 61329 w 607639"/>
              <a:gd name="connsiteY1" fmla="*/ 480515 h 606722"/>
              <a:gd name="connsiteX2" fmla="*/ 126397 w 607639"/>
              <a:gd name="connsiteY2" fmla="*/ 545485 h 606722"/>
              <a:gd name="connsiteX3" fmla="*/ 170369 w 607639"/>
              <a:gd name="connsiteY3" fmla="*/ 500513 h 606722"/>
              <a:gd name="connsiteX4" fmla="*/ 455714 w 607639"/>
              <a:gd name="connsiteY4" fmla="*/ 404481 h 606722"/>
              <a:gd name="connsiteX5" fmla="*/ 531614 w 607639"/>
              <a:gd name="connsiteY5" fmla="*/ 404481 h 606722"/>
              <a:gd name="connsiteX6" fmla="*/ 531703 w 607639"/>
              <a:gd name="connsiteY6" fmla="*/ 404481 h 606722"/>
              <a:gd name="connsiteX7" fmla="*/ 531792 w 607639"/>
              <a:gd name="connsiteY7" fmla="*/ 404481 h 606722"/>
              <a:gd name="connsiteX8" fmla="*/ 548075 w 607639"/>
              <a:gd name="connsiteY8" fmla="*/ 410525 h 606722"/>
              <a:gd name="connsiteX9" fmla="*/ 551456 w 607639"/>
              <a:gd name="connsiteY9" fmla="*/ 413991 h 606722"/>
              <a:gd name="connsiteX10" fmla="*/ 556973 w 607639"/>
              <a:gd name="connsiteY10" fmla="*/ 429012 h 606722"/>
              <a:gd name="connsiteX11" fmla="*/ 556973 w 607639"/>
              <a:gd name="connsiteY11" fmla="*/ 429811 h 606722"/>
              <a:gd name="connsiteX12" fmla="*/ 556973 w 607639"/>
              <a:gd name="connsiteY12" fmla="*/ 505625 h 606722"/>
              <a:gd name="connsiteX13" fmla="*/ 531614 w 607639"/>
              <a:gd name="connsiteY13" fmla="*/ 530867 h 606722"/>
              <a:gd name="connsiteX14" fmla="*/ 506343 w 607639"/>
              <a:gd name="connsiteY14" fmla="*/ 505625 h 606722"/>
              <a:gd name="connsiteX15" fmla="*/ 476001 w 607639"/>
              <a:gd name="connsiteY15" fmla="*/ 546065 h 606722"/>
              <a:gd name="connsiteX16" fmla="*/ 455714 w 607639"/>
              <a:gd name="connsiteY16" fmla="*/ 556197 h 606722"/>
              <a:gd name="connsiteX17" fmla="*/ 440498 w 607639"/>
              <a:gd name="connsiteY17" fmla="*/ 551131 h 606722"/>
              <a:gd name="connsiteX18" fmla="*/ 435515 w 607639"/>
              <a:gd name="connsiteY18" fmla="*/ 515757 h 606722"/>
              <a:gd name="connsiteX19" fmla="*/ 481073 w 607639"/>
              <a:gd name="connsiteY19" fmla="*/ 455053 h 606722"/>
              <a:gd name="connsiteX20" fmla="*/ 455714 w 607639"/>
              <a:gd name="connsiteY20" fmla="*/ 455053 h 606722"/>
              <a:gd name="connsiteX21" fmla="*/ 430443 w 607639"/>
              <a:gd name="connsiteY21" fmla="*/ 429811 h 606722"/>
              <a:gd name="connsiteX22" fmla="*/ 455714 w 607639"/>
              <a:gd name="connsiteY22" fmla="*/ 404481 h 606722"/>
              <a:gd name="connsiteX23" fmla="*/ 157786 w 607639"/>
              <a:gd name="connsiteY23" fmla="*/ 282117 h 606722"/>
              <a:gd name="connsiteX24" fmla="*/ 175710 w 607639"/>
              <a:gd name="connsiteY24" fmla="*/ 289516 h 606722"/>
              <a:gd name="connsiteX25" fmla="*/ 317685 w 607639"/>
              <a:gd name="connsiteY25" fmla="*/ 431277 h 606722"/>
              <a:gd name="connsiteX26" fmla="*/ 317685 w 607639"/>
              <a:gd name="connsiteY26" fmla="*/ 467006 h 606722"/>
              <a:gd name="connsiteX27" fmla="*/ 245229 w 607639"/>
              <a:gd name="connsiteY27" fmla="*/ 539441 h 606722"/>
              <a:gd name="connsiteX28" fmla="*/ 227248 w 607639"/>
              <a:gd name="connsiteY28" fmla="*/ 546818 h 606722"/>
              <a:gd name="connsiteX29" fmla="*/ 209357 w 607639"/>
              <a:gd name="connsiteY29" fmla="*/ 539441 h 606722"/>
              <a:gd name="connsiteX30" fmla="*/ 206241 w 607639"/>
              <a:gd name="connsiteY30" fmla="*/ 536242 h 606722"/>
              <a:gd name="connsiteX31" fmla="*/ 144734 w 607639"/>
              <a:gd name="connsiteY31" fmla="*/ 599079 h 606722"/>
              <a:gd name="connsiteX32" fmla="*/ 126753 w 607639"/>
              <a:gd name="connsiteY32" fmla="*/ 606722 h 606722"/>
              <a:gd name="connsiteX33" fmla="*/ 126575 w 607639"/>
              <a:gd name="connsiteY33" fmla="*/ 606722 h 606722"/>
              <a:gd name="connsiteX34" fmla="*/ 108684 w 607639"/>
              <a:gd name="connsiteY34" fmla="*/ 599256 h 606722"/>
              <a:gd name="connsiteX35" fmla="*/ 7388 w 607639"/>
              <a:gd name="connsiteY35" fmla="*/ 498113 h 606722"/>
              <a:gd name="connsiteX36" fmla="*/ 0 w 607639"/>
              <a:gd name="connsiteY36" fmla="*/ 480160 h 606722"/>
              <a:gd name="connsiteX37" fmla="*/ 7655 w 607639"/>
              <a:gd name="connsiteY37" fmla="*/ 462206 h 606722"/>
              <a:gd name="connsiteX38" fmla="*/ 70587 w 607639"/>
              <a:gd name="connsiteY38" fmla="*/ 400792 h 606722"/>
              <a:gd name="connsiteX39" fmla="*/ 67382 w 607639"/>
              <a:gd name="connsiteY39" fmla="*/ 397681 h 606722"/>
              <a:gd name="connsiteX40" fmla="*/ 59994 w 607639"/>
              <a:gd name="connsiteY40" fmla="*/ 379728 h 606722"/>
              <a:gd name="connsiteX41" fmla="*/ 67382 w 607639"/>
              <a:gd name="connsiteY41" fmla="*/ 361863 h 606722"/>
              <a:gd name="connsiteX42" fmla="*/ 139927 w 607639"/>
              <a:gd name="connsiteY42" fmla="*/ 289516 h 606722"/>
              <a:gd name="connsiteX43" fmla="*/ 157786 w 607639"/>
              <a:gd name="connsiteY43" fmla="*/ 282117 h 606722"/>
              <a:gd name="connsiteX44" fmla="*/ 363724 w 607639"/>
              <a:gd name="connsiteY44" fmla="*/ 101159 h 606722"/>
              <a:gd name="connsiteX45" fmla="*/ 353254 w 607639"/>
              <a:gd name="connsiteY45" fmla="*/ 105492 h 606722"/>
              <a:gd name="connsiteX46" fmla="*/ 320945 w 607639"/>
              <a:gd name="connsiteY46" fmla="*/ 137752 h 606722"/>
              <a:gd name="connsiteX47" fmla="*/ 323793 w 607639"/>
              <a:gd name="connsiteY47" fmla="*/ 139974 h 606722"/>
              <a:gd name="connsiteX48" fmla="*/ 335898 w 607639"/>
              <a:gd name="connsiteY48" fmla="*/ 148417 h 606722"/>
              <a:gd name="connsiteX49" fmla="*/ 341149 w 607639"/>
              <a:gd name="connsiteY49" fmla="*/ 151794 h 606722"/>
              <a:gd name="connsiteX50" fmla="*/ 359930 w 607639"/>
              <a:gd name="connsiteY50" fmla="*/ 162459 h 606722"/>
              <a:gd name="connsiteX51" fmla="*/ 408439 w 607639"/>
              <a:gd name="connsiteY51" fmla="*/ 198897 h 606722"/>
              <a:gd name="connsiteX52" fmla="*/ 444933 w 607639"/>
              <a:gd name="connsiteY52" fmla="*/ 247243 h 606722"/>
              <a:gd name="connsiteX53" fmla="*/ 455614 w 607639"/>
              <a:gd name="connsiteY53" fmla="*/ 266084 h 606722"/>
              <a:gd name="connsiteX54" fmla="*/ 458907 w 607639"/>
              <a:gd name="connsiteY54" fmla="*/ 271239 h 606722"/>
              <a:gd name="connsiteX55" fmla="*/ 467452 w 607639"/>
              <a:gd name="connsiteY55" fmla="*/ 283326 h 606722"/>
              <a:gd name="connsiteX56" fmla="*/ 469677 w 607639"/>
              <a:gd name="connsiteY56" fmla="*/ 286258 h 606722"/>
              <a:gd name="connsiteX57" fmla="*/ 501987 w 607639"/>
              <a:gd name="connsiteY57" fmla="*/ 253998 h 606722"/>
              <a:gd name="connsiteX58" fmla="*/ 501987 w 607639"/>
              <a:gd name="connsiteY58" fmla="*/ 233024 h 606722"/>
              <a:gd name="connsiteX59" fmla="*/ 374260 w 607639"/>
              <a:gd name="connsiteY59" fmla="*/ 105492 h 606722"/>
              <a:gd name="connsiteX60" fmla="*/ 363724 w 607639"/>
              <a:gd name="connsiteY60" fmla="*/ 101159 h 606722"/>
              <a:gd name="connsiteX61" fmla="*/ 177209 w 607639"/>
              <a:gd name="connsiteY61" fmla="*/ 50521 h 606722"/>
              <a:gd name="connsiteX62" fmla="*/ 195096 w 607639"/>
              <a:gd name="connsiteY62" fmla="*/ 57919 h 606722"/>
              <a:gd name="connsiteX63" fmla="*/ 195096 w 607639"/>
              <a:gd name="connsiteY63" fmla="*/ 93644 h 606722"/>
              <a:gd name="connsiteX64" fmla="*/ 137075 w 607639"/>
              <a:gd name="connsiteY64" fmla="*/ 151675 h 606722"/>
              <a:gd name="connsiteX65" fmla="*/ 151936 w 607639"/>
              <a:gd name="connsiteY65" fmla="*/ 151675 h 606722"/>
              <a:gd name="connsiteX66" fmla="*/ 177209 w 607639"/>
              <a:gd name="connsiteY66" fmla="*/ 176914 h 606722"/>
              <a:gd name="connsiteX67" fmla="*/ 151936 w 607639"/>
              <a:gd name="connsiteY67" fmla="*/ 202241 h 606722"/>
              <a:gd name="connsiteX68" fmla="*/ 75939 w 607639"/>
              <a:gd name="connsiteY68" fmla="*/ 202241 h 606722"/>
              <a:gd name="connsiteX69" fmla="*/ 59387 w 607639"/>
              <a:gd name="connsiteY69" fmla="*/ 196020 h 606722"/>
              <a:gd name="connsiteX70" fmla="*/ 55916 w 607639"/>
              <a:gd name="connsiteY70" fmla="*/ 192288 h 606722"/>
              <a:gd name="connsiteX71" fmla="*/ 50755 w 607639"/>
              <a:gd name="connsiteY71" fmla="*/ 178691 h 606722"/>
              <a:gd name="connsiteX72" fmla="*/ 50666 w 607639"/>
              <a:gd name="connsiteY72" fmla="*/ 176736 h 606722"/>
              <a:gd name="connsiteX73" fmla="*/ 50666 w 607639"/>
              <a:gd name="connsiteY73" fmla="*/ 101109 h 606722"/>
              <a:gd name="connsiteX74" fmla="*/ 75939 w 607639"/>
              <a:gd name="connsiteY74" fmla="*/ 75782 h 606722"/>
              <a:gd name="connsiteX75" fmla="*/ 101301 w 607639"/>
              <a:gd name="connsiteY75" fmla="*/ 101109 h 606722"/>
              <a:gd name="connsiteX76" fmla="*/ 101301 w 607639"/>
              <a:gd name="connsiteY76" fmla="*/ 115861 h 606722"/>
              <a:gd name="connsiteX77" fmla="*/ 159322 w 607639"/>
              <a:gd name="connsiteY77" fmla="*/ 57919 h 606722"/>
              <a:gd name="connsiteX78" fmla="*/ 177209 w 607639"/>
              <a:gd name="connsiteY78" fmla="*/ 50521 h 606722"/>
              <a:gd name="connsiteX79" fmla="*/ 480892 w 607639"/>
              <a:gd name="connsiteY79" fmla="*/ 0 h 606722"/>
              <a:gd name="connsiteX80" fmla="*/ 498960 w 607639"/>
              <a:gd name="connsiteY80" fmla="*/ 7376 h 606722"/>
              <a:gd name="connsiteX81" fmla="*/ 600162 w 607639"/>
              <a:gd name="connsiteY81" fmla="*/ 108513 h 606722"/>
              <a:gd name="connsiteX82" fmla="*/ 607639 w 607639"/>
              <a:gd name="connsiteY82" fmla="*/ 126554 h 606722"/>
              <a:gd name="connsiteX83" fmla="*/ 599984 w 607639"/>
              <a:gd name="connsiteY83" fmla="*/ 144507 h 606722"/>
              <a:gd name="connsiteX84" fmla="*/ 541417 w 607639"/>
              <a:gd name="connsiteY84" fmla="*/ 201741 h 606722"/>
              <a:gd name="connsiteX85" fmla="*/ 537768 w 607639"/>
              <a:gd name="connsiteY85" fmla="*/ 289724 h 606722"/>
              <a:gd name="connsiteX86" fmla="*/ 486499 w 607639"/>
              <a:gd name="connsiteY86" fmla="*/ 340915 h 606722"/>
              <a:gd name="connsiteX87" fmla="*/ 484719 w 607639"/>
              <a:gd name="connsiteY87" fmla="*/ 342159 h 606722"/>
              <a:gd name="connsiteX88" fmla="*/ 480002 w 607639"/>
              <a:gd name="connsiteY88" fmla="*/ 345270 h 606722"/>
              <a:gd name="connsiteX89" fmla="*/ 476530 w 607639"/>
              <a:gd name="connsiteY89" fmla="*/ 346869 h 606722"/>
              <a:gd name="connsiteX90" fmla="*/ 471190 w 607639"/>
              <a:gd name="connsiteY90" fmla="*/ 347847 h 606722"/>
              <a:gd name="connsiteX91" fmla="*/ 468609 w 607639"/>
              <a:gd name="connsiteY91" fmla="*/ 348380 h 606722"/>
              <a:gd name="connsiteX92" fmla="*/ 467452 w 607639"/>
              <a:gd name="connsiteY92" fmla="*/ 348114 h 606722"/>
              <a:gd name="connsiteX93" fmla="*/ 462111 w 607639"/>
              <a:gd name="connsiteY93" fmla="*/ 347047 h 606722"/>
              <a:gd name="connsiteX94" fmla="*/ 458373 w 607639"/>
              <a:gd name="connsiteY94" fmla="*/ 345981 h 606722"/>
              <a:gd name="connsiteX95" fmla="*/ 457305 w 607639"/>
              <a:gd name="connsiteY95" fmla="*/ 345714 h 606722"/>
              <a:gd name="connsiteX96" fmla="*/ 428911 w 607639"/>
              <a:gd name="connsiteY96" fmla="*/ 331494 h 606722"/>
              <a:gd name="connsiteX97" fmla="*/ 407282 w 607639"/>
              <a:gd name="connsiteY97" fmla="*/ 335049 h 606722"/>
              <a:gd name="connsiteX98" fmla="*/ 376308 w 607639"/>
              <a:gd name="connsiteY98" fmla="*/ 365888 h 606722"/>
              <a:gd name="connsiteX99" fmla="*/ 344265 w 607639"/>
              <a:gd name="connsiteY99" fmla="*/ 379219 h 606722"/>
              <a:gd name="connsiteX100" fmla="*/ 312133 w 607639"/>
              <a:gd name="connsiteY100" fmla="*/ 365888 h 606722"/>
              <a:gd name="connsiteX101" fmla="*/ 241194 w 607639"/>
              <a:gd name="connsiteY101" fmla="*/ 295057 h 606722"/>
              <a:gd name="connsiteX102" fmla="*/ 241194 w 607639"/>
              <a:gd name="connsiteY102" fmla="*/ 230891 h 606722"/>
              <a:gd name="connsiteX103" fmla="*/ 272079 w 607639"/>
              <a:gd name="connsiteY103" fmla="*/ 200052 h 606722"/>
              <a:gd name="connsiteX104" fmla="*/ 275551 w 607639"/>
              <a:gd name="connsiteY104" fmla="*/ 178456 h 606722"/>
              <a:gd name="connsiteX105" fmla="*/ 261398 w 607639"/>
              <a:gd name="connsiteY105" fmla="*/ 150106 h 606722"/>
              <a:gd name="connsiteX106" fmla="*/ 261131 w 607639"/>
              <a:gd name="connsiteY106" fmla="*/ 149039 h 606722"/>
              <a:gd name="connsiteX107" fmla="*/ 260063 w 607639"/>
              <a:gd name="connsiteY107" fmla="*/ 145307 h 606722"/>
              <a:gd name="connsiteX108" fmla="*/ 258995 w 607639"/>
              <a:gd name="connsiteY108" fmla="*/ 139974 h 606722"/>
              <a:gd name="connsiteX109" fmla="*/ 259262 w 607639"/>
              <a:gd name="connsiteY109" fmla="*/ 136242 h 606722"/>
              <a:gd name="connsiteX110" fmla="*/ 260241 w 607639"/>
              <a:gd name="connsiteY110" fmla="*/ 130909 h 606722"/>
              <a:gd name="connsiteX111" fmla="*/ 261754 w 607639"/>
              <a:gd name="connsiteY111" fmla="*/ 127443 h 606722"/>
              <a:gd name="connsiteX112" fmla="*/ 264959 w 607639"/>
              <a:gd name="connsiteY112" fmla="*/ 122733 h 606722"/>
              <a:gd name="connsiteX113" fmla="*/ 266116 w 607639"/>
              <a:gd name="connsiteY113" fmla="*/ 120955 h 606722"/>
              <a:gd name="connsiteX114" fmla="*/ 317384 w 607639"/>
              <a:gd name="connsiteY114" fmla="*/ 69676 h 606722"/>
              <a:gd name="connsiteX115" fmla="*/ 405591 w 607639"/>
              <a:gd name="connsiteY115" fmla="*/ 66121 h 606722"/>
              <a:gd name="connsiteX116" fmla="*/ 462912 w 607639"/>
              <a:gd name="connsiteY116" fmla="*/ 7554 h 606722"/>
              <a:gd name="connsiteX117" fmla="*/ 480892 w 607639"/>
              <a:gd name="connsiteY117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607639" h="606722">
                <a:moveTo>
                  <a:pt x="106370" y="436610"/>
                </a:moveTo>
                <a:lnTo>
                  <a:pt x="61329" y="480515"/>
                </a:lnTo>
                <a:lnTo>
                  <a:pt x="126397" y="545485"/>
                </a:lnTo>
                <a:lnTo>
                  <a:pt x="170369" y="500513"/>
                </a:lnTo>
                <a:close/>
                <a:moveTo>
                  <a:pt x="455714" y="404481"/>
                </a:moveTo>
                <a:lnTo>
                  <a:pt x="531614" y="404481"/>
                </a:lnTo>
                <a:lnTo>
                  <a:pt x="531703" y="404481"/>
                </a:lnTo>
                <a:lnTo>
                  <a:pt x="531792" y="404481"/>
                </a:lnTo>
                <a:cubicBezTo>
                  <a:pt x="538020" y="404481"/>
                  <a:pt x="543715" y="406792"/>
                  <a:pt x="548075" y="410525"/>
                </a:cubicBezTo>
                <a:cubicBezTo>
                  <a:pt x="549321" y="411591"/>
                  <a:pt x="550388" y="412747"/>
                  <a:pt x="551456" y="413991"/>
                </a:cubicBezTo>
                <a:cubicBezTo>
                  <a:pt x="554748" y="418079"/>
                  <a:pt x="556795" y="423323"/>
                  <a:pt x="556973" y="429012"/>
                </a:cubicBezTo>
                <a:cubicBezTo>
                  <a:pt x="556973" y="429278"/>
                  <a:pt x="556973" y="429545"/>
                  <a:pt x="556973" y="429811"/>
                </a:cubicBezTo>
                <a:lnTo>
                  <a:pt x="556973" y="505625"/>
                </a:lnTo>
                <a:cubicBezTo>
                  <a:pt x="556973" y="519579"/>
                  <a:pt x="545673" y="530867"/>
                  <a:pt x="531614" y="530867"/>
                </a:cubicBezTo>
                <a:cubicBezTo>
                  <a:pt x="517644" y="530867"/>
                  <a:pt x="506343" y="519579"/>
                  <a:pt x="506343" y="505625"/>
                </a:cubicBezTo>
                <a:lnTo>
                  <a:pt x="476001" y="546065"/>
                </a:lnTo>
                <a:cubicBezTo>
                  <a:pt x="471018" y="552731"/>
                  <a:pt x="463366" y="556197"/>
                  <a:pt x="455714" y="556197"/>
                </a:cubicBezTo>
                <a:cubicBezTo>
                  <a:pt x="450375" y="556197"/>
                  <a:pt x="445125" y="554508"/>
                  <a:pt x="440498" y="551131"/>
                </a:cubicBezTo>
                <a:cubicBezTo>
                  <a:pt x="429375" y="542776"/>
                  <a:pt x="427062" y="526867"/>
                  <a:pt x="435515" y="515757"/>
                </a:cubicBezTo>
                <a:lnTo>
                  <a:pt x="481073" y="455053"/>
                </a:lnTo>
                <a:lnTo>
                  <a:pt x="455714" y="455053"/>
                </a:lnTo>
                <a:cubicBezTo>
                  <a:pt x="441744" y="455053"/>
                  <a:pt x="430443" y="443765"/>
                  <a:pt x="430443" y="429811"/>
                </a:cubicBezTo>
                <a:cubicBezTo>
                  <a:pt x="430443" y="415857"/>
                  <a:pt x="441744" y="404481"/>
                  <a:pt x="455714" y="404481"/>
                </a:cubicBezTo>
                <a:close/>
                <a:moveTo>
                  <a:pt x="157786" y="282117"/>
                </a:moveTo>
                <a:cubicBezTo>
                  <a:pt x="164272" y="282117"/>
                  <a:pt x="170770" y="284584"/>
                  <a:pt x="175710" y="289516"/>
                </a:cubicBezTo>
                <a:lnTo>
                  <a:pt x="317685" y="431277"/>
                </a:lnTo>
                <a:cubicBezTo>
                  <a:pt x="327565" y="441142"/>
                  <a:pt x="327565" y="457140"/>
                  <a:pt x="317685" y="467006"/>
                </a:cubicBezTo>
                <a:lnTo>
                  <a:pt x="245229" y="539441"/>
                </a:lnTo>
                <a:cubicBezTo>
                  <a:pt x="240422" y="544152"/>
                  <a:pt x="234013" y="546818"/>
                  <a:pt x="227248" y="546818"/>
                </a:cubicBezTo>
                <a:cubicBezTo>
                  <a:pt x="220572" y="546818"/>
                  <a:pt x="214163" y="544152"/>
                  <a:pt x="209357" y="539441"/>
                </a:cubicBezTo>
                <a:lnTo>
                  <a:pt x="206241" y="536242"/>
                </a:lnTo>
                <a:lnTo>
                  <a:pt x="144734" y="599079"/>
                </a:lnTo>
                <a:cubicBezTo>
                  <a:pt x="140016" y="603967"/>
                  <a:pt x="133518" y="606633"/>
                  <a:pt x="126753" y="606722"/>
                </a:cubicBezTo>
                <a:lnTo>
                  <a:pt x="126575" y="606722"/>
                </a:lnTo>
                <a:cubicBezTo>
                  <a:pt x="119899" y="606722"/>
                  <a:pt x="113491" y="604056"/>
                  <a:pt x="108684" y="599256"/>
                </a:cubicBezTo>
                <a:lnTo>
                  <a:pt x="7388" y="498113"/>
                </a:lnTo>
                <a:cubicBezTo>
                  <a:pt x="2670" y="493403"/>
                  <a:pt x="0" y="486914"/>
                  <a:pt x="0" y="480160"/>
                </a:cubicBezTo>
                <a:cubicBezTo>
                  <a:pt x="89" y="473405"/>
                  <a:pt x="2759" y="466917"/>
                  <a:pt x="7655" y="462206"/>
                </a:cubicBezTo>
                <a:lnTo>
                  <a:pt x="70587" y="400792"/>
                </a:lnTo>
                <a:lnTo>
                  <a:pt x="67382" y="397681"/>
                </a:lnTo>
                <a:cubicBezTo>
                  <a:pt x="62665" y="392882"/>
                  <a:pt x="59994" y="386482"/>
                  <a:pt x="59994" y="379728"/>
                </a:cubicBezTo>
                <a:cubicBezTo>
                  <a:pt x="59994" y="373062"/>
                  <a:pt x="62665" y="366663"/>
                  <a:pt x="67382" y="361863"/>
                </a:cubicBezTo>
                <a:lnTo>
                  <a:pt x="139927" y="289516"/>
                </a:lnTo>
                <a:cubicBezTo>
                  <a:pt x="144823" y="284584"/>
                  <a:pt x="151299" y="282117"/>
                  <a:pt x="157786" y="282117"/>
                </a:cubicBezTo>
                <a:close/>
                <a:moveTo>
                  <a:pt x="363724" y="101159"/>
                </a:moveTo>
                <a:cubicBezTo>
                  <a:pt x="359930" y="101159"/>
                  <a:pt x="356147" y="102604"/>
                  <a:pt x="353254" y="105492"/>
                </a:cubicBezTo>
                <a:lnTo>
                  <a:pt x="320945" y="137752"/>
                </a:lnTo>
                <a:cubicBezTo>
                  <a:pt x="321835" y="138463"/>
                  <a:pt x="322814" y="139174"/>
                  <a:pt x="323793" y="139974"/>
                </a:cubicBezTo>
                <a:cubicBezTo>
                  <a:pt x="327709" y="142818"/>
                  <a:pt x="331715" y="145662"/>
                  <a:pt x="335898" y="148417"/>
                </a:cubicBezTo>
                <a:cubicBezTo>
                  <a:pt x="337678" y="149572"/>
                  <a:pt x="339369" y="150728"/>
                  <a:pt x="341149" y="151794"/>
                </a:cubicBezTo>
                <a:cubicBezTo>
                  <a:pt x="347113" y="155527"/>
                  <a:pt x="353254" y="159082"/>
                  <a:pt x="359930" y="162459"/>
                </a:cubicBezTo>
                <a:cubicBezTo>
                  <a:pt x="376040" y="170724"/>
                  <a:pt x="392863" y="183344"/>
                  <a:pt x="408439" y="198897"/>
                </a:cubicBezTo>
                <a:cubicBezTo>
                  <a:pt x="424016" y="214449"/>
                  <a:pt x="436655" y="231246"/>
                  <a:pt x="444933" y="247243"/>
                </a:cubicBezTo>
                <a:cubicBezTo>
                  <a:pt x="448315" y="253998"/>
                  <a:pt x="451875" y="260130"/>
                  <a:pt x="455614" y="266084"/>
                </a:cubicBezTo>
                <a:cubicBezTo>
                  <a:pt x="456682" y="267862"/>
                  <a:pt x="457839" y="269550"/>
                  <a:pt x="458907" y="271239"/>
                </a:cubicBezTo>
                <a:cubicBezTo>
                  <a:pt x="461666" y="275416"/>
                  <a:pt x="464514" y="279504"/>
                  <a:pt x="467452" y="283326"/>
                </a:cubicBezTo>
                <a:cubicBezTo>
                  <a:pt x="468164" y="284303"/>
                  <a:pt x="468876" y="285281"/>
                  <a:pt x="469677" y="286258"/>
                </a:cubicBezTo>
                <a:lnTo>
                  <a:pt x="501987" y="253998"/>
                </a:lnTo>
                <a:cubicBezTo>
                  <a:pt x="507772" y="248221"/>
                  <a:pt x="507772" y="238800"/>
                  <a:pt x="501987" y="233024"/>
                </a:cubicBezTo>
                <a:lnTo>
                  <a:pt x="374260" y="105492"/>
                </a:lnTo>
                <a:cubicBezTo>
                  <a:pt x="371323" y="102604"/>
                  <a:pt x="367518" y="101159"/>
                  <a:pt x="363724" y="101159"/>
                </a:cubicBezTo>
                <a:close/>
                <a:moveTo>
                  <a:pt x="177209" y="50521"/>
                </a:moveTo>
                <a:cubicBezTo>
                  <a:pt x="183683" y="50521"/>
                  <a:pt x="190157" y="52987"/>
                  <a:pt x="195096" y="57919"/>
                </a:cubicBezTo>
                <a:cubicBezTo>
                  <a:pt x="205063" y="67784"/>
                  <a:pt x="205063" y="83869"/>
                  <a:pt x="195096" y="93644"/>
                </a:cubicBezTo>
                <a:lnTo>
                  <a:pt x="137075" y="151675"/>
                </a:lnTo>
                <a:lnTo>
                  <a:pt x="151936" y="151675"/>
                </a:lnTo>
                <a:cubicBezTo>
                  <a:pt x="165908" y="151675"/>
                  <a:pt x="177209" y="162961"/>
                  <a:pt x="177209" y="176914"/>
                </a:cubicBezTo>
                <a:cubicBezTo>
                  <a:pt x="177209" y="190866"/>
                  <a:pt x="165908" y="202241"/>
                  <a:pt x="151936" y="202241"/>
                </a:cubicBezTo>
                <a:lnTo>
                  <a:pt x="75939" y="202241"/>
                </a:lnTo>
                <a:cubicBezTo>
                  <a:pt x="69621" y="202241"/>
                  <a:pt x="63836" y="199842"/>
                  <a:pt x="59387" y="196020"/>
                </a:cubicBezTo>
                <a:cubicBezTo>
                  <a:pt x="58141" y="194954"/>
                  <a:pt x="56984" y="193710"/>
                  <a:pt x="55916" y="192288"/>
                </a:cubicBezTo>
                <a:cubicBezTo>
                  <a:pt x="52980" y="188466"/>
                  <a:pt x="51111" y="183845"/>
                  <a:pt x="50755" y="178691"/>
                </a:cubicBezTo>
                <a:cubicBezTo>
                  <a:pt x="50666" y="178069"/>
                  <a:pt x="50666" y="177447"/>
                  <a:pt x="50666" y="176736"/>
                </a:cubicBezTo>
                <a:lnTo>
                  <a:pt x="50666" y="101109"/>
                </a:lnTo>
                <a:cubicBezTo>
                  <a:pt x="50666" y="87157"/>
                  <a:pt x="61968" y="75782"/>
                  <a:pt x="75939" y="75782"/>
                </a:cubicBezTo>
                <a:cubicBezTo>
                  <a:pt x="89910" y="75782"/>
                  <a:pt x="101301" y="87157"/>
                  <a:pt x="101301" y="101109"/>
                </a:cubicBezTo>
                <a:lnTo>
                  <a:pt x="101301" y="115861"/>
                </a:lnTo>
                <a:lnTo>
                  <a:pt x="159322" y="57919"/>
                </a:lnTo>
                <a:cubicBezTo>
                  <a:pt x="164261" y="52987"/>
                  <a:pt x="170735" y="50521"/>
                  <a:pt x="177209" y="50521"/>
                </a:cubicBezTo>
                <a:close/>
                <a:moveTo>
                  <a:pt x="480892" y="0"/>
                </a:moveTo>
                <a:cubicBezTo>
                  <a:pt x="487122" y="0"/>
                  <a:pt x="494154" y="2666"/>
                  <a:pt x="498960" y="7376"/>
                </a:cubicBezTo>
                <a:lnTo>
                  <a:pt x="600162" y="108513"/>
                </a:lnTo>
                <a:cubicBezTo>
                  <a:pt x="604969" y="113312"/>
                  <a:pt x="607639" y="119800"/>
                  <a:pt x="607639" y="126554"/>
                </a:cubicBezTo>
                <a:cubicBezTo>
                  <a:pt x="607550" y="133309"/>
                  <a:pt x="604880" y="139708"/>
                  <a:pt x="599984" y="144507"/>
                </a:cubicBezTo>
                <a:lnTo>
                  <a:pt x="541417" y="201741"/>
                </a:lnTo>
                <a:cubicBezTo>
                  <a:pt x="562957" y="227425"/>
                  <a:pt x="561978" y="265640"/>
                  <a:pt x="537768" y="289724"/>
                </a:cubicBezTo>
                <a:lnTo>
                  <a:pt x="486499" y="340915"/>
                </a:lnTo>
                <a:cubicBezTo>
                  <a:pt x="485965" y="341537"/>
                  <a:pt x="485342" y="341715"/>
                  <a:pt x="484719" y="342159"/>
                </a:cubicBezTo>
                <a:cubicBezTo>
                  <a:pt x="483206" y="343403"/>
                  <a:pt x="481693" y="344470"/>
                  <a:pt x="480002" y="345270"/>
                </a:cubicBezTo>
                <a:cubicBezTo>
                  <a:pt x="478845" y="345892"/>
                  <a:pt x="477688" y="346425"/>
                  <a:pt x="476530" y="346869"/>
                </a:cubicBezTo>
                <a:cubicBezTo>
                  <a:pt x="474750" y="347403"/>
                  <a:pt x="472970" y="347669"/>
                  <a:pt x="471190" y="347847"/>
                </a:cubicBezTo>
                <a:cubicBezTo>
                  <a:pt x="470300" y="347936"/>
                  <a:pt x="469499" y="348380"/>
                  <a:pt x="468609" y="348380"/>
                </a:cubicBezTo>
                <a:cubicBezTo>
                  <a:pt x="468253" y="348380"/>
                  <a:pt x="467808" y="348114"/>
                  <a:pt x="467452" y="348114"/>
                </a:cubicBezTo>
                <a:cubicBezTo>
                  <a:pt x="465582" y="348025"/>
                  <a:pt x="463891" y="347580"/>
                  <a:pt x="462111" y="347047"/>
                </a:cubicBezTo>
                <a:cubicBezTo>
                  <a:pt x="460776" y="346692"/>
                  <a:pt x="459530" y="346514"/>
                  <a:pt x="458373" y="345981"/>
                </a:cubicBezTo>
                <a:cubicBezTo>
                  <a:pt x="458017" y="345892"/>
                  <a:pt x="457661" y="345892"/>
                  <a:pt x="457305" y="345714"/>
                </a:cubicBezTo>
                <a:lnTo>
                  <a:pt x="428911" y="331494"/>
                </a:lnTo>
                <a:cubicBezTo>
                  <a:pt x="421702" y="327940"/>
                  <a:pt x="412979" y="329273"/>
                  <a:pt x="407282" y="335049"/>
                </a:cubicBezTo>
                <a:lnTo>
                  <a:pt x="376308" y="365888"/>
                </a:lnTo>
                <a:cubicBezTo>
                  <a:pt x="367763" y="374509"/>
                  <a:pt x="356370" y="379219"/>
                  <a:pt x="344265" y="379219"/>
                </a:cubicBezTo>
                <a:cubicBezTo>
                  <a:pt x="332160" y="379219"/>
                  <a:pt x="320678" y="374509"/>
                  <a:pt x="312133" y="365888"/>
                </a:cubicBezTo>
                <a:lnTo>
                  <a:pt x="241194" y="295057"/>
                </a:lnTo>
                <a:cubicBezTo>
                  <a:pt x="223481" y="277371"/>
                  <a:pt x="223481" y="248576"/>
                  <a:pt x="241194" y="230891"/>
                </a:cubicBezTo>
                <a:lnTo>
                  <a:pt x="272079" y="200052"/>
                </a:lnTo>
                <a:cubicBezTo>
                  <a:pt x="277776" y="194364"/>
                  <a:pt x="279200" y="185655"/>
                  <a:pt x="275551" y="178456"/>
                </a:cubicBezTo>
                <a:lnTo>
                  <a:pt x="261398" y="150106"/>
                </a:lnTo>
                <a:cubicBezTo>
                  <a:pt x="261220" y="149750"/>
                  <a:pt x="261220" y="149395"/>
                  <a:pt x="261131" y="149039"/>
                </a:cubicBezTo>
                <a:cubicBezTo>
                  <a:pt x="260508" y="147884"/>
                  <a:pt x="260330" y="146640"/>
                  <a:pt x="260063" y="145307"/>
                </a:cubicBezTo>
                <a:cubicBezTo>
                  <a:pt x="259529" y="143529"/>
                  <a:pt x="259084" y="141841"/>
                  <a:pt x="258995" y="139974"/>
                </a:cubicBezTo>
                <a:cubicBezTo>
                  <a:pt x="258906" y="138730"/>
                  <a:pt x="259084" y="137486"/>
                  <a:pt x="259262" y="136242"/>
                </a:cubicBezTo>
                <a:cubicBezTo>
                  <a:pt x="259440" y="134375"/>
                  <a:pt x="259707" y="132687"/>
                  <a:pt x="260241" y="130909"/>
                </a:cubicBezTo>
                <a:cubicBezTo>
                  <a:pt x="260686" y="129754"/>
                  <a:pt x="261220" y="128599"/>
                  <a:pt x="261754" y="127443"/>
                </a:cubicBezTo>
                <a:cubicBezTo>
                  <a:pt x="262644" y="125755"/>
                  <a:pt x="263713" y="124155"/>
                  <a:pt x="264959" y="122733"/>
                </a:cubicBezTo>
                <a:cubicBezTo>
                  <a:pt x="265404" y="122111"/>
                  <a:pt x="265582" y="121400"/>
                  <a:pt x="266116" y="120955"/>
                </a:cubicBezTo>
                <a:lnTo>
                  <a:pt x="317384" y="69676"/>
                </a:lnTo>
                <a:cubicBezTo>
                  <a:pt x="341505" y="45592"/>
                  <a:pt x="379868" y="44525"/>
                  <a:pt x="405591" y="66121"/>
                </a:cubicBezTo>
                <a:lnTo>
                  <a:pt x="462912" y="7554"/>
                </a:lnTo>
                <a:cubicBezTo>
                  <a:pt x="467719" y="2755"/>
                  <a:pt x="474127" y="89"/>
                  <a:pt x="480892" y="0"/>
                </a:cubicBezTo>
                <a:close/>
              </a:path>
            </a:pathLst>
          </a:custGeom>
          <a:solidFill>
            <a:schemeClr val="bg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29" name="椭圆 28"/>
          <p:cNvSpPr/>
          <p:nvPr/>
        </p:nvSpPr>
        <p:spPr>
          <a:xfrm>
            <a:off x="8271496" y="4193233"/>
            <a:ext cx="636880" cy="636880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id-ID">
              <a:cs typeface="+mn-ea"/>
              <a:sym typeface="+mn-lt"/>
            </a:endParaRPr>
          </a:p>
        </p:txBody>
      </p:sp>
      <p:sp>
        <p:nvSpPr>
          <p:cNvPr id="30" name="任意多边形: 形状 29"/>
          <p:cNvSpPr/>
          <p:nvPr/>
        </p:nvSpPr>
        <p:spPr>
          <a:xfrm>
            <a:off x="8405784" y="4327784"/>
            <a:ext cx="368304" cy="367778"/>
          </a:xfrm>
          <a:custGeom>
            <a:avLst/>
            <a:gdLst>
              <a:gd name="connsiteX0" fmla="*/ 352682 w 580071"/>
              <a:gd name="connsiteY0" fmla="*/ 230910 h 579243"/>
              <a:gd name="connsiteX1" fmla="*/ 302259 w 580071"/>
              <a:gd name="connsiteY1" fmla="*/ 349540 h 579243"/>
              <a:gd name="connsiteX2" fmla="*/ 232443 w 580071"/>
              <a:gd name="connsiteY2" fmla="*/ 349540 h 579243"/>
              <a:gd name="connsiteX3" fmla="*/ 232443 w 580071"/>
              <a:gd name="connsiteY3" fmla="*/ 279909 h 579243"/>
              <a:gd name="connsiteX4" fmla="*/ 352682 w 580071"/>
              <a:gd name="connsiteY4" fmla="*/ 230910 h 579243"/>
              <a:gd name="connsiteX5" fmla="*/ 259675 w 580071"/>
              <a:gd name="connsiteY5" fmla="*/ 101916 h 579243"/>
              <a:gd name="connsiteX6" fmla="*/ 131776 w 580071"/>
              <a:gd name="connsiteY6" fmla="*/ 154809 h 579243"/>
              <a:gd name="connsiteX7" fmla="*/ 170533 w 580071"/>
              <a:gd name="connsiteY7" fmla="*/ 194801 h 579243"/>
              <a:gd name="connsiteX8" fmla="*/ 158906 w 580071"/>
              <a:gd name="connsiteY8" fmla="*/ 206412 h 579243"/>
              <a:gd name="connsiteX9" fmla="*/ 122732 w 580071"/>
              <a:gd name="connsiteY9" fmla="*/ 169000 h 579243"/>
              <a:gd name="connsiteX10" fmla="*/ 121440 w 580071"/>
              <a:gd name="connsiteY10" fmla="*/ 171580 h 579243"/>
              <a:gd name="connsiteX11" fmla="*/ 118856 w 580071"/>
              <a:gd name="connsiteY11" fmla="*/ 169000 h 579243"/>
              <a:gd name="connsiteX12" fmla="*/ 65888 w 580071"/>
              <a:gd name="connsiteY12" fmla="*/ 296717 h 579243"/>
              <a:gd name="connsiteX13" fmla="*/ 69764 w 580071"/>
              <a:gd name="connsiteY13" fmla="*/ 296717 h 579243"/>
              <a:gd name="connsiteX14" fmla="*/ 120148 w 580071"/>
              <a:gd name="connsiteY14" fmla="*/ 296717 h 579243"/>
              <a:gd name="connsiteX15" fmla="*/ 120148 w 580071"/>
              <a:gd name="connsiteY15" fmla="*/ 314778 h 579243"/>
              <a:gd name="connsiteX16" fmla="*/ 65888 w 580071"/>
              <a:gd name="connsiteY16" fmla="*/ 314778 h 579243"/>
              <a:gd name="connsiteX17" fmla="*/ 118856 w 580071"/>
              <a:gd name="connsiteY17" fmla="*/ 442495 h 579243"/>
              <a:gd name="connsiteX18" fmla="*/ 120148 w 580071"/>
              <a:gd name="connsiteY18" fmla="*/ 441205 h 579243"/>
              <a:gd name="connsiteX19" fmla="*/ 122732 w 580071"/>
              <a:gd name="connsiteY19" fmla="*/ 443786 h 579243"/>
              <a:gd name="connsiteX20" fmla="*/ 160198 w 580071"/>
              <a:gd name="connsiteY20" fmla="*/ 406373 h 579243"/>
              <a:gd name="connsiteX21" fmla="*/ 170533 w 580071"/>
              <a:gd name="connsiteY21" fmla="*/ 416694 h 579243"/>
              <a:gd name="connsiteX22" fmla="*/ 131776 w 580071"/>
              <a:gd name="connsiteY22" fmla="*/ 455396 h 579243"/>
              <a:gd name="connsiteX23" fmla="*/ 241589 w 580071"/>
              <a:gd name="connsiteY23" fmla="*/ 506999 h 579243"/>
              <a:gd name="connsiteX24" fmla="*/ 263551 w 580071"/>
              <a:gd name="connsiteY24" fmla="*/ 509579 h 579243"/>
              <a:gd name="connsiteX25" fmla="*/ 263551 w 580071"/>
              <a:gd name="connsiteY25" fmla="*/ 454106 h 579243"/>
              <a:gd name="connsiteX26" fmla="*/ 277762 w 580071"/>
              <a:gd name="connsiteY26" fmla="*/ 454106 h 579243"/>
              <a:gd name="connsiteX27" fmla="*/ 277762 w 580071"/>
              <a:gd name="connsiteY27" fmla="*/ 509579 h 579243"/>
              <a:gd name="connsiteX28" fmla="*/ 281638 w 580071"/>
              <a:gd name="connsiteY28" fmla="*/ 508289 h 579243"/>
              <a:gd name="connsiteX29" fmla="*/ 281638 w 580071"/>
              <a:gd name="connsiteY29" fmla="*/ 509579 h 579243"/>
              <a:gd name="connsiteX30" fmla="*/ 410830 w 580071"/>
              <a:gd name="connsiteY30" fmla="*/ 456686 h 579243"/>
              <a:gd name="connsiteX31" fmla="*/ 370780 w 580071"/>
              <a:gd name="connsiteY31" fmla="*/ 417984 h 579243"/>
              <a:gd name="connsiteX32" fmla="*/ 382408 w 580071"/>
              <a:gd name="connsiteY32" fmla="*/ 406373 h 579243"/>
              <a:gd name="connsiteX33" fmla="*/ 419873 w 580071"/>
              <a:gd name="connsiteY33" fmla="*/ 442495 h 579243"/>
              <a:gd name="connsiteX34" fmla="*/ 421165 w 580071"/>
              <a:gd name="connsiteY34" fmla="*/ 441205 h 579243"/>
              <a:gd name="connsiteX35" fmla="*/ 423749 w 580071"/>
              <a:gd name="connsiteY35" fmla="*/ 443786 h 579243"/>
              <a:gd name="connsiteX36" fmla="*/ 476718 w 580071"/>
              <a:gd name="connsiteY36" fmla="*/ 316068 h 579243"/>
              <a:gd name="connsiteX37" fmla="*/ 472842 w 580071"/>
              <a:gd name="connsiteY37" fmla="*/ 316068 h 579243"/>
              <a:gd name="connsiteX38" fmla="*/ 472842 w 580071"/>
              <a:gd name="connsiteY38" fmla="*/ 314778 h 579243"/>
              <a:gd name="connsiteX39" fmla="*/ 421165 w 580071"/>
              <a:gd name="connsiteY39" fmla="*/ 314778 h 579243"/>
              <a:gd name="connsiteX40" fmla="*/ 421165 w 580071"/>
              <a:gd name="connsiteY40" fmla="*/ 296717 h 579243"/>
              <a:gd name="connsiteX41" fmla="*/ 476718 w 580071"/>
              <a:gd name="connsiteY41" fmla="*/ 296717 h 579243"/>
              <a:gd name="connsiteX42" fmla="*/ 423749 w 580071"/>
              <a:gd name="connsiteY42" fmla="*/ 169000 h 579243"/>
              <a:gd name="connsiteX43" fmla="*/ 421165 w 580071"/>
              <a:gd name="connsiteY43" fmla="*/ 171580 h 579243"/>
              <a:gd name="connsiteX44" fmla="*/ 419873 w 580071"/>
              <a:gd name="connsiteY44" fmla="*/ 169000 h 579243"/>
              <a:gd name="connsiteX45" fmla="*/ 382408 w 580071"/>
              <a:gd name="connsiteY45" fmla="*/ 206412 h 579243"/>
              <a:gd name="connsiteX46" fmla="*/ 370780 w 580071"/>
              <a:gd name="connsiteY46" fmla="*/ 194801 h 579243"/>
              <a:gd name="connsiteX47" fmla="*/ 410830 w 580071"/>
              <a:gd name="connsiteY47" fmla="*/ 156099 h 579243"/>
              <a:gd name="connsiteX48" fmla="*/ 299725 w 580071"/>
              <a:gd name="connsiteY48" fmla="*/ 104496 h 579243"/>
              <a:gd name="connsiteX49" fmla="*/ 277762 w 580071"/>
              <a:gd name="connsiteY49" fmla="*/ 101916 h 579243"/>
              <a:gd name="connsiteX50" fmla="*/ 277762 w 580071"/>
              <a:gd name="connsiteY50" fmla="*/ 157389 h 579243"/>
              <a:gd name="connsiteX51" fmla="*/ 263551 w 580071"/>
              <a:gd name="connsiteY51" fmla="*/ 157389 h 579243"/>
              <a:gd name="connsiteX52" fmla="*/ 263551 w 580071"/>
              <a:gd name="connsiteY52" fmla="*/ 103206 h 579243"/>
              <a:gd name="connsiteX53" fmla="*/ 259675 w 580071"/>
              <a:gd name="connsiteY53" fmla="*/ 103206 h 579243"/>
              <a:gd name="connsiteX54" fmla="*/ 448295 w 580071"/>
              <a:gd name="connsiteY54" fmla="*/ 0 h 579243"/>
              <a:gd name="connsiteX55" fmla="*/ 580071 w 580071"/>
              <a:gd name="connsiteY55" fmla="*/ 131588 h 579243"/>
              <a:gd name="connsiteX56" fmla="*/ 536146 w 580071"/>
              <a:gd name="connsiteY56" fmla="*/ 175450 h 579243"/>
              <a:gd name="connsiteX57" fmla="*/ 484469 w 580071"/>
              <a:gd name="connsiteY57" fmla="*/ 123847 h 579243"/>
              <a:gd name="connsiteX58" fmla="*/ 474134 w 580071"/>
              <a:gd name="connsiteY58" fmla="*/ 135458 h 579243"/>
              <a:gd name="connsiteX59" fmla="*/ 538730 w 580071"/>
              <a:gd name="connsiteY59" fmla="*/ 310908 h 579243"/>
              <a:gd name="connsiteX60" fmla="*/ 270011 w 580071"/>
              <a:gd name="connsiteY60" fmla="*/ 579243 h 579243"/>
              <a:gd name="connsiteX61" fmla="*/ 0 w 580071"/>
              <a:gd name="connsiteY61" fmla="*/ 310908 h 579243"/>
              <a:gd name="connsiteX62" fmla="*/ 270011 w 580071"/>
              <a:gd name="connsiteY62" fmla="*/ 41283 h 579243"/>
              <a:gd name="connsiteX63" fmla="*/ 444420 w 580071"/>
              <a:gd name="connsiteY63" fmla="*/ 105786 h 579243"/>
              <a:gd name="connsiteX64" fmla="*/ 456047 w 580071"/>
              <a:gd name="connsiteY64" fmla="*/ 95466 h 579243"/>
              <a:gd name="connsiteX65" fmla="*/ 404370 w 580071"/>
              <a:gd name="connsiteY65" fmla="*/ 43863 h 579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580071" h="579243">
                <a:moveTo>
                  <a:pt x="352682" y="230910"/>
                </a:moveTo>
                <a:cubicBezTo>
                  <a:pt x="352682" y="230910"/>
                  <a:pt x="321653" y="330198"/>
                  <a:pt x="302259" y="349540"/>
                </a:cubicBezTo>
                <a:cubicBezTo>
                  <a:pt x="282866" y="367592"/>
                  <a:pt x="251837" y="367592"/>
                  <a:pt x="232443" y="349540"/>
                </a:cubicBezTo>
                <a:cubicBezTo>
                  <a:pt x="214343" y="330198"/>
                  <a:pt x="214343" y="299251"/>
                  <a:pt x="232443" y="279909"/>
                </a:cubicBezTo>
                <a:cubicBezTo>
                  <a:pt x="251837" y="260568"/>
                  <a:pt x="352682" y="230910"/>
                  <a:pt x="352682" y="230910"/>
                </a:cubicBezTo>
                <a:close/>
                <a:moveTo>
                  <a:pt x="259675" y="101916"/>
                </a:moveTo>
                <a:cubicBezTo>
                  <a:pt x="211874" y="104496"/>
                  <a:pt x="166657" y="122557"/>
                  <a:pt x="131776" y="154809"/>
                </a:cubicBezTo>
                <a:lnTo>
                  <a:pt x="170533" y="194801"/>
                </a:lnTo>
                <a:lnTo>
                  <a:pt x="158906" y="206412"/>
                </a:lnTo>
                <a:lnTo>
                  <a:pt x="122732" y="169000"/>
                </a:lnTo>
                <a:cubicBezTo>
                  <a:pt x="121440" y="170290"/>
                  <a:pt x="121440" y="170290"/>
                  <a:pt x="121440" y="171580"/>
                </a:cubicBezTo>
                <a:lnTo>
                  <a:pt x="118856" y="169000"/>
                </a:lnTo>
                <a:cubicBezTo>
                  <a:pt x="85267" y="205122"/>
                  <a:pt x="67180" y="250275"/>
                  <a:pt x="65888" y="296717"/>
                </a:cubicBezTo>
                <a:lnTo>
                  <a:pt x="69764" y="296717"/>
                </a:lnTo>
                <a:lnTo>
                  <a:pt x="120148" y="296717"/>
                </a:lnTo>
                <a:lnTo>
                  <a:pt x="120148" y="314778"/>
                </a:lnTo>
                <a:lnTo>
                  <a:pt x="65888" y="314778"/>
                </a:lnTo>
                <a:cubicBezTo>
                  <a:pt x="67180" y="361221"/>
                  <a:pt x="85267" y="406373"/>
                  <a:pt x="118856" y="442495"/>
                </a:cubicBezTo>
                <a:lnTo>
                  <a:pt x="120148" y="441205"/>
                </a:lnTo>
                <a:cubicBezTo>
                  <a:pt x="121440" y="442495"/>
                  <a:pt x="121440" y="442495"/>
                  <a:pt x="122732" y="443786"/>
                </a:cubicBezTo>
                <a:lnTo>
                  <a:pt x="160198" y="406373"/>
                </a:lnTo>
                <a:lnTo>
                  <a:pt x="170533" y="416694"/>
                </a:lnTo>
                <a:lnTo>
                  <a:pt x="131776" y="455396"/>
                </a:lnTo>
                <a:cubicBezTo>
                  <a:pt x="162782" y="483778"/>
                  <a:pt x="200247" y="501839"/>
                  <a:pt x="241589" y="506999"/>
                </a:cubicBezTo>
                <a:cubicBezTo>
                  <a:pt x="249340" y="508289"/>
                  <a:pt x="255800" y="509579"/>
                  <a:pt x="263551" y="509579"/>
                </a:cubicBezTo>
                <a:lnTo>
                  <a:pt x="263551" y="454106"/>
                </a:lnTo>
                <a:lnTo>
                  <a:pt x="277762" y="454106"/>
                </a:lnTo>
                <a:lnTo>
                  <a:pt x="277762" y="509579"/>
                </a:lnTo>
                <a:cubicBezTo>
                  <a:pt x="279054" y="508289"/>
                  <a:pt x="280346" y="508289"/>
                  <a:pt x="281638" y="508289"/>
                </a:cubicBezTo>
                <a:lnTo>
                  <a:pt x="281638" y="509579"/>
                </a:lnTo>
                <a:cubicBezTo>
                  <a:pt x="330731" y="506999"/>
                  <a:pt x="374656" y="488938"/>
                  <a:pt x="410830" y="456686"/>
                </a:cubicBezTo>
                <a:lnTo>
                  <a:pt x="370780" y="417984"/>
                </a:lnTo>
                <a:lnTo>
                  <a:pt x="382408" y="406373"/>
                </a:lnTo>
                <a:lnTo>
                  <a:pt x="419873" y="442495"/>
                </a:lnTo>
                <a:cubicBezTo>
                  <a:pt x="419873" y="442495"/>
                  <a:pt x="419873" y="441205"/>
                  <a:pt x="421165" y="441205"/>
                </a:cubicBezTo>
                <a:lnTo>
                  <a:pt x="423749" y="443786"/>
                </a:lnTo>
                <a:cubicBezTo>
                  <a:pt x="456047" y="407663"/>
                  <a:pt x="474134" y="363801"/>
                  <a:pt x="476718" y="316068"/>
                </a:cubicBezTo>
                <a:lnTo>
                  <a:pt x="472842" y="316068"/>
                </a:lnTo>
                <a:cubicBezTo>
                  <a:pt x="472842" y="314778"/>
                  <a:pt x="472842" y="314778"/>
                  <a:pt x="472842" y="314778"/>
                </a:cubicBezTo>
                <a:lnTo>
                  <a:pt x="421165" y="314778"/>
                </a:lnTo>
                <a:lnTo>
                  <a:pt x="421165" y="296717"/>
                </a:lnTo>
                <a:lnTo>
                  <a:pt x="476718" y="296717"/>
                </a:lnTo>
                <a:cubicBezTo>
                  <a:pt x="474134" y="248984"/>
                  <a:pt x="456047" y="205122"/>
                  <a:pt x="423749" y="169000"/>
                </a:cubicBezTo>
                <a:lnTo>
                  <a:pt x="421165" y="171580"/>
                </a:lnTo>
                <a:cubicBezTo>
                  <a:pt x="421165" y="170290"/>
                  <a:pt x="419873" y="169000"/>
                  <a:pt x="419873" y="169000"/>
                </a:cubicBezTo>
                <a:lnTo>
                  <a:pt x="382408" y="206412"/>
                </a:lnTo>
                <a:lnTo>
                  <a:pt x="370780" y="194801"/>
                </a:lnTo>
                <a:lnTo>
                  <a:pt x="410830" y="156099"/>
                </a:lnTo>
                <a:cubicBezTo>
                  <a:pt x="379824" y="127718"/>
                  <a:pt x="341066" y="109656"/>
                  <a:pt x="299725" y="104496"/>
                </a:cubicBezTo>
                <a:cubicBezTo>
                  <a:pt x="293265" y="103206"/>
                  <a:pt x="285514" y="103206"/>
                  <a:pt x="277762" y="101916"/>
                </a:cubicBezTo>
                <a:lnTo>
                  <a:pt x="277762" y="157389"/>
                </a:lnTo>
                <a:lnTo>
                  <a:pt x="263551" y="157389"/>
                </a:lnTo>
                <a:lnTo>
                  <a:pt x="263551" y="103206"/>
                </a:lnTo>
                <a:cubicBezTo>
                  <a:pt x="262259" y="103206"/>
                  <a:pt x="260967" y="103206"/>
                  <a:pt x="259675" y="103206"/>
                </a:cubicBezTo>
                <a:close/>
                <a:moveTo>
                  <a:pt x="448295" y="0"/>
                </a:moveTo>
                <a:cubicBezTo>
                  <a:pt x="551649" y="59344"/>
                  <a:pt x="580071" y="131588"/>
                  <a:pt x="580071" y="131588"/>
                </a:cubicBezTo>
                <a:lnTo>
                  <a:pt x="536146" y="175450"/>
                </a:lnTo>
                <a:lnTo>
                  <a:pt x="484469" y="123847"/>
                </a:lnTo>
                <a:lnTo>
                  <a:pt x="474134" y="135458"/>
                </a:lnTo>
                <a:cubicBezTo>
                  <a:pt x="514183" y="183191"/>
                  <a:pt x="538730" y="243824"/>
                  <a:pt x="538730" y="310908"/>
                </a:cubicBezTo>
                <a:cubicBezTo>
                  <a:pt x="538730" y="459266"/>
                  <a:pt x="418581" y="579243"/>
                  <a:pt x="270011" y="579243"/>
                </a:cubicBezTo>
                <a:cubicBezTo>
                  <a:pt x="120148" y="579243"/>
                  <a:pt x="0" y="459266"/>
                  <a:pt x="0" y="310908"/>
                </a:cubicBezTo>
                <a:cubicBezTo>
                  <a:pt x="0" y="161259"/>
                  <a:pt x="120148" y="41283"/>
                  <a:pt x="270011" y="41283"/>
                </a:cubicBezTo>
                <a:cubicBezTo>
                  <a:pt x="335899" y="41283"/>
                  <a:pt x="397911" y="65794"/>
                  <a:pt x="444420" y="105786"/>
                </a:cubicBezTo>
                <a:lnTo>
                  <a:pt x="456047" y="95466"/>
                </a:lnTo>
                <a:lnTo>
                  <a:pt x="404370" y="43863"/>
                </a:lnTo>
                <a:close/>
              </a:path>
            </a:pathLst>
          </a:custGeom>
          <a:solidFill>
            <a:schemeClr val="bg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921D2456-A6A6-43F5-AD86-0A010D24A2F0}"/>
              </a:ext>
            </a:extLst>
          </p:cNvPr>
          <p:cNvSpPr txBox="1"/>
          <p:nvPr/>
        </p:nvSpPr>
        <p:spPr>
          <a:xfrm>
            <a:off x="669926" y="3981793"/>
            <a:ext cx="2479410" cy="391099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/>
            <a:r>
              <a:rPr lang="en-US" altLang="zh-CN" sz="1600" b="1">
                <a:cs typeface="+mn-ea"/>
                <a:sym typeface="+mn-lt"/>
              </a:rPr>
              <a:t>Text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sz="1600" b="1">
                <a:cs typeface="+mn-ea"/>
                <a:sym typeface="+mn-lt"/>
              </a:rPr>
              <a:t> </a:t>
            </a:r>
            <a:r>
              <a:rPr lang="en-US" altLang="zh-CN" sz="1600" b="1" dirty="0">
                <a:cs typeface="+mn-ea"/>
                <a:sym typeface="+mn-lt"/>
              </a:rPr>
              <a:t>here</a:t>
            </a:r>
            <a:endParaRPr lang="id-ID" sz="1600" b="1" dirty="0">
              <a:cs typeface="+mn-ea"/>
              <a:sym typeface="+mn-lt"/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F8E07573-A8E5-42F7-B445-E2E8E3B47ABD}"/>
              </a:ext>
            </a:extLst>
          </p:cNvPr>
          <p:cNvSpPr/>
          <p:nvPr/>
        </p:nvSpPr>
        <p:spPr bwMode="auto">
          <a:xfrm>
            <a:off x="669926" y="4372894"/>
            <a:ext cx="2479410" cy="6151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5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</a:t>
            </a:r>
            <a:r>
              <a:rPr lang="en-US" altLang="zh-CN" sz="1100">
                <a:cs typeface="+mn-ea"/>
                <a:sym typeface="+mn-lt"/>
              </a:rPr>
              <a:t>Choose the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 </a:t>
            </a:r>
            <a:r>
              <a:rPr lang="en-US" altLang="zh-CN" sz="1100" dirty="0">
                <a:cs typeface="+mn-ea"/>
                <a:sym typeface="+mn-lt"/>
              </a:rPr>
              <a:t>only option to retain text……</a:t>
            </a: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921D2456-A6A6-43F5-AD86-0A010D24A2F0}"/>
              </a:ext>
            </a:extLst>
          </p:cNvPr>
          <p:cNvSpPr txBox="1"/>
          <p:nvPr/>
        </p:nvSpPr>
        <p:spPr>
          <a:xfrm>
            <a:off x="1099749" y="2772315"/>
            <a:ext cx="2920261" cy="391099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/>
            <a:r>
              <a:rPr lang="en-US" altLang="zh-CN" sz="1600" b="1">
                <a:cs typeface="+mn-ea"/>
                <a:sym typeface="+mn-lt"/>
              </a:rPr>
              <a:t>Text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sz="1600" b="1">
                <a:cs typeface="+mn-ea"/>
                <a:sym typeface="+mn-lt"/>
              </a:rPr>
              <a:t> </a:t>
            </a:r>
            <a:r>
              <a:rPr lang="en-US" altLang="zh-CN" sz="1600" b="1" dirty="0">
                <a:cs typeface="+mn-ea"/>
                <a:sym typeface="+mn-lt"/>
              </a:rPr>
              <a:t>here</a:t>
            </a:r>
            <a:endParaRPr lang="id-ID" sz="1600" b="1" dirty="0">
              <a:cs typeface="+mn-ea"/>
              <a:sym typeface="+mn-lt"/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F8E07573-A8E5-42F7-B445-E2E8E3B47ABD}"/>
              </a:ext>
            </a:extLst>
          </p:cNvPr>
          <p:cNvSpPr/>
          <p:nvPr/>
        </p:nvSpPr>
        <p:spPr bwMode="auto">
          <a:xfrm>
            <a:off x="1099749" y="3163416"/>
            <a:ext cx="2920261" cy="6151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5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</a:t>
            </a:r>
            <a:r>
              <a:rPr lang="en-US" altLang="zh-CN" sz="1100">
                <a:cs typeface="+mn-ea"/>
                <a:sym typeface="+mn-lt"/>
              </a:rPr>
              <a:t>Choose the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 </a:t>
            </a:r>
            <a:r>
              <a:rPr lang="en-US" altLang="zh-CN" sz="1100" dirty="0">
                <a:cs typeface="+mn-ea"/>
                <a:sym typeface="+mn-lt"/>
              </a:rPr>
              <a:t>only option to retain text……</a:t>
            </a: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921D2456-A6A6-43F5-AD86-0A010D24A2F0}"/>
              </a:ext>
            </a:extLst>
          </p:cNvPr>
          <p:cNvSpPr txBox="1"/>
          <p:nvPr/>
        </p:nvSpPr>
        <p:spPr>
          <a:xfrm>
            <a:off x="4439064" y="1562838"/>
            <a:ext cx="3313873" cy="391099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1600" b="1">
                <a:cs typeface="+mn-ea"/>
                <a:sym typeface="+mn-lt"/>
              </a:rPr>
              <a:t>Text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sz="1600" b="1">
                <a:cs typeface="+mn-ea"/>
                <a:sym typeface="+mn-lt"/>
              </a:rPr>
              <a:t> </a:t>
            </a:r>
            <a:r>
              <a:rPr lang="en-US" altLang="zh-CN" sz="1600" b="1" dirty="0">
                <a:cs typeface="+mn-ea"/>
                <a:sym typeface="+mn-lt"/>
              </a:rPr>
              <a:t>here</a:t>
            </a:r>
            <a:endParaRPr lang="id-ID" sz="1600" b="1" dirty="0">
              <a:cs typeface="+mn-ea"/>
              <a:sym typeface="+mn-lt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F8E07573-A8E5-42F7-B445-E2E8E3B47ABD}"/>
              </a:ext>
            </a:extLst>
          </p:cNvPr>
          <p:cNvSpPr/>
          <p:nvPr/>
        </p:nvSpPr>
        <p:spPr bwMode="auto">
          <a:xfrm>
            <a:off x="4439064" y="1953939"/>
            <a:ext cx="3313873" cy="6151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</a:t>
            </a:r>
            <a:r>
              <a:rPr lang="en-US" altLang="zh-CN" sz="1100">
                <a:cs typeface="+mn-ea"/>
                <a:sym typeface="+mn-lt"/>
              </a:rPr>
              <a:t>Choose the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 </a:t>
            </a:r>
            <a:r>
              <a:rPr lang="en-US" altLang="zh-CN" sz="1100" dirty="0">
                <a:cs typeface="+mn-ea"/>
                <a:sym typeface="+mn-lt"/>
              </a:rPr>
              <a:t>only option to retain text……</a:t>
            </a: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921D2456-A6A6-43F5-AD86-0A010D24A2F0}"/>
              </a:ext>
            </a:extLst>
          </p:cNvPr>
          <p:cNvSpPr txBox="1"/>
          <p:nvPr/>
        </p:nvSpPr>
        <p:spPr>
          <a:xfrm>
            <a:off x="9039490" y="3981793"/>
            <a:ext cx="2479410" cy="391099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en-US" altLang="zh-CN" sz="1600" b="1">
                <a:cs typeface="+mn-ea"/>
                <a:sym typeface="+mn-lt"/>
              </a:rPr>
              <a:t>Text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sz="1600" b="1">
                <a:cs typeface="+mn-ea"/>
                <a:sym typeface="+mn-lt"/>
              </a:rPr>
              <a:t> </a:t>
            </a:r>
            <a:r>
              <a:rPr lang="en-US" altLang="zh-CN" sz="1600" b="1" dirty="0">
                <a:cs typeface="+mn-ea"/>
                <a:sym typeface="+mn-lt"/>
              </a:rPr>
              <a:t>here</a:t>
            </a:r>
            <a:endParaRPr lang="id-ID" sz="1600" b="1" dirty="0">
              <a:cs typeface="+mn-ea"/>
              <a:sym typeface="+mn-lt"/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F8E07573-A8E5-42F7-B445-E2E8E3B47ABD}"/>
              </a:ext>
            </a:extLst>
          </p:cNvPr>
          <p:cNvSpPr/>
          <p:nvPr/>
        </p:nvSpPr>
        <p:spPr bwMode="auto">
          <a:xfrm>
            <a:off x="9039490" y="4372894"/>
            <a:ext cx="2479410" cy="6151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</a:t>
            </a:r>
            <a:r>
              <a:rPr lang="en-US" altLang="zh-CN" sz="1100">
                <a:cs typeface="+mn-ea"/>
                <a:sym typeface="+mn-lt"/>
              </a:rPr>
              <a:t>Choose the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 </a:t>
            </a:r>
            <a:r>
              <a:rPr lang="en-US" altLang="zh-CN" sz="1100" dirty="0">
                <a:cs typeface="+mn-ea"/>
                <a:sym typeface="+mn-lt"/>
              </a:rPr>
              <a:t>only option to retain text……</a:t>
            </a: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921D2456-A6A6-43F5-AD86-0A010D24A2F0}"/>
              </a:ext>
            </a:extLst>
          </p:cNvPr>
          <p:cNvSpPr txBox="1"/>
          <p:nvPr/>
        </p:nvSpPr>
        <p:spPr>
          <a:xfrm>
            <a:off x="8168816" y="2772315"/>
            <a:ext cx="2920261" cy="391099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en-US" altLang="zh-CN" sz="1600" b="1">
                <a:cs typeface="+mn-ea"/>
                <a:sym typeface="+mn-lt"/>
              </a:rPr>
              <a:t>Text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sz="1600" b="1">
                <a:cs typeface="+mn-ea"/>
                <a:sym typeface="+mn-lt"/>
              </a:rPr>
              <a:t> </a:t>
            </a:r>
            <a:r>
              <a:rPr lang="en-US" altLang="zh-CN" sz="1600" b="1" dirty="0">
                <a:cs typeface="+mn-ea"/>
                <a:sym typeface="+mn-lt"/>
              </a:rPr>
              <a:t>here</a:t>
            </a:r>
            <a:endParaRPr lang="id-ID" sz="1600" b="1" dirty="0">
              <a:cs typeface="+mn-ea"/>
              <a:sym typeface="+mn-lt"/>
            </a:endParaRP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F8E07573-A8E5-42F7-B445-E2E8E3B47ABD}"/>
              </a:ext>
            </a:extLst>
          </p:cNvPr>
          <p:cNvSpPr/>
          <p:nvPr/>
        </p:nvSpPr>
        <p:spPr bwMode="auto">
          <a:xfrm>
            <a:off x="8168816" y="3163416"/>
            <a:ext cx="2920261" cy="6151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</a:t>
            </a:r>
            <a:r>
              <a:rPr lang="en-US" altLang="zh-CN" sz="1100">
                <a:cs typeface="+mn-ea"/>
                <a:sym typeface="+mn-lt"/>
              </a:rPr>
              <a:t>Choose the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 </a:t>
            </a:r>
            <a:r>
              <a:rPr lang="en-US" altLang="zh-CN" sz="1100" dirty="0">
                <a:cs typeface="+mn-ea"/>
                <a:sym typeface="+mn-lt"/>
              </a:rPr>
              <a:t>only option to retain text……</a:t>
            </a:r>
          </a:p>
        </p:txBody>
      </p:sp>
    </p:spTree>
    <p:extLst>
      <p:ext uri="{BB962C8B-B14F-4D97-AF65-F5344CB8AC3E}">
        <p14:creationId xmlns:p14="http://schemas.microsoft.com/office/powerpoint/2010/main" val="22131679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个人防护和手卫生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9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15" name="任意多边形: 形状 14"/>
          <p:cNvSpPr/>
          <p:nvPr/>
        </p:nvSpPr>
        <p:spPr>
          <a:xfrm>
            <a:off x="3474974" y="1316356"/>
            <a:ext cx="2247686" cy="128192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cubicBezTo>
                  <a:pt x="0" y="9674"/>
                  <a:pt x="5515" y="0"/>
                  <a:pt x="12314" y="0"/>
                </a:cubicBezTo>
                <a:cubicBezTo>
                  <a:pt x="16025" y="0"/>
                  <a:pt x="19354" y="2885"/>
                  <a:pt x="21600" y="7423"/>
                </a:cubicBezTo>
              </a:path>
            </a:pathLst>
          </a:custGeom>
          <a:noFill/>
          <a:ln w="12700" cap="flat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6" name="任意多边形: 形状 15"/>
          <p:cNvSpPr/>
          <p:nvPr/>
        </p:nvSpPr>
        <p:spPr>
          <a:xfrm>
            <a:off x="5659929" y="1698018"/>
            <a:ext cx="131646" cy="136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396" y="0"/>
                </a:moveTo>
                <a:lnTo>
                  <a:pt x="0" y="14306"/>
                </a:lnTo>
                <a:lnTo>
                  <a:pt x="21600" y="21600"/>
                </a:lnTo>
                <a:lnTo>
                  <a:pt x="17396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>
            <a:noFill/>
            <a:prstDash val="solid"/>
            <a:round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7" name="任意多边形: 形状 16"/>
          <p:cNvSpPr/>
          <p:nvPr/>
        </p:nvSpPr>
        <p:spPr>
          <a:xfrm>
            <a:off x="3788050" y="2523030"/>
            <a:ext cx="1641659" cy="102676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07" h="19790" extrusionOk="0">
                <a:moveTo>
                  <a:pt x="21407" y="14360"/>
                </a:moveTo>
                <a:cubicBezTo>
                  <a:pt x="16510" y="21600"/>
                  <a:pt x="8567" y="21600"/>
                  <a:pt x="3670" y="14360"/>
                </a:cubicBezTo>
                <a:cubicBezTo>
                  <a:pt x="1004" y="10418"/>
                  <a:pt x="-193" y="5149"/>
                  <a:pt x="25" y="0"/>
                </a:cubicBezTo>
              </a:path>
            </a:pathLst>
          </a:custGeom>
          <a:noFill/>
          <a:ln w="12700" cap="flat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8" name="任意多边形: 形状 17"/>
          <p:cNvSpPr/>
          <p:nvPr/>
        </p:nvSpPr>
        <p:spPr>
          <a:xfrm>
            <a:off x="5360801" y="3203751"/>
            <a:ext cx="136048" cy="13168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4494"/>
                </a:moveTo>
                <a:lnTo>
                  <a:pt x="14306" y="21600"/>
                </a:lnTo>
                <a:lnTo>
                  <a:pt x="21600" y="0"/>
                </a:lnTo>
                <a:lnTo>
                  <a:pt x="0" y="449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>
            <a:noFill/>
            <a:prstDash val="solid"/>
            <a:round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4069110" y="1627894"/>
            <a:ext cx="1643174" cy="98023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47" h="19713" extrusionOk="0">
                <a:moveTo>
                  <a:pt x="0" y="5663"/>
                </a:moveTo>
                <a:cubicBezTo>
                  <a:pt x="4928" y="-1887"/>
                  <a:pt x="12922" y="-1887"/>
                  <a:pt x="17849" y="5663"/>
                </a:cubicBezTo>
                <a:cubicBezTo>
                  <a:pt x="20368" y="9521"/>
                  <a:pt x="21600" y="14638"/>
                  <a:pt x="21545" y="19713"/>
                </a:cubicBezTo>
              </a:path>
            </a:pathLst>
          </a:custGeom>
          <a:noFill/>
          <a:ln w="12700" cap="flat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0" name="任意多边形: 形状 19"/>
          <p:cNvSpPr/>
          <p:nvPr/>
        </p:nvSpPr>
        <p:spPr>
          <a:xfrm>
            <a:off x="4018741" y="1835945"/>
            <a:ext cx="133440" cy="13337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5878"/>
                </a:moveTo>
                <a:lnTo>
                  <a:pt x="5722" y="0"/>
                </a:lnTo>
                <a:lnTo>
                  <a:pt x="0" y="21600"/>
                </a:lnTo>
                <a:lnTo>
                  <a:pt x="21600" y="1587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>
            <a:noFill/>
            <a:prstDash val="solid"/>
            <a:round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1" name="任意多边形: 形状 20"/>
          <p:cNvSpPr/>
          <p:nvPr/>
        </p:nvSpPr>
        <p:spPr>
          <a:xfrm>
            <a:off x="3831672" y="2598280"/>
            <a:ext cx="2208046" cy="128371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cubicBezTo>
                  <a:pt x="21600" y="11941"/>
                  <a:pt x="15986" y="21600"/>
                  <a:pt x="9044" y="21600"/>
                </a:cubicBezTo>
                <a:cubicBezTo>
                  <a:pt x="5492" y="21600"/>
                  <a:pt x="2266" y="19036"/>
                  <a:pt x="0" y="14927"/>
                </a:cubicBezTo>
              </a:path>
            </a:pathLst>
          </a:custGeom>
          <a:noFill/>
          <a:ln w="12700" cap="flat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2" name="任意多边形: 形状 21"/>
          <p:cNvSpPr/>
          <p:nvPr/>
        </p:nvSpPr>
        <p:spPr>
          <a:xfrm>
            <a:off x="3792097" y="3449966"/>
            <a:ext cx="134304" cy="1334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826" y="21600"/>
                </a:moveTo>
                <a:lnTo>
                  <a:pt x="21600" y="5722"/>
                </a:lnTo>
                <a:lnTo>
                  <a:pt x="0" y="0"/>
                </a:lnTo>
                <a:lnTo>
                  <a:pt x="5826" y="216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>
            <a:noFill/>
            <a:prstDash val="solid"/>
            <a:round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3" name="任意多边形: 形状 22"/>
          <p:cNvSpPr/>
          <p:nvPr/>
        </p:nvSpPr>
        <p:spPr>
          <a:xfrm>
            <a:off x="6154069" y="1316356"/>
            <a:ext cx="2247685" cy="128192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cubicBezTo>
                  <a:pt x="0" y="9674"/>
                  <a:pt x="5515" y="0"/>
                  <a:pt x="12314" y="0"/>
                </a:cubicBezTo>
                <a:cubicBezTo>
                  <a:pt x="16025" y="0"/>
                  <a:pt x="19354" y="2885"/>
                  <a:pt x="21600" y="7423"/>
                </a:cubicBezTo>
              </a:path>
            </a:pathLst>
          </a:custGeom>
          <a:noFill/>
          <a:ln w="12700" cap="flat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4" name="任意多边形: 形状 23"/>
          <p:cNvSpPr/>
          <p:nvPr/>
        </p:nvSpPr>
        <p:spPr>
          <a:xfrm>
            <a:off x="8339025" y="1698018"/>
            <a:ext cx="131646" cy="136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396" y="0"/>
                </a:moveTo>
                <a:lnTo>
                  <a:pt x="0" y="14306"/>
                </a:lnTo>
                <a:lnTo>
                  <a:pt x="21600" y="21600"/>
                </a:lnTo>
                <a:lnTo>
                  <a:pt x="17396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>
            <a:noFill/>
            <a:prstDash val="solid"/>
            <a:round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5" name="任意多边形: 形状 24"/>
          <p:cNvSpPr/>
          <p:nvPr/>
        </p:nvSpPr>
        <p:spPr>
          <a:xfrm>
            <a:off x="6467144" y="2523030"/>
            <a:ext cx="1641659" cy="102676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07" h="19790" extrusionOk="0">
                <a:moveTo>
                  <a:pt x="21407" y="14360"/>
                </a:moveTo>
                <a:cubicBezTo>
                  <a:pt x="16510" y="21600"/>
                  <a:pt x="8567" y="21600"/>
                  <a:pt x="3670" y="14360"/>
                </a:cubicBezTo>
                <a:cubicBezTo>
                  <a:pt x="1004" y="10418"/>
                  <a:pt x="-193" y="5149"/>
                  <a:pt x="25" y="0"/>
                </a:cubicBezTo>
              </a:path>
            </a:pathLst>
          </a:custGeom>
          <a:noFill/>
          <a:ln w="12700" cap="flat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6" name="任意多边形: 形状 25"/>
          <p:cNvSpPr/>
          <p:nvPr/>
        </p:nvSpPr>
        <p:spPr>
          <a:xfrm>
            <a:off x="8039896" y="3203751"/>
            <a:ext cx="136048" cy="13168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4494"/>
                </a:moveTo>
                <a:lnTo>
                  <a:pt x="14306" y="21600"/>
                </a:lnTo>
                <a:lnTo>
                  <a:pt x="21600" y="0"/>
                </a:lnTo>
                <a:lnTo>
                  <a:pt x="0" y="449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>
            <a:noFill/>
            <a:prstDash val="solid"/>
            <a:round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7" name="任意多边形: 形状 26"/>
          <p:cNvSpPr/>
          <p:nvPr/>
        </p:nvSpPr>
        <p:spPr>
          <a:xfrm>
            <a:off x="6748205" y="1627894"/>
            <a:ext cx="1643174" cy="98023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47" h="19713" extrusionOk="0">
                <a:moveTo>
                  <a:pt x="0" y="5663"/>
                </a:moveTo>
                <a:cubicBezTo>
                  <a:pt x="4928" y="-1887"/>
                  <a:pt x="12922" y="-1887"/>
                  <a:pt x="17849" y="5663"/>
                </a:cubicBezTo>
                <a:cubicBezTo>
                  <a:pt x="20368" y="9521"/>
                  <a:pt x="21600" y="14638"/>
                  <a:pt x="21545" y="19713"/>
                </a:cubicBezTo>
              </a:path>
            </a:pathLst>
          </a:custGeom>
          <a:noFill/>
          <a:ln w="12700" cap="flat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8" name="任意多边形: 形状 27"/>
          <p:cNvSpPr/>
          <p:nvPr/>
        </p:nvSpPr>
        <p:spPr>
          <a:xfrm>
            <a:off x="6510767" y="2598280"/>
            <a:ext cx="2208046" cy="128371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cubicBezTo>
                  <a:pt x="21600" y="11941"/>
                  <a:pt x="15986" y="21600"/>
                  <a:pt x="9044" y="21600"/>
                </a:cubicBezTo>
                <a:cubicBezTo>
                  <a:pt x="5492" y="21600"/>
                  <a:pt x="2266" y="19036"/>
                  <a:pt x="0" y="14927"/>
                </a:cubicBezTo>
              </a:path>
            </a:pathLst>
          </a:custGeom>
          <a:noFill/>
          <a:ln w="12700" cap="flat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9" name="任意多边形: 形状 28"/>
          <p:cNvSpPr/>
          <p:nvPr/>
        </p:nvSpPr>
        <p:spPr>
          <a:xfrm>
            <a:off x="7040429" y="2261235"/>
            <a:ext cx="675881" cy="67588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12700">
            <a:miter lim="400000"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1600" i="1">
                <a:cs typeface="+mn-ea"/>
                <a:sym typeface="+mn-lt"/>
              </a:rPr>
              <a:t>Te</a:t>
            </a:r>
            <a:r>
              <a:rPr lang="en-US" altLang="zh-CN" sz="100" i="1">
                <a:cs typeface="+mn-ea"/>
                <a:sym typeface="+mn-lt"/>
              </a:rPr>
              <a:t> </a:t>
            </a:r>
            <a:r>
              <a:rPr lang="en-US" altLang="zh-CN" sz="1600" i="1">
                <a:cs typeface="+mn-ea"/>
                <a:sym typeface="+mn-lt"/>
              </a:rPr>
              <a:t>xt</a:t>
            </a:r>
            <a:endParaRPr lang="en-US" altLang="zh-CN" sz="1600" i="1" dirty="0">
              <a:cs typeface="+mn-ea"/>
              <a:sym typeface="+mn-lt"/>
            </a:endParaRPr>
          </a:p>
        </p:txBody>
      </p:sp>
      <p:sp>
        <p:nvSpPr>
          <p:cNvPr id="30" name="任意多边形: 形状 29"/>
          <p:cNvSpPr/>
          <p:nvPr/>
        </p:nvSpPr>
        <p:spPr>
          <a:xfrm>
            <a:off x="4416670" y="2261235"/>
            <a:ext cx="675881" cy="67588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12700">
            <a:miter lim="400000"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1600" i="1">
                <a:cs typeface="+mn-ea"/>
                <a:sym typeface="+mn-lt"/>
              </a:rPr>
              <a:t>T</a:t>
            </a:r>
            <a:r>
              <a:rPr lang="en-US" altLang="zh-CN" sz="100" i="1">
                <a:cs typeface="+mn-ea"/>
                <a:sym typeface="+mn-lt"/>
              </a:rPr>
              <a:t> </a:t>
            </a:r>
            <a:r>
              <a:rPr lang="en-US" altLang="zh-CN" sz="1600" i="1">
                <a:cs typeface="+mn-ea"/>
                <a:sym typeface="+mn-lt"/>
              </a:rPr>
              <a:t>ext</a:t>
            </a:r>
            <a:endParaRPr lang="en-US" altLang="zh-CN" sz="1600" i="1" dirty="0">
              <a:cs typeface="+mn-ea"/>
              <a:sym typeface="+mn-lt"/>
            </a:endParaRPr>
          </a:p>
        </p:txBody>
      </p:sp>
      <p:sp>
        <p:nvSpPr>
          <p:cNvPr id="31" name="任意多边形: 形状 30"/>
          <p:cNvSpPr/>
          <p:nvPr/>
        </p:nvSpPr>
        <p:spPr>
          <a:xfrm>
            <a:off x="2834461" y="1959557"/>
            <a:ext cx="1281028" cy="127923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2" name="任意多边形: 形状 31"/>
          <p:cNvSpPr/>
          <p:nvPr/>
        </p:nvSpPr>
        <p:spPr>
          <a:xfrm>
            <a:off x="5399204" y="1959557"/>
            <a:ext cx="1279236" cy="127923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accent1">
              <a:lumMod val="100000"/>
            </a:schemeClr>
          </a:solidFill>
          <a:ln w="12700">
            <a:miter lim="400000"/>
          </a:ln>
        </p:spPr>
        <p:txBody>
          <a:bodyPr wrap="square" lIns="91440" tIns="45720" rIns="91440" bIns="45720" anchor="ctr">
            <a:normAutofit/>
          </a:bodyPr>
          <a:lstStyle/>
          <a:p>
            <a:pPr algn="ctr" defTabSz="913765"/>
            <a:endParaRPr>
              <a:cs typeface="+mn-ea"/>
              <a:sym typeface="+mn-lt"/>
            </a:endParaRPr>
          </a:p>
        </p:txBody>
      </p:sp>
      <p:sp>
        <p:nvSpPr>
          <p:cNvPr id="33" name="任意多边形: 形状 32"/>
          <p:cNvSpPr/>
          <p:nvPr/>
        </p:nvSpPr>
        <p:spPr>
          <a:xfrm>
            <a:off x="8078300" y="1959557"/>
            <a:ext cx="1279236" cy="127923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4" name="任意多边形: 形状 33"/>
          <p:cNvSpPr/>
          <p:nvPr/>
        </p:nvSpPr>
        <p:spPr>
          <a:xfrm>
            <a:off x="6690978" y="1835945"/>
            <a:ext cx="133440" cy="13337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5878"/>
                </a:moveTo>
                <a:lnTo>
                  <a:pt x="5722" y="0"/>
                </a:lnTo>
                <a:lnTo>
                  <a:pt x="0" y="21600"/>
                </a:lnTo>
                <a:lnTo>
                  <a:pt x="21600" y="1587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>
            <a:noFill/>
            <a:prstDash val="solid"/>
            <a:round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5" name="任意多边形: 形状 34"/>
          <p:cNvSpPr/>
          <p:nvPr/>
        </p:nvSpPr>
        <p:spPr>
          <a:xfrm>
            <a:off x="6467144" y="3449966"/>
            <a:ext cx="134304" cy="13340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826" y="21600"/>
                </a:moveTo>
                <a:lnTo>
                  <a:pt x="21600" y="5722"/>
                </a:lnTo>
                <a:lnTo>
                  <a:pt x="0" y="0"/>
                </a:lnTo>
                <a:lnTo>
                  <a:pt x="5826" y="216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>
            <a:noFill/>
            <a:prstDash val="solid"/>
            <a:round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6" name="任意多边形: 形状 35"/>
          <p:cNvSpPr/>
          <p:nvPr/>
        </p:nvSpPr>
        <p:spPr>
          <a:xfrm>
            <a:off x="3186430" y="2274505"/>
            <a:ext cx="577090" cy="649339"/>
          </a:xfrm>
          <a:custGeom>
            <a:avLst/>
            <a:gdLst>
              <a:gd name="T0" fmla="*/ 3497 w 9467"/>
              <a:gd name="T1" fmla="*/ 1130 h 10667"/>
              <a:gd name="T2" fmla="*/ 4604 w 9467"/>
              <a:gd name="T3" fmla="*/ 0 h 10667"/>
              <a:gd name="T4" fmla="*/ 5711 w 9467"/>
              <a:gd name="T5" fmla="*/ 1130 h 10667"/>
              <a:gd name="T6" fmla="*/ 4604 w 9467"/>
              <a:gd name="T7" fmla="*/ 2260 h 10667"/>
              <a:gd name="T8" fmla="*/ 3497 w 9467"/>
              <a:gd name="T9" fmla="*/ 1130 h 10667"/>
              <a:gd name="T10" fmla="*/ 9467 w 9467"/>
              <a:gd name="T11" fmla="*/ 9539 h 10667"/>
              <a:gd name="T12" fmla="*/ 4733 w 9467"/>
              <a:gd name="T13" fmla="*/ 10667 h 10667"/>
              <a:gd name="T14" fmla="*/ 0 w 9467"/>
              <a:gd name="T15" fmla="*/ 9539 h 10667"/>
              <a:gd name="T16" fmla="*/ 2800 w 9467"/>
              <a:gd name="T17" fmla="*/ 8515 h 10667"/>
              <a:gd name="T18" fmla="*/ 2767 w 9467"/>
              <a:gd name="T19" fmla="*/ 8821 h 10667"/>
              <a:gd name="T20" fmla="*/ 1988 w 9467"/>
              <a:gd name="T21" fmla="*/ 9270 h 10667"/>
              <a:gd name="T22" fmla="*/ 3251 w 9467"/>
              <a:gd name="T23" fmla="*/ 9818 h 10667"/>
              <a:gd name="T24" fmla="*/ 3646 w 9467"/>
              <a:gd name="T25" fmla="*/ 6257 h 10667"/>
              <a:gd name="T26" fmla="*/ 3653 w 9467"/>
              <a:gd name="T27" fmla="*/ 6121 h 10667"/>
              <a:gd name="T28" fmla="*/ 3607 w 9467"/>
              <a:gd name="T29" fmla="*/ 6133 h 10667"/>
              <a:gd name="T30" fmla="*/ 3376 w 9467"/>
              <a:gd name="T31" fmla="*/ 6062 h 10667"/>
              <a:gd name="T32" fmla="*/ 2445 w 9467"/>
              <a:gd name="T33" fmla="*/ 3934 h 10667"/>
              <a:gd name="T34" fmla="*/ 4502 w 9467"/>
              <a:gd name="T35" fmla="*/ 2379 h 10667"/>
              <a:gd name="T36" fmla="*/ 4506 w 9467"/>
              <a:gd name="T37" fmla="*/ 2379 h 10667"/>
              <a:gd name="T38" fmla="*/ 4196 w 9467"/>
              <a:gd name="T39" fmla="*/ 4919 h 10667"/>
              <a:gd name="T40" fmla="*/ 4605 w 9467"/>
              <a:gd name="T41" fmla="*/ 5334 h 10667"/>
              <a:gd name="T42" fmla="*/ 4963 w 9467"/>
              <a:gd name="T43" fmla="*/ 4919 h 10667"/>
              <a:gd name="T44" fmla="*/ 4718 w 9467"/>
              <a:gd name="T45" fmla="*/ 2377 h 10667"/>
              <a:gd name="T46" fmla="*/ 6619 w 9467"/>
              <a:gd name="T47" fmla="*/ 3552 h 10667"/>
              <a:gd name="T48" fmla="*/ 7114 w 9467"/>
              <a:gd name="T49" fmla="*/ 2497 h 10667"/>
              <a:gd name="T50" fmla="*/ 7158 w 9467"/>
              <a:gd name="T51" fmla="*/ 2339 h 10667"/>
              <a:gd name="T52" fmla="*/ 6834 w 9467"/>
              <a:gd name="T53" fmla="*/ 1702 h 10667"/>
              <a:gd name="T54" fmla="*/ 7360 w 9467"/>
              <a:gd name="T55" fmla="*/ 1440 h 10667"/>
              <a:gd name="T56" fmla="*/ 7017 w 9467"/>
              <a:gd name="T57" fmla="*/ 766 h 10667"/>
              <a:gd name="T58" fmla="*/ 7129 w 9467"/>
              <a:gd name="T59" fmla="*/ 710 h 10667"/>
              <a:gd name="T60" fmla="*/ 7472 w 9467"/>
              <a:gd name="T61" fmla="*/ 1385 h 10667"/>
              <a:gd name="T62" fmla="*/ 7617 w 9467"/>
              <a:gd name="T63" fmla="*/ 1669 h 10667"/>
              <a:gd name="T64" fmla="*/ 7641 w 9467"/>
              <a:gd name="T65" fmla="*/ 1717 h 10667"/>
              <a:gd name="T66" fmla="*/ 8199 w 9467"/>
              <a:gd name="T67" fmla="*/ 2813 h 10667"/>
              <a:gd name="T68" fmla="*/ 7810 w 9467"/>
              <a:gd name="T69" fmla="*/ 3005 h 10667"/>
              <a:gd name="T70" fmla="*/ 6666 w 9467"/>
              <a:gd name="T71" fmla="*/ 4549 h 10667"/>
              <a:gd name="T72" fmla="*/ 6546 w 9467"/>
              <a:gd name="T73" fmla="*/ 4563 h 10667"/>
              <a:gd name="T74" fmla="*/ 6080 w 9467"/>
              <a:gd name="T75" fmla="*/ 4261 h 10667"/>
              <a:gd name="T76" fmla="*/ 5482 w 9467"/>
              <a:gd name="T77" fmla="*/ 3487 h 10667"/>
              <a:gd name="T78" fmla="*/ 5697 w 9467"/>
              <a:gd name="T79" fmla="*/ 6115 h 10667"/>
              <a:gd name="T80" fmla="*/ 5695 w 9467"/>
              <a:gd name="T81" fmla="*/ 6126 h 10667"/>
              <a:gd name="T82" fmla="*/ 6302 w 9467"/>
              <a:gd name="T83" fmla="*/ 9792 h 10667"/>
              <a:gd name="T84" fmla="*/ 7422 w 9467"/>
              <a:gd name="T85" fmla="*/ 9270 h 10667"/>
              <a:gd name="T86" fmla="*/ 6753 w 9467"/>
              <a:gd name="T87" fmla="*/ 8849 h 10667"/>
              <a:gd name="T88" fmla="*/ 6694 w 9467"/>
              <a:gd name="T89" fmla="*/ 8516 h 10667"/>
              <a:gd name="T90" fmla="*/ 9467 w 9467"/>
              <a:gd name="T91" fmla="*/ 9539 h 10667"/>
              <a:gd name="T92" fmla="*/ 3699 w 9467"/>
              <a:gd name="T93" fmla="*/ 5275 h 10667"/>
              <a:gd name="T94" fmla="*/ 3795 w 9467"/>
              <a:gd name="T95" fmla="*/ 3464 h 10667"/>
              <a:gd name="T96" fmla="*/ 3183 w 9467"/>
              <a:gd name="T97" fmla="*/ 4286 h 10667"/>
              <a:gd name="T98" fmla="*/ 3699 w 9467"/>
              <a:gd name="T99" fmla="*/ 5275 h 10667"/>
              <a:gd name="T100" fmla="*/ 5283 w 9467"/>
              <a:gd name="T101" fmla="*/ 9903 h 10667"/>
              <a:gd name="T102" fmla="*/ 4677 w 9467"/>
              <a:gd name="T103" fmla="*/ 6245 h 10667"/>
              <a:gd name="T104" fmla="*/ 4270 w 9467"/>
              <a:gd name="T105" fmla="*/ 9910 h 10667"/>
              <a:gd name="T106" fmla="*/ 4705 w 9467"/>
              <a:gd name="T107" fmla="*/ 9919 h 10667"/>
              <a:gd name="T108" fmla="*/ 5283 w 9467"/>
              <a:gd name="T109" fmla="*/ 9903 h 10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9467" h="10667">
                <a:moveTo>
                  <a:pt x="3497" y="1130"/>
                </a:moveTo>
                <a:cubicBezTo>
                  <a:pt x="3497" y="506"/>
                  <a:pt x="3993" y="0"/>
                  <a:pt x="4604" y="0"/>
                </a:cubicBezTo>
                <a:cubicBezTo>
                  <a:pt x="5215" y="0"/>
                  <a:pt x="5711" y="506"/>
                  <a:pt x="5711" y="1130"/>
                </a:cubicBezTo>
                <a:cubicBezTo>
                  <a:pt x="5711" y="1755"/>
                  <a:pt x="5215" y="2260"/>
                  <a:pt x="4604" y="2260"/>
                </a:cubicBezTo>
                <a:cubicBezTo>
                  <a:pt x="3993" y="2260"/>
                  <a:pt x="3497" y="1755"/>
                  <a:pt x="3497" y="1130"/>
                </a:cubicBezTo>
                <a:close/>
                <a:moveTo>
                  <a:pt x="9467" y="9539"/>
                </a:moveTo>
                <a:cubicBezTo>
                  <a:pt x="9467" y="10161"/>
                  <a:pt x="7347" y="10667"/>
                  <a:pt x="4733" y="10667"/>
                </a:cubicBezTo>
                <a:cubicBezTo>
                  <a:pt x="2119" y="10667"/>
                  <a:pt x="0" y="10161"/>
                  <a:pt x="0" y="9539"/>
                </a:cubicBezTo>
                <a:cubicBezTo>
                  <a:pt x="0" y="9081"/>
                  <a:pt x="1155" y="8691"/>
                  <a:pt x="2800" y="8515"/>
                </a:cubicBezTo>
                <a:lnTo>
                  <a:pt x="2767" y="8821"/>
                </a:lnTo>
                <a:cubicBezTo>
                  <a:pt x="2287" y="8938"/>
                  <a:pt x="1988" y="9096"/>
                  <a:pt x="1988" y="9270"/>
                </a:cubicBezTo>
                <a:cubicBezTo>
                  <a:pt x="1988" y="9501"/>
                  <a:pt x="2493" y="9703"/>
                  <a:pt x="3251" y="9818"/>
                </a:cubicBezTo>
                <a:lnTo>
                  <a:pt x="3646" y="6257"/>
                </a:lnTo>
                <a:lnTo>
                  <a:pt x="3653" y="6121"/>
                </a:lnTo>
                <a:cubicBezTo>
                  <a:pt x="3637" y="6124"/>
                  <a:pt x="3623" y="6133"/>
                  <a:pt x="3607" y="6133"/>
                </a:cubicBezTo>
                <a:cubicBezTo>
                  <a:pt x="3527" y="6133"/>
                  <a:pt x="3446" y="6110"/>
                  <a:pt x="3376" y="6062"/>
                </a:cubicBezTo>
                <a:cubicBezTo>
                  <a:pt x="2867" y="5717"/>
                  <a:pt x="2110" y="4619"/>
                  <a:pt x="2445" y="3934"/>
                </a:cubicBezTo>
                <a:cubicBezTo>
                  <a:pt x="3162" y="2467"/>
                  <a:pt x="4188" y="2372"/>
                  <a:pt x="4502" y="2379"/>
                </a:cubicBezTo>
                <a:cubicBezTo>
                  <a:pt x="4503" y="2379"/>
                  <a:pt x="4505" y="2379"/>
                  <a:pt x="4506" y="2379"/>
                </a:cubicBezTo>
                <a:lnTo>
                  <a:pt x="4196" y="4919"/>
                </a:lnTo>
                <a:lnTo>
                  <a:pt x="4605" y="5334"/>
                </a:lnTo>
                <a:lnTo>
                  <a:pt x="4963" y="4919"/>
                </a:lnTo>
                <a:lnTo>
                  <a:pt x="4718" y="2377"/>
                </a:lnTo>
                <a:cubicBezTo>
                  <a:pt x="5130" y="2393"/>
                  <a:pt x="5983" y="2555"/>
                  <a:pt x="6619" y="3552"/>
                </a:cubicBezTo>
                <a:cubicBezTo>
                  <a:pt x="6837" y="3225"/>
                  <a:pt x="7102" y="2671"/>
                  <a:pt x="7114" y="2497"/>
                </a:cubicBezTo>
                <a:cubicBezTo>
                  <a:pt x="7118" y="2441"/>
                  <a:pt x="7134" y="2388"/>
                  <a:pt x="7158" y="2339"/>
                </a:cubicBezTo>
                <a:lnTo>
                  <a:pt x="6834" y="1702"/>
                </a:lnTo>
                <a:lnTo>
                  <a:pt x="7360" y="1440"/>
                </a:lnTo>
                <a:lnTo>
                  <a:pt x="7017" y="766"/>
                </a:lnTo>
                <a:lnTo>
                  <a:pt x="7129" y="710"/>
                </a:lnTo>
                <a:lnTo>
                  <a:pt x="7472" y="1385"/>
                </a:lnTo>
                <a:lnTo>
                  <a:pt x="7617" y="1669"/>
                </a:lnTo>
                <a:lnTo>
                  <a:pt x="7641" y="1717"/>
                </a:lnTo>
                <a:lnTo>
                  <a:pt x="8199" y="2813"/>
                </a:lnTo>
                <a:lnTo>
                  <a:pt x="7810" y="3005"/>
                </a:lnTo>
                <a:cubicBezTo>
                  <a:pt x="7589" y="3609"/>
                  <a:pt x="7106" y="4450"/>
                  <a:pt x="6666" y="4549"/>
                </a:cubicBezTo>
                <a:cubicBezTo>
                  <a:pt x="6625" y="4559"/>
                  <a:pt x="6585" y="4563"/>
                  <a:pt x="6546" y="4563"/>
                </a:cubicBezTo>
                <a:cubicBezTo>
                  <a:pt x="6349" y="4563"/>
                  <a:pt x="6174" y="4452"/>
                  <a:pt x="6080" y="4261"/>
                </a:cubicBezTo>
                <a:cubicBezTo>
                  <a:pt x="5899" y="3891"/>
                  <a:pt x="5688" y="3647"/>
                  <a:pt x="5482" y="3487"/>
                </a:cubicBezTo>
                <a:lnTo>
                  <a:pt x="5697" y="6115"/>
                </a:lnTo>
                <a:cubicBezTo>
                  <a:pt x="5697" y="6119"/>
                  <a:pt x="5695" y="6121"/>
                  <a:pt x="5695" y="6126"/>
                </a:cubicBezTo>
                <a:lnTo>
                  <a:pt x="6302" y="9792"/>
                </a:lnTo>
                <a:cubicBezTo>
                  <a:pt x="6977" y="9674"/>
                  <a:pt x="7422" y="9485"/>
                  <a:pt x="7422" y="9270"/>
                </a:cubicBezTo>
                <a:cubicBezTo>
                  <a:pt x="7422" y="9110"/>
                  <a:pt x="7167" y="8962"/>
                  <a:pt x="6753" y="8849"/>
                </a:cubicBezTo>
                <a:lnTo>
                  <a:pt x="6694" y="8516"/>
                </a:lnTo>
                <a:cubicBezTo>
                  <a:pt x="8325" y="8694"/>
                  <a:pt x="9467" y="9083"/>
                  <a:pt x="9467" y="9539"/>
                </a:cubicBezTo>
                <a:close/>
                <a:moveTo>
                  <a:pt x="3699" y="5275"/>
                </a:moveTo>
                <a:lnTo>
                  <a:pt x="3795" y="3464"/>
                </a:lnTo>
                <a:cubicBezTo>
                  <a:pt x="3596" y="3626"/>
                  <a:pt x="3380" y="3880"/>
                  <a:pt x="3183" y="4286"/>
                </a:cubicBezTo>
                <a:cubicBezTo>
                  <a:pt x="3123" y="4441"/>
                  <a:pt x="3399" y="4981"/>
                  <a:pt x="3699" y="5275"/>
                </a:cubicBezTo>
                <a:close/>
                <a:moveTo>
                  <a:pt x="5283" y="9903"/>
                </a:moveTo>
                <a:lnTo>
                  <a:pt x="4677" y="6245"/>
                </a:lnTo>
                <a:lnTo>
                  <a:pt x="4270" y="9910"/>
                </a:lnTo>
                <a:cubicBezTo>
                  <a:pt x="4412" y="9916"/>
                  <a:pt x="4557" y="9919"/>
                  <a:pt x="4705" y="9919"/>
                </a:cubicBezTo>
                <a:cubicBezTo>
                  <a:pt x="4905" y="9919"/>
                  <a:pt x="5097" y="9913"/>
                  <a:pt x="5283" y="9903"/>
                </a:cubicBezTo>
                <a:close/>
              </a:path>
            </a:pathLst>
          </a:custGeom>
          <a:solidFill>
            <a:schemeClr val="bg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37" name="任意多边形: 形状 36"/>
          <p:cNvSpPr/>
          <p:nvPr/>
        </p:nvSpPr>
        <p:spPr>
          <a:xfrm>
            <a:off x="5750277" y="2274505"/>
            <a:ext cx="577090" cy="649339"/>
          </a:xfrm>
          <a:custGeom>
            <a:avLst/>
            <a:gdLst>
              <a:gd name="T0" fmla="*/ 3497 w 9467"/>
              <a:gd name="T1" fmla="*/ 1130 h 10667"/>
              <a:gd name="T2" fmla="*/ 4604 w 9467"/>
              <a:gd name="T3" fmla="*/ 0 h 10667"/>
              <a:gd name="T4" fmla="*/ 5711 w 9467"/>
              <a:gd name="T5" fmla="*/ 1130 h 10667"/>
              <a:gd name="T6" fmla="*/ 4604 w 9467"/>
              <a:gd name="T7" fmla="*/ 2260 h 10667"/>
              <a:gd name="T8" fmla="*/ 3497 w 9467"/>
              <a:gd name="T9" fmla="*/ 1130 h 10667"/>
              <a:gd name="T10" fmla="*/ 9467 w 9467"/>
              <a:gd name="T11" fmla="*/ 9539 h 10667"/>
              <a:gd name="T12" fmla="*/ 4733 w 9467"/>
              <a:gd name="T13" fmla="*/ 10667 h 10667"/>
              <a:gd name="T14" fmla="*/ 0 w 9467"/>
              <a:gd name="T15" fmla="*/ 9539 h 10667"/>
              <a:gd name="T16" fmla="*/ 2800 w 9467"/>
              <a:gd name="T17" fmla="*/ 8515 h 10667"/>
              <a:gd name="T18" fmla="*/ 2767 w 9467"/>
              <a:gd name="T19" fmla="*/ 8821 h 10667"/>
              <a:gd name="T20" fmla="*/ 1988 w 9467"/>
              <a:gd name="T21" fmla="*/ 9270 h 10667"/>
              <a:gd name="T22" fmla="*/ 3251 w 9467"/>
              <a:gd name="T23" fmla="*/ 9818 h 10667"/>
              <a:gd name="T24" fmla="*/ 3646 w 9467"/>
              <a:gd name="T25" fmla="*/ 6257 h 10667"/>
              <a:gd name="T26" fmla="*/ 3653 w 9467"/>
              <a:gd name="T27" fmla="*/ 6121 h 10667"/>
              <a:gd name="T28" fmla="*/ 3607 w 9467"/>
              <a:gd name="T29" fmla="*/ 6133 h 10667"/>
              <a:gd name="T30" fmla="*/ 3376 w 9467"/>
              <a:gd name="T31" fmla="*/ 6062 h 10667"/>
              <a:gd name="T32" fmla="*/ 2445 w 9467"/>
              <a:gd name="T33" fmla="*/ 3934 h 10667"/>
              <a:gd name="T34" fmla="*/ 4502 w 9467"/>
              <a:gd name="T35" fmla="*/ 2379 h 10667"/>
              <a:gd name="T36" fmla="*/ 4506 w 9467"/>
              <a:gd name="T37" fmla="*/ 2379 h 10667"/>
              <a:gd name="T38" fmla="*/ 4196 w 9467"/>
              <a:gd name="T39" fmla="*/ 4919 h 10667"/>
              <a:gd name="T40" fmla="*/ 4605 w 9467"/>
              <a:gd name="T41" fmla="*/ 5334 h 10667"/>
              <a:gd name="T42" fmla="*/ 4963 w 9467"/>
              <a:gd name="T43" fmla="*/ 4919 h 10667"/>
              <a:gd name="T44" fmla="*/ 4718 w 9467"/>
              <a:gd name="T45" fmla="*/ 2377 h 10667"/>
              <a:gd name="T46" fmla="*/ 6619 w 9467"/>
              <a:gd name="T47" fmla="*/ 3552 h 10667"/>
              <a:gd name="T48" fmla="*/ 7114 w 9467"/>
              <a:gd name="T49" fmla="*/ 2497 h 10667"/>
              <a:gd name="T50" fmla="*/ 7158 w 9467"/>
              <a:gd name="T51" fmla="*/ 2339 h 10667"/>
              <a:gd name="T52" fmla="*/ 6834 w 9467"/>
              <a:gd name="T53" fmla="*/ 1702 h 10667"/>
              <a:gd name="T54" fmla="*/ 7360 w 9467"/>
              <a:gd name="T55" fmla="*/ 1440 h 10667"/>
              <a:gd name="T56" fmla="*/ 7017 w 9467"/>
              <a:gd name="T57" fmla="*/ 766 h 10667"/>
              <a:gd name="T58" fmla="*/ 7129 w 9467"/>
              <a:gd name="T59" fmla="*/ 710 h 10667"/>
              <a:gd name="T60" fmla="*/ 7472 w 9467"/>
              <a:gd name="T61" fmla="*/ 1385 h 10667"/>
              <a:gd name="T62" fmla="*/ 7617 w 9467"/>
              <a:gd name="T63" fmla="*/ 1669 h 10667"/>
              <a:gd name="T64" fmla="*/ 7641 w 9467"/>
              <a:gd name="T65" fmla="*/ 1717 h 10667"/>
              <a:gd name="T66" fmla="*/ 8199 w 9467"/>
              <a:gd name="T67" fmla="*/ 2813 h 10667"/>
              <a:gd name="T68" fmla="*/ 7810 w 9467"/>
              <a:gd name="T69" fmla="*/ 3005 h 10667"/>
              <a:gd name="T70" fmla="*/ 6666 w 9467"/>
              <a:gd name="T71" fmla="*/ 4549 h 10667"/>
              <a:gd name="T72" fmla="*/ 6546 w 9467"/>
              <a:gd name="T73" fmla="*/ 4563 h 10667"/>
              <a:gd name="T74" fmla="*/ 6080 w 9467"/>
              <a:gd name="T75" fmla="*/ 4261 h 10667"/>
              <a:gd name="T76" fmla="*/ 5482 w 9467"/>
              <a:gd name="T77" fmla="*/ 3487 h 10667"/>
              <a:gd name="T78" fmla="*/ 5697 w 9467"/>
              <a:gd name="T79" fmla="*/ 6115 h 10667"/>
              <a:gd name="T80" fmla="*/ 5695 w 9467"/>
              <a:gd name="T81" fmla="*/ 6126 h 10667"/>
              <a:gd name="T82" fmla="*/ 6302 w 9467"/>
              <a:gd name="T83" fmla="*/ 9792 h 10667"/>
              <a:gd name="T84" fmla="*/ 7422 w 9467"/>
              <a:gd name="T85" fmla="*/ 9270 h 10667"/>
              <a:gd name="T86" fmla="*/ 6753 w 9467"/>
              <a:gd name="T87" fmla="*/ 8849 h 10667"/>
              <a:gd name="T88" fmla="*/ 6694 w 9467"/>
              <a:gd name="T89" fmla="*/ 8516 h 10667"/>
              <a:gd name="T90" fmla="*/ 9467 w 9467"/>
              <a:gd name="T91" fmla="*/ 9539 h 10667"/>
              <a:gd name="T92" fmla="*/ 3699 w 9467"/>
              <a:gd name="T93" fmla="*/ 5275 h 10667"/>
              <a:gd name="T94" fmla="*/ 3795 w 9467"/>
              <a:gd name="T95" fmla="*/ 3464 h 10667"/>
              <a:gd name="T96" fmla="*/ 3183 w 9467"/>
              <a:gd name="T97" fmla="*/ 4286 h 10667"/>
              <a:gd name="T98" fmla="*/ 3699 w 9467"/>
              <a:gd name="T99" fmla="*/ 5275 h 10667"/>
              <a:gd name="T100" fmla="*/ 5283 w 9467"/>
              <a:gd name="T101" fmla="*/ 9903 h 10667"/>
              <a:gd name="T102" fmla="*/ 4677 w 9467"/>
              <a:gd name="T103" fmla="*/ 6245 h 10667"/>
              <a:gd name="T104" fmla="*/ 4270 w 9467"/>
              <a:gd name="T105" fmla="*/ 9910 h 10667"/>
              <a:gd name="T106" fmla="*/ 4705 w 9467"/>
              <a:gd name="T107" fmla="*/ 9919 h 10667"/>
              <a:gd name="T108" fmla="*/ 5283 w 9467"/>
              <a:gd name="T109" fmla="*/ 9903 h 10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9467" h="10667">
                <a:moveTo>
                  <a:pt x="3497" y="1130"/>
                </a:moveTo>
                <a:cubicBezTo>
                  <a:pt x="3497" y="506"/>
                  <a:pt x="3993" y="0"/>
                  <a:pt x="4604" y="0"/>
                </a:cubicBezTo>
                <a:cubicBezTo>
                  <a:pt x="5215" y="0"/>
                  <a:pt x="5711" y="506"/>
                  <a:pt x="5711" y="1130"/>
                </a:cubicBezTo>
                <a:cubicBezTo>
                  <a:pt x="5711" y="1755"/>
                  <a:pt x="5215" y="2260"/>
                  <a:pt x="4604" y="2260"/>
                </a:cubicBezTo>
                <a:cubicBezTo>
                  <a:pt x="3993" y="2260"/>
                  <a:pt x="3497" y="1755"/>
                  <a:pt x="3497" y="1130"/>
                </a:cubicBezTo>
                <a:close/>
                <a:moveTo>
                  <a:pt x="9467" y="9539"/>
                </a:moveTo>
                <a:cubicBezTo>
                  <a:pt x="9467" y="10161"/>
                  <a:pt x="7347" y="10667"/>
                  <a:pt x="4733" y="10667"/>
                </a:cubicBezTo>
                <a:cubicBezTo>
                  <a:pt x="2119" y="10667"/>
                  <a:pt x="0" y="10161"/>
                  <a:pt x="0" y="9539"/>
                </a:cubicBezTo>
                <a:cubicBezTo>
                  <a:pt x="0" y="9081"/>
                  <a:pt x="1155" y="8691"/>
                  <a:pt x="2800" y="8515"/>
                </a:cubicBezTo>
                <a:lnTo>
                  <a:pt x="2767" y="8821"/>
                </a:lnTo>
                <a:cubicBezTo>
                  <a:pt x="2287" y="8938"/>
                  <a:pt x="1988" y="9096"/>
                  <a:pt x="1988" y="9270"/>
                </a:cubicBezTo>
                <a:cubicBezTo>
                  <a:pt x="1988" y="9501"/>
                  <a:pt x="2493" y="9703"/>
                  <a:pt x="3251" y="9818"/>
                </a:cubicBezTo>
                <a:lnTo>
                  <a:pt x="3646" y="6257"/>
                </a:lnTo>
                <a:lnTo>
                  <a:pt x="3653" y="6121"/>
                </a:lnTo>
                <a:cubicBezTo>
                  <a:pt x="3637" y="6124"/>
                  <a:pt x="3623" y="6133"/>
                  <a:pt x="3607" y="6133"/>
                </a:cubicBezTo>
                <a:cubicBezTo>
                  <a:pt x="3527" y="6133"/>
                  <a:pt x="3446" y="6110"/>
                  <a:pt x="3376" y="6062"/>
                </a:cubicBezTo>
                <a:cubicBezTo>
                  <a:pt x="2867" y="5717"/>
                  <a:pt x="2110" y="4619"/>
                  <a:pt x="2445" y="3934"/>
                </a:cubicBezTo>
                <a:cubicBezTo>
                  <a:pt x="3162" y="2467"/>
                  <a:pt x="4188" y="2372"/>
                  <a:pt x="4502" y="2379"/>
                </a:cubicBezTo>
                <a:cubicBezTo>
                  <a:pt x="4503" y="2379"/>
                  <a:pt x="4505" y="2379"/>
                  <a:pt x="4506" y="2379"/>
                </a:cubicBezTo>
                <a:lnTo>
                  <a:pt x="4196" y="4919"/>
                </a:lnTo>
                <a:lnTo>
                  <a:pt x="4605" y="5334"/>
                </a:lnTo>
                <a:lnTo>
                  <a:pt x="4963" y="4919"/>
                </a:lnTo>
                <a:lnTo>
                  <a:pt x="4718" y="2377"/>
                </a:lnTo>
                <a:cubicBezTo>
                  <a:pt x="5130" y="2393"/>
                  <a:pt x="5983" y="2555"/>
                  <a:pt x="6619" y="3552"/>
                </a:cubicBezTo>
                <a:cubicBezTo>
                  <a:pt x="6837" y="3225"/>
                  <a:pt x="7102" y="2671"/>
                  <a:pt x="7114" y="2497"/>
                </a:cubicBezTo>
                <a:cubicBezTo>
                  <a:pt x="7118" y="2441"/>
                  <a:pt x="7134" y="2388"/>
                  <a:pt x="7158" y="2339"/>
                </a:cubicBezTo>
                <a:lnTo>
                  <a:pt x="6834" y="1702"/>
                </a:lnTo>
                <a:lnTo>
                  <a:pt x="7360" y="1440"/>
                </a:lnTo>
                <a:lnTo>
                  <a:pt x="7017" y="766"/>
                </a:lnTo>
                <a:lnTo>
                  <a:pt x="7129" y="710"/>
                </a:lnTo>
                <a:lnTo>
                  <a:pt x="7472" y="1385"/>
                </a:lnTo>
                <a:lnTo>
                  <a:pt x="7617" y="1669"/>
                </a:lnTo>
                <a:lnTo>
                  <a:pt x="7641" y="1717"/>
                </a:lnTo>
                <a:lnTo>
                  <a:pt x="8199" y="2813"/>
                </a:lnTo>
                <a:lnTo>
                  <a:pt x="7810" y="3005"/>
                </a:lnTo>
                <a:cubicBezTo>
                  <a:pt x="7589" y="3609"/>
                  <a:pt x="7106" y="4450"/>
                  <a:pt x="6666" y="4549"/>
                </a:cubicBezTo>
                <a:cubicBezTo>
                  <a:pt x="6625" y="4559"/>
                  <a:pt x="6585" y="4563"/>
                  <a:pt x="6546" y="4563"/>
                </a:cubicBezTo>
                <a:cubicBezTo>
                  <a:pt x="6349" y="4563"/>
                  <a:pt x="6174" y="4452"/>
                  <a:pt x="6080" y="4261"/>
                </a:cubicBezTo>
                <a:cubicBezTo>
                  <a:pt x="5899" y="3891"/>
                  <a:pt x="5688" y="3647"/>
                  <a:pt x="5482" y="3487"/>
                </a:cubicBezTo>
                <a:lnTo>
                  <a:pt x="5697" y="6115"/>
                </a:lnTo>
                <a:cubicBezTo>
                  <a:pt x="5697" y="6119"/>
                  <a:pt x="5695" y="6121"/>
                  <a:pt x="5695" y="6126"/>
                </a:cubicBezTo>
                <a:lnTo>
                  <a:pt x="6302" y="9792"/>
                </a:lnTo>
                <a:cubicBezTo>
                  <a:pt x="6977" y="9674"/>
                  <a:pt x="7422" y="9485"/>
                  <a:pt x="7422" y="9270"/>
                </a:cubicBezTo>
                <a:cubicBezTo>
                  <a:pt x="7422" y="9110"/>
                  <a:pt x="7167" y="8962"/>
                  <a:pt x="6753" y="8849"/>
                </a:cubicBezTo>
                <a:lnTo>
                  <a:pt x="6694" y="8516"/>
                </a:lnTo>
                <a:cubicBezTo>
                  <a:pt x="8325" y="8694"/>
                  <a:pt x="9467" y="9083"/>
                  <a:pt x="9467" y="9539"/>
                </a:cubicBezTo>
                <a:close/>
                <a:moveTo>
                  <a:pt x="3699" y="5275"/>
                </a:moveTo>
                <a:lnTo>
                  <a:pt x="3795" y="3464"/>
                </a:lnTo>
                <a:cubicBezTo>
                  <a:pt x="3596" y="3626"/>
                  <a:pt x="3380" y="3880"/>
                  <a:pt x="3183" y="4286"/>
                </a:cubicBezTo>
                <a:cubicBezTo>
                  <a:pt x="3123" y="4441"/>
                  <a:pt x="3399" y="4981"/>
                  <a:pt x="3699" y="5275"/>
                </a:cubicBezTo>
                <a:close/>
                <a:moveTo>
                  <a:pt x="5283" y="9903"/>
                </a:moveTo>
                <a:lnTo>
                  <a:pt x="4677" y="6245"/>
                </a:lnTo>
                <a:lnTo>
                  <a:pt x="4270" y="9910"/>
                </a:lnTo>
                <a:cubicBezTo>
                  <a:pt x="4412" y="9916"/>
                  <a:pt x="4557" y="9919"/>
                  <a:pt x="4705" y="9919"/>
                </a:cubicBezTo>
                <a:cubicBezTo>
                  <a:pt x="4905" y="9919"/>
                  <a:pt x="5097" y="9913"/>
                  <a:pt x="5283" y="9903"/>
                </a:cubicBezTo>
                <a:close/>
              </a:path>
            </a:pathLst>
          </a:custGeom>
          <a:solidFill>
            <a:schemeClr val="bg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38" name="任意多边形: 形状 37"/>
          <p:cNvSpPr/>
          <p:nvPr/>
        </p:nvSpPr>
        <p:spPr>
          <a:xfrm>
            <a:off x="8429372" y="2274505"/>
            <a:ext cx="577090" cy="649339"/>
          </a:xfrm>
          <a:custGeom>
            <a:avLst/>
            <a:gdLst>
              <a:gd name="T0" fmla="*/ 3497 w 9467"/>
              <a:gd name="T1" fmla="*/ 1130 h 10667"/>
              <a:gd name="T2" fmla="*/ 4604 w 9467"/>
              <a:gd name="T3" fmla="*/ 0 h 10667"/>
              <a:gd name="T4" fmla="*/ 5711 w 9467"/>
              <a:gd name="T5" fmla="*/ 1130 h 10667"/>
              <a:gd name="T6" fmla="*/ 4604 w 9467"/>
              <a:gd name="T7" fmla="*/ 2260 h 10667"/>
              <a:gd name="T8" fmla="*/ 3497 w 9467"/>
              <a:gd name="T9" fmla="*/ 1130 h 10667"/>
              <a:gd name="T10" fmla="*/ 9467 w 9467"/>
              <a:gd name="T11" fmla="*/ 9539 h 10667"/>
              <a:gd name="T12" fmla="*/ 4733 w 9467"/>
              <a:gd name="T13" fmla="*/ 10667 h 10667"/>
              <a:gd name="T14" fmla="*/ 0 w 9467"/>
              <a:gd name="T15" fmla="*/ 9539 h 10667"/>
              <a:gd name="T16" fmla="*/ 2800 w 9467"/>
              <a:gd name="T17" fmla="*/ 8515 h 10667"/>
              <a:gd name="T18" fmla="*/ 2767 w 9467"/>
              <a:gd name="T19" fmla="*/ 8821 h 10667"/>
              <a:gd name="T20" fmla="*/ 1988 w 9467"/>
              <a:gd name="T21" fmla="*/ 9270 h 10667"/>
              <a:gd name="T22" fmla="*/ 3251 w 9467"/>
              <a:gd name="T23" fmla="*/ 9818 h 10667"/>
              <a:gd name="T24" fmla="*/ 3646 w 9467"/>
              <a:gd name="T25" fmla="*/ 6257 h 10667"/>
              <a:gd name="T26" fmla="*/ 3653 w 9467"/>
              <a:gd name="T27" fmla="*/ 6121 h 10667"/>
              <a:gd name="T28" fmla="*/ 3607 w 9467"/>
              <a:gd name="T29" fmla="*/ 6133 h 10667"/>
              <a:gd name="T30" fmla="*/ 3376 w 9467"/>
              <a:gd name="T31" fmla="*/ 6062 h 10667"/>
              <a:gd name="T32" fmla="*/ 2445 w 9467"/>
              <a:gd name="T33" fmla="*/ 3934 h 10667"/>
              <a:gd name="T34" fmla="*/ 4502 w 9467"/>
              <a:gd name="T35" fmla="*/ 2379 h 10667"/>
              <a:gd name="T36" fmla="*/ 4506 w 9467"/>
              <a:gd name="T37" fmla="*/ 2379 h 10667"/>
              <a:gd name="T38" fmla="*/ 4196 w 9467"/>
              <a:gd name="T39" fmla="*/ 4919 h 10667"/>
              <a:gd name="T40" fmla="*/ 4605 w 9467"/>
              <a:gd name="T41" fmla="*/ 5334 h 10667"/>
              <a:gd name="T42" fmla="*/ 4963 w 9467"/>
              <a:gd name="T43" fmla="*/ 4919 h 10667"/>
              <a:gd name="T44" fmla="*/ 4718 w 9467"/>
              <a:gd name="T45" fmla="*/ 2377 h 10667"/>
              <a:gd name="T46" fmla="*/ 6619 w 9467"/>
              <a:gd name="T47" fmla="*/ 3552 h 10667"/>
              <a:gd name="T48" fmla="*/ 7114 w 9467"/>
              <a:gd name="T49" fmla="*/ 2497 h 10667"/>
              <a:gd name="T50" fmla="*/ 7158 w 9467"/>
              <a:gd name="T51" fmla="*/ 2339 h 10667"/>
              <a:gd name="T52" fmla="*/ 6834 w 9467"/>
              <a:gd name="T53" fmla="*/ 1702 h 10667"/>
              <a:gd name="T54" fmla="*/ 7360 w 9467"/>
              <a:gd name="T55" fmla="*/ 1440 h 10667"/>
              <a:gd name="T56" fmla="*/ 7017 w 9467"/>
              <a:gd name="T57" fmla="*/ 766 h 10667"/>
              <a:gd name="T58" fmla="*/ 7129 w 9467"/>
              <a:gd name="T59" fmla="*/ 710 h 10667"/>
              <a:gd name="T60" fmla="*/ 7472 w 9467"/>
              <a:gd name="T61" fmla="*/ 1385 h 10667"/>
              <a:gd name="T62" fmla="*/ 7617 w 9467"/>
              <a:gd name="T63" fmla="*/ 1669 h 10667"/>
              <a:gd name="T64" fmla="*/ 7641 w 9467"/>
              <a:gd name="T65" fmla="*/ 1717 h 10667"/>
              <a:gd name="T66" fmla="*/ 8199 w 9467"/>
              <a:gd name="T67" fmla="*/ 2813 h 10667"/>
              <a:gd name="T68" fmla="*/ 7810 w 9467"/>
              <a:gd name="T69" fmla="*/ 3005 h 10667"/>
              <a:gd name="T70" fmla="*/ 6666 w 9467"/>
              <a:gd name="T71" fmla="*/ 4549 h 10667"/>
              <a:gd name="T72" fmla="*/ 6546 w 9467"/>
              <a:gd name="T73" fmla="*/ 4563 h 10667"/>
              <a:gd name="T74" fmla="*/ 6080 w 9467"/>
              <a:gd name="T75" fmla="*/ 4261 h 10667"/>
              <a:gd name="T76" fmla="*/ 5482 w 9467"/>
              <a:gd name="T77" fmla="*/ 3487 h 10667"/>
              <a:gd name="T78" fmla="*/ 5697 w 9467"/>
              <a:gd name="T79" fmla="*/ 6115 h 10667"/>
              <a:gd name="T80" fmla="*/ 5695 w 9467"/>
              <a:gd name="T81" fmla="*/ 6126 h 10667"/>
              <a:gd name="T82" fmla="*/ 6302 w 9467"/>
              <a:gd name="T83" fmla="*/ 9792 h 10667"/>
              <a:gd name="T84" fmla="*/ 7422 w 9467"/>
              <a:gd name="T85" fmla="*/ 9270 h 10667"/>
              <a:gd name="T86" fmla="*/ 6753 w 9467"/>
              <a:gd name="T87" fmla="*/ 8849 h 10667"/>
              <a:gd name="T88" fmla="*/ 6694 w 9467"/>
              <a:gd name="T89" fmla="*/ 8516 h 10667"/>
              <a:gd name="T90" fmla="*/ 9467 w 9467"/>
              <a:gd name="T91" fmla="*/ 9539 h 10667"/>
              <a:gd name="T92" fmla="*/ 3699 w 9467"/>
              <a:gd name="T93" fmla="*/ 5275 h 10667"/>
              <a:gd name="T94" fmla="*/ 3795 w 9467"/>
              <a:gd name="T95" fmla="*/ 3464 h 10667"/>
              <a:gd name="T96" fmla="*/ 3183 w 9467"/>
              <a:gd name="T97" fmla="*/ 4286 h 10667"/>
              <a:gd name="T98" fmla="*/ 3699 w 9467"/>
              <a:gd name="T99" fmla="*/ 5275 h 10667"/>
              <a:gd name="T100" fmla="*/ 5283 w 9467"/>
              <a:gd name="T101" fmla="*/ 9903 h 10667"/>
              <a:gd name="T102" fmla="*/ 4677 w 9467"/>
              <a:gd name="T103" fmla="*/ 6245 h 10667"/>
              <a:gd name="T104" fmla="*/ 4270 w 9467"/>
              <a:gd name="T105" fmla="*/ 9910 h 10667"/>
              <a:gd name="T106" fmla="*/ 4705 w 9467"/>
              <a:gd name="T107" fmla="*/ 9919 h 10667"/>
              <a:gd name="T108" fmla="*/ 5283 w 9467"/>
              <a:gd name="T109" fmla="*/ 9903 h 10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9467" h="10667">
                <a:moveTo>
                  <a:pt x="3497" y="1130"/>
                </a:moveTo>
                <a:cubicBezTo>
                  <a:pt x="3497" y="506"/>
                  <a:pt x="3993" y="0"/>
                  <a:pt x="4604" y="0"/>
                </a:cubicBezTo>
                <a:cubicBezTo>
                  <a:pt x="5215" y="0"/>
                  <a:pt x="5711" y="506"/>
                  <a:pt x="5711" y="1130"/>
                </a:cubicBezTo>
                <a:cubicBezTo>
                  <a:pt x="5711" y="1755"/>
                  <a:pt x="5215" y="2260"/>
                  <a:pt x="4604" y="2260"/>
                </a:cubicBezTo>
                <a:cubicBezTo>
                  <a:pt x="3993" y="2260"/>
                  <a:pt x="3497" y="1755"/>
                  <a:pt x="3497" y="1130"/>
                </a:cubicBezTo>
                <a:close/>
                <a:moveTo>
                  <a:pt x="9467" y="9539"/>
                </a:moveTo>
                <a:cubicBezTo>
                  <a:pt x="9467" y="10161"/>
                  <a:pt x="7347" y="10667"/>
                  <a:pt x="4733" y="10667"/>
                </a:cubicBezTo>
                <a:cubicBezTo>
                  <a:pt x="2119" y="10667"/>
                  <a:pt x="0" y="10161"/>
                  <a:pt x="0" y="9539"/>
                </a:cubicBezTo>
                <a:cubicBezTo>
                  <a:pt x="0" y="9081"/>
                  <a:pt x="1155" y="8691"/>
                  <a:pt x="2800" y="8515"/>
                </a:cubicBezTo>
                <a:lnTo>
                  <a:pt x="2767" y="8821"/>
                </a:lnTo>
                <a:cubicBezTo>
                  <a:pt x="2287" y="8938"/>
                  <a:pt x="1988" y="9096"/>
                  <a:pt x="1988" y="9270"/>
                </a:cubicBezTo>
                <a:cubicBezTo>
                  <a:pt x="1988" y="9501"/>
                  <a:pt x="2493" y="9703"/>
                  <a:pt x="3251" y="9818"/>
                </a:cubicBezTo>
                <a:lnTo>
                  <a:pt x="3646" y="6257"/>
                </a:lnTo>
                <a:lnTo>
                  <a:pt x="3653" y="6121"/>
                </a:lnTo>
                <a:cubicBezTo>
                  <a:pt x="3637" y="6124"/>
                  <a:pt x="3623" y="6133"/>
                  <a:pt x="3607" y="6133"/>
                </a:cubicBezTo>
                <a:cubicBezTo>
                  <a:pt x="3527" y="6133"/>
                  <a:pt x="3446" y="6110"/>
                  <a:pt x="3376" y="6062"/>
                </a:cubicBezTo>
                <a:cubicBezTo>
                  <a:pt x="2867" y="5717"/>
                  <a:pt x="2110" y="4619"/>
                  <a:pt x="2445" y="3934"/>
                </a:cubicBezTo>
                <a:cubicBezTo>
                  <a:pt x="3162" y="2467"/>
                  <a:pt x="4188" y="2372"/>
                  <a:pt x="4502" y="2379"/>
                </a:cubicBezTo>
                <a:cubicBezTo>
                  <a:pt x="4503" y="2379"/>
                  <a:pt x="4505" y="2379"/>
                  <a:pt x="4506" y="2379"/>
                </a:cubicBezTo>
                <a:lnTo>
                  <a:pt x="4196" y="4919"/>
                </a:lnTo>
                <a:lnTo>
                  <a:pt x="4605" y="5334"/>
                </a:lnTo>
                <a:lnTo>
                  <a:pt x="4963" y="4919"/>
                </a:lnTo>
                <a:lnTo>
                  <a:pt x="4718" y="2377"/>
                </a:lnTo>
                <a:cubicBezTo>
                  <a:pt x="5130" y="2393"/>
                  <a:pt x="5983" y="2555"/>
                  <a:pt x="6619" y="3552"/>
                </a:cubicBezTo>
                <a:cubicBezTo>
                  <a:pt x="6837" y="3225"/>
                  <a:pt x="7102" y="2671"/>
                  <a:pt x="7114" y="2497"/>
                </a:cubicBezTo>
                <a:cubicBezTo>
                  <a:pt x="7118" y="2441"/>
                  <a:pt x="7134" y="2388"/>
                  <a:pt x="7158" y="2339"/>
                </a:cubicBezTo>
                <a:lnTo>
                  <a:pt x="6834" y="1702"/>
                </a:lnTo>
                <a:lnTo>
                  <a:pt x="7360" y="1440"/>
                </a:lnTo>
                <a:lnTo>
                  <a:pt x="7017" y="766"/>
                </a:lnTo>
                <a:lnTo>
                  <a:pt x="7129" y="710"/>
                </a:lnTo>
                <a:lnTo>
                  <a:pt x="7472" y="1385"/>
                </a:lnTo>
                <a:lnTo>
                  <a:pt x="7617" y="1669"/>
                </a:lnTo>
                <a:lnTo>
                  <a:pt x="7641" y="1717"/>
                </a:lnTo>
                <a:lnTo>
                  <a:pt x="8199" y="2813"/>
                </a:lnTo>
                <a:lnTo>
                  <a:pt x="7810" y="3005"/>
                </a:lnTo>
                <a:cubicBezTo>
                  <a:pt x="7589" y="3609"/>
                  <a:pt x="7106" y="4450"/>
                  <a:pt x="6666" y="4549"/>
                </a:cubicBezTo>
                <a:cubicBezTo>
                  <a:pt x="6625" y="4559"/>
                  <a:pt x="6585" y="4563"/>
                  <a:pt x="6546" y="4563"/>
                </a:cubicBezTo>
                <a:cubicBezTo>
                  <a:pt x="6349" y="4563"/>
                  <a:pt x="6174" y="4452"/>
                  <a:pt x="6080" y="4261"/>
                </a:cubicBezTo>
                <a:cubicBezTo>
                  <a:pt x="5899" y="3891"/>
                  <a:pt x="5688" y="3647"/>
                  <a:pt x="5482" y="3487"/>
                </a:cubicBezTo>
                <a:lnTo>
                  <a:pt x="5697" y="6115"/>
                </a:lnTo>
                <a:cubicBezTo>
                  <a:pt x="5697" y="6119"/>
                  <a:pt x="5695" y="6121"/>
                  <a:pt x="5695" y="6126"/>
                </a:cubicBezTo>
                <a:lnTo>
                  <a:pt x="6302" y="9792"/>
                </a:lnTo>
                <a:cubicBezTo>
                  <a:pt x="6977" y="9674"/>
                  <a:pt x="7422" y="9485"/>
                  <a:pt x="7422" y="9270"/>
                </a:cubicBezTo>
                <a:cubicBezTo>
                  <a:pt x="7422" y="9110"/>
                  <a:pt x="7167" y="8962"/>
                  <a:pt x="6753" y="8849"/>
                </a:cubicBezTo>
                <a:lnTo>
                  <a:pt x="6694" y="8516"/>
                </a:lnTo>
                <a:cubicBezTo>
                  <a:pt x="8325" y="8694"/>
                  <a:pt x="9467" y="9083"/>
                  <a:pt x="9467" y="9539"/>
                </a:cubicBezTo>
                <a:close/>
                <a:moveTo>
                  <a:pt x="3699" y="5275"/>
                </a:moveTo>
                <a:lnTo>
                  <a:pt x="3795" y="3464"/>
                </a:lnTo>
                <a:cubicBezTo>
                  <a:pt x="3596" y="3626"/>
                  <a:pt x="3380" y="3880"/>
                  <a:pt x="3183" y="4286"/>
                </a:cubicBezTo>
                <a:cubicBezTo>
                  <a:pt x="3123" y="4441"/>
                  <a:pt x="3399" y="4981"/>
                  <a:pt x="3699" y="5275"/>
                </a:cubicBezTo>
                <a:close/>
                <a:moveTo>
                  <a:pt x="5283" y="9903"/>
                </a:moveTo>
                <a:lnTo>
                  <a:pt x="4677" y="6245"/>
                </a:lnTo>
                <a:lnTo>
                  <a:pt x="4270" y="9910"/>
                </a:lnTo>
                <a:cubicBezTo>
                  <a:pt x="4412" y="9916"/>
                  <a:pt x="4557" y="9919"/>
                  <a:pt x="4705" y="9919"/>
                </a:cubicBezTo>
                <a:cubicBezTo>
                  <a:pt x="4905" y="9919"/>
                  <a:pt x="5097" y="9913"/>
                  <a:pt x="5283" y="9903"/>
                </a:cubicBezTo>
                <a:close/>
              </a:path>
            </a:pathLst>
          </a:custGeom>
          <a:solidFill>
            <a:schemeClr val="bg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E632F477-E3A9-47DC-9B17-2FF72B06E79D}"/>
              </a:ext>
            </a:extLst>
          </p:cNvPr>
          <p:cNvSpPr/>
          <p:nvPr/>
        </p:nvSpPr>
        <p:spPr bwMode="auto">
          <a:xfrm>
            <a:off x="1220655" y="4182832"/>
            <a:ext cx="3509735" cy="9629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60000"/>
              </a:lnSpc>
            </a:pPr>
            <a:r>
              <a:rPr lang="en-US" altLang="zh-CN" sz="1100">
                <a:cs typeface="+mn-ea"/>
                <a:sym typeface="+mn-lt"/>
              </a:rPr>
              <a:t>Copy pas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te </a:t>
            </a:r>
            <a:r>
              <a:rPr lang="en-US" altLang="zh-CN" sz="1100" dirty="0">
                <a:cs typeface="+mn-ea"/>
                <a:sym typeface="+mn-lt"/>
              </a:rPr>
              <a:t>fonts. Choose the only option to retain text.</a:t>
            </a:r>
          </a:p>
          <a:p>
            <a:pPr algn="ctr">
              <a:lnSpc>
                <a:spcPct val="160000"/>
              </a:lnSpc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6BAC2652-93D3-460E-A1C2-A301031A0DD3}"/>
              </a:ext>
            </a:extLst>
          </p:cNvPr>
          <p:cNvSpPr txBox="1"/>
          <p:nvPr/>
        </p:nvSpPr>
        <p:spPr bwMode="auto">
          <a:xfrm>
            <a:off x="1220655" y="3687515"/>
            <a:ext cx="3509735" cy="394173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1600" b="1">
                <a:cs typeface="+mn-ea"/>
                <a:sym typeface="+mn-lt"/>
              </a:rPr>
              <a:t>T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sz="1600" b="1">
                <a:cs typeface="+mn-ea"/>
                <a:sym typeface="+mn-lt"/>
              </a:rPr>
              <a:t>ext </a:t>
            </a:r>
            <a:r>
              <a:rPr lang="en-US" altLang="zh-CN" sz="1600" b="1" dirty="0">
                <a:cs typeface="+mn-ea"/>
                <a:sym typeface="+mn-lt"/>
              </a:rPr>
              <a:t>here</a:t>
            </a: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E632F477-E3A9-47DC-9B17-2FF72B06E79D}"/>
              </a:ext>
            </a:extLst>
          </p:cNvPr>
          <p:cNvSpPr/>
          <p:nvPr/>
        </p:nvSpPr>
        <p:spPr bwMode="auto">
          <a:xfrm>
            <a:off x="1220655" y="5183892"/>
            <a:ext cx="3509735" cy="9629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60000"/>
              </a:lnSpc>
            </a:pPr>
            <a:r>
              <a:rPr lang="en-US" altLang="zh-CN" sz="1100">
                <a:cs typeface="+mn-ea"/>
                <a:sym typeface="+mn-lt"/>
              </a:rPr>
              <a:t>Copy pas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te </a:t>
            </a:r>
            <a:r>
              <a:rPr lang="en-US" altLang="zh-CN" sz="1100" dirty="0">
                <a:cs typeface="+mn-ea"/>
                <a:sym typeface="+mn-lt"/>
              </a:rPr>
              <a:t>fonts. Choose the only option to retain text.</a:t>
            </a:r>
          </a:p>
          <a:p>
            <a:pPr algn="ctr">
              <a:lnSpc>
                <a:spcPct val="160000"/>
              </a:lnSpc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E632F477-E3A9-47DC-9B17-2FF72B06E79D}"/>
              </a:ext>
            </a:extLst>
          </p:cNvPr>
          <p:cNvSpPr/>
          <p:nvPr/>
        </p:nvSpPr>
        <p:spPr bwMode="auto">
          <a:xfrm>
            <a:off x="7461610" y="4182832"/>
            <a:ext cx="3509735" cy="9629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60000"/>
              </a:lnSpc>
            </a:pPr>
            <a:r>
              <a:rPr lang="en-US" altLang="zh-CN" sz="1100">
                <a:cs typeface="+mn-ea"/>
                <a:sym typeface="+mn-lt"/>
              </a:rPr>
              <a:t>Copy pas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te </a:t>
            </a:r>
            <a:r>
              <a:rPr lang="en-US" altLang="zh-CN" sz="1100" dirty="0">
                <a:cs typeface="+mn-ea"/>
                <a:sym typeface="+mn-lt"/>
              </a:rPr>
              <a:t>fonts. Choose the only option to retain text.</a:t>
            </a:r>
          </a:p>
          <a:p>
            <a:pPr algn="ctr">
              <a:lnSpc>
                <a:spcPct val="160000"/>
              </a:lnSpc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6BAC2652-93D3-460E-A1C2-A301031A0DD3}"/>
              </a:ext>
            </a:extLst>
          </p:cNvPr>
          <p:cNvSpPr txBox="1"/>
          <p:nvPr/>
        </p:nvSpPr>
        <p:spPr bwMode="auto">
          <a:xfrm>
            <a:off x="7461610" y="3687515"/>
            <a:ext cx="3509735" cy="394173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1600" b="1">
                <a:cs typeface="+mn-ea"/>
                <a:sym typeface="+mn-lt"/>
              </a:rPr>
              <a:t>T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sz="1600" b="1">
                <a:cs typeface="+mn-ea"/>
                <a:sym typeface="+mn-lt"/>
              </a:rPr>
              <a:t>ext </a:t>
            </a:r>
            <a:r>
              <a:rPr lang="en-US" altLang="zh-CN" sz="1600" b="1" dirty="0">
                <a:cs typeface="+mn-ea"/>
                <a:sym typeface="+mn-lt"/>
              </a:rPr>
              <a:t>here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E632F477-E3A9-47DC-9B17-2FF72B06E79D}"/>
              </a:ext>
            </a:extLst>
          </p:cNvPr>
          <p:cNvSpPr/>
          <p:nvPr/>
        </p:nvSpPr>
        <p:spPr bwMode="auto">
          <a:xfrm>
            <a:off x="7461610" y="5183892"/>
            <a:ext cx="3509735" cy="9629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60000"/>
              </a:lnSpc>
            </a:pPr>
            <a:r>
              <a:rPr lang="en-US" altLang="zh-CN" sz="1100">
                <a:cs typeface="+mn-ea"/>
                <a:sym typeface="+mn-lt"/>
              </a:rPr>
              <a:t>Copy pas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te </a:t>
            </a:r>
            <a:r>
              <a:rPr lang="en-US" altLang="zh-CN" sz="1100" dirty="0">
                <a:cs typeface="+mn-ea"/>
                <a:sym typeface="+mn-lt"/>
              </a:rPr>
              <a:t>fonts. Choose the only option to retain text.</a:t>
            </a:r>
          </a:p>
          <a:p>
            <a:pPr algn="ctr">
              <a:lnSpc>
                <a:spcPct val="160000"/>
              </a:lnSpc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</p:txBody>
      </p:sp>
    </p:spTree>
    <p:extLst>
      <p:ext uri="{BB962C8B-B14F-4D97-AF65-F5344CB8AC3E}">
        <p14:creationId xmlns:p14="http://schemas.microsoft.com/office/powerpoint/2010/main" val="38690099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SHOWCASE" val="3cbd4241-0fa4-4237-905c-b016687aecfa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333599"/>
      </a:accent1>
      <a:accent2>
        <a:srgbClr val="C41C15"/>
      </a:accent2>
      <a:accent3>
        <a:srgbClr val="FFA837"/>
      </a:accent3>
      <a:accent4>
        <a:srgbClr val="044795"/>
      </a:accent4>
      <a:accent5>
        <a:srgbClr val="5A305D"/>
      </a:accent5>
      <a:accent6>
        <a:srgbClr val="67ADF9"/>
      </a:accent6>
      <a:hlink>
        <a:srgbClr val="4472C4"/>
      </a:hlink>
      <a:folHlink>
        <a:srgbClr val="BFBFBF"/>
      </a:folHlink>
    </a:clrScheme>
    <a:fontScheme name="q2hqmpv0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33599"/>
    </a:accent1>
    <a:accent2>
      <a:srgbClr val="C41C15"/>
    </a:accent2>
    <a:accent3>
      <a:srgbClr val="FFA837"/>
    </a:accent3>
    <a:accent4>
      <a:srgbClr val="044795"/>
    </a:accent4>
    <a:accent5>
      <a:srgbClr val="5A305D"/>
    </a:accent5>
    <a:accent6>
      <a:srgbClr val="67ADF9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33599"/>
    </a:accent1>
    <a:accent2>
      <a:srgbClr val="C41C15"/>
    </a:accent2>
    <a:accent3>
      <a:srgbClr val="FFA837"/>
    </a:accent3>
    <a:accent4>
      <a:srgbClr val="044795"/>
    </a:accent4>
    <a:accent5>
      <a:srgbClr val="5A305D"/>
    </a:accent5>
    <a:accent6>
      <a:srgbClr val="67ADF9"/>
    </a:accent6>
    <a:hlink>
      <a:srgbClr val="4472C4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333599"/>
    </a:accent1>
    <a:accent2>
      <a:srgbClr val="C41C15"/>
    </a:accent2>
    <a:accent3>
      <a:srgbClr val="FFA837"/>
    </a:accent3>
    <a:accent4>
      <a:srgbClr val="044795"/>
    </a:accent4>
    <a:accent5>
      <a:srgbClr val="5A305D"/>
    </a:accent5>
    <a:accent6>
      <a:srgbClr val="67ADF9"/>
    </a:accent6>
    <a:hlink>
      <a:srgbClr val="4472C4"/>
    </a:hlink>
    <a:folHlink>
      <a:srgbClr val="BFBFBF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1443A8EF62DE444B1FF07917E22EF72" ma:contentTypeVersion="15" ma:contentTypeDescription="Create a new document." ma:contentTypeScope="" ma:versionID="93a012c9a81027335424ba9f7b4858de">
  <xsd:schema xmlns:xsd="http://www.w3.org/2001/XMLSchema" xmlns:xs="http://www.w3.org/2001/XMLSchema" xmlns:p="http://schemas.microsoft.com/office/2006/metadata/properties" xmlns:ns2="0a5c0dea-e5d7-4228-9256-3793bb42faa5" xmlns:ns3="97934b4b-eba6-486d-bfc1-4b8e3fe39092" targetNamespace="http://schemas.microsoft.com/office/2006/metadata/properties" ma:root="true" ma:fieldsID="9a709ec72f4fcd18515a248f36769751" ns2:_="" ns3:_="">
    <xsd:import namespace="0a5c0dea-e5d7-4228-9256-3793bb42faa5"/>
    <xsd:import namespace="97934b4b-eba6-486d-bfc1-4b8e3fe39092"/>
    <xsd:element name="properties">
      <xsd:complexType>
        <xsd:sequence>
          <xsd:element name="documentManagement">
            <xsd:complexType>
              <xsd:all>
                <xsd:element ref="ns2:OneNoteFluid_FileOrder" minOccurs="0"/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a5c0dea-e5d7-4228-9256-3793bb42faa5" elementFormDefault="qualified">
    <xsd:import namespace="http://schemas.microsoft.com/office/2006/documentManagement/types"/>
    <xsd:import namespace="http://schemas.microsoft.com/office/infopath/2007/PartnerControls"/>
    <xsd:element name="OneNoteFluid_FileOrder" ma:index="8" nillable="true" ma:displayName="OneNoteFluid_FileOrder" ma:internalName="OneNoteFluid_FileOrder">
      <xsd:simpleType>
        <xsd:restriction base="dms:Text">
          <xsd:maxLength value="255"/>
        </xsd:restriction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2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934b4b-eba6-486d-bfc1-4b8e3fe39092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a885aa0b-334b-483f-9125-6409c6335a4b}" ma:internalName="TaxCatchAll" ma:showField="CatchAllData" ma:web="97934b4b-eba6-486d-bfc1-4b8e3fe3909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7934b4b-eba6-486d-bfc1-4b8e3fe39092" xsi:nil="true"/>
    <lcf76f155ced4ddcb4097134ff3c332f xmlns="0a5c0dea-e5d7-4228-9256-3793bb42faa5">
      <Terms xmlns="http://schemas.microsoft.com/office/infopath/2007/PartnerControls"/>
    </lcf76f155ced4ddcb4097134ff3c332f>
    <OneNoteFluid_FileOrder xmlns="0a5c0dea-e5d7-4228-9256-3793bb42faa5" xsi:nil="true"/>
  </documentManagement>
</p:properties>
</file>

<file path=customXml/itemProps1.xml><?xml version="1.0" encoding="utf-8"?>
<ds:datastoreItem xmlns:ds="http://schemas.openxmlformats.org/officeDocument/2006/customXml" ds:itemID="{22ED4664-C2B2-4B55-95A4-F67990FDD299}"/>
</file>

<file path=customXml/itemProps2.xml><?xml version="1.0" encoding="utf-8"?>
<ds:datastoreItem xmlns:ds="http://schemas.openxmlformats.org/officeDocument/2006/customXml" ds:itemID="{9B17FFD5-7C4F-4CAB-BC42-D36D7EEC18D4}"/>
</file>

<file path=customXml/itemProps3.xml><?xml version="1.0" encoding="utf-8"?>
<ds:datastoreItem xmlns:ds="http://schemas.openxmlformats.org/officeDocument/2006/customXml" ds:itemID="{F41ED3D2-3393-4DDB-A844-2B583D1C4B83}"/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32</TotalTime>
  <Words>1323</Words>
  <Application>Microsoft Office PowerPoint</Application>
  <PresentationFormat>宽屏</PresentationFormat>
  <Paragraphs>240</Paragraphs>
  <Slides>19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9</vt:i4>
      </vt:variant>
    </vt:vector>
  </HeadingPairs>
  <TitlesOfParts>
    <vt:vector size="25" baseType="lpstr">
      <vt:lpstr>等线</vt:lpstr>
      <vt:lpstr>Arial</vt:lpstr>
      <vt:lpstr>Calibri</vt:lpstr>
      <vt:lpstr>Impact</vt:lpstr>
      <vt:lpstr>主题5</vt:lpstr>
      <vt:lpstr>think-cell Slide</vt:lpstr>
      <vt:lpstr>冠状病毒 如何做好公众预防</vt:lpstr>
      <vt:lpstr>PowerPoint 演示文稿</vt:lpstr>
      <vt:lpstr>尽量减少外出活动</vt:lpstr>
      <vt:lpstr>尽量减少外出活动</vt:lpstr>
      <vt:lpstr>尽量减少外出活动</vt:lpstr>
      <vt:lpstr>尽量减少外出活动</vt:lpstr>
      <vt:lpstr>个人防护和手卫生</vt:lpstr>
      <vt:lpstr>个人防护和手卫生</vt:lpstr>
      <vt:lpstr>个人防护和手卫生</vt:lpstr>
      <vt:lpstr>个人防护和手卫生</vt:lpstr>
      <vt:lpstr>健康监测与就医</vt:lpstr>
      <vt:lpstr>健康监测与就医</vt:lpstr>
      <vt:lpstr>健康监测与就医</vt:lpstr>
      <vt:lpstr>健康监测与就医</vt:lpstr>
      <vt:lpstr>保持良好卫生和健康习惯</vt:lpstr>
      <vt:lpstr>保持良好卫生和健康习惯</vt:lpstr>
      <vt:lpstr>保持良好卫生和健康习惯</vt:lpstr>
      <vt:lpstr>保持良好卫生和健康习惯</vt:lpstr>
      <vt:lpstr>Thanks And Your  Slogan Here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Zi yi Zhang (Chinasoft Shanghai)</cp:lastModifiedBy>
  <cp:revision>1</cp:revision>
  <cp:lastPrinted>2020-02-12T16:00:00Z</cp:lastPrinted>
  <dcterms:created xsi:type="dcterms:W3CDTF">2020-02-12T16:00:00Z</dcterms:created>
  <dcterms:modified xsi:type="dcterms:W3CDTF">2022-09-27T02:31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ContentTypeId">
    <vt:lpwstr>0x010100D1443A8EF62DE444B1FF07917E22EF72</vt:lpwstr>
  </property>
</Properties>
</file>